
<file path=[Content_Types].xml><?xml version="1.0" encoding="utf-8"?>
<Types xmlns="http://schemas.openxmlformats.org/package/2006/content-types">
  <Default Extension="emf" ContentType="image/x-emf"/>
  <Default Extension="jpeg" ContentType="image/jpeg"/>
  <Default Extension="m4a" ContentType="audi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23"/>
  </p:notesMasterIdLst>
  <p:handoutMasterIdLst>
    <p:handoutMasterId r:id="rId24"/>
  </p:handoutMasterIdLst>
  <p:sldIdLst>
    <p:sldId id="257" r:id="rId5"/>
    <p:sldId id="301" r:id="rId6"/>
    <p:sldId id="293" r:id="rId7"/>
    <p:sldId id="295" r:id="rId8"/>
    <p:sldId id="291" r:id="rId9"/>
    <p:sldId id="282" r:id="rId10"/>
    <p:sldId id="283" r:id="rId11"/>
    <p:sldId id="284" r:id="rId12"/>
    <p:sldId id="285" r:id="rId13"/>
    <p:sldId id="299" r:id="rId14"/>
    <p:sldId id="294" r:id="rId15"/>
    <p:sldId id="286" r:id="rId16"/>
    <p:sldId id="302" r:id="rId17"/>
    <p:sldId id="303" r:id="rId18"/>
    <p:sldId id="288" r:id="rId19"/>
    <p:sldId id="298" r:id="rId20"/>
    <p:sldId id="290" r:id="rId21"/>
    <p:sldId id="279" r:id="rId22"/>
  </p:sldIdLst>
  <p:sldSz cx="12192000" cy="6858000"/>
  <p:notesSz cx="6797675" cy="9928225"/>
  <p:custDataLst>
    <p:tags r:id="rId2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E7E8"/>
    <a:srgbClr val="21FF06"/>
    <a:srgbClr val="E80029"/>
    <a:srgbClr val="FCB300"/>
    <a:srgbClr val="EEEEEE"/>
    <a:srgbClr val="F7F7F7"/>
    <a:srgbClr val="F4F4F4"/>
    <a:srgbClr val="FAFAFA"/>
    <a:srgbClr val="D964C7"/>
    <a:srgbClr val="A4A1A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D2D4EE-EC94-4F4C-8E97-735F7387DBC4}" v="27" dt="2021-08-10T18:16:04.794"/>
    <p1510:client id="{A835B175-8036-4962-A2E2-180930F25962}" v="59" dt="2021-08-10T22:08:27.9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9684" autoAdjust="0"/>
    <p:restoredTop sz="71722" autoAdjust="0"/>
  </p:normalViewPr>
  <p:slideViewPr>
    <p:cSldViewPr snapToGrid="0">
      <p:cViewPr varScale="1">
        <p:scale>
          <a:sx n="45" d="100"/>
          <a:sy n="45" d="100"/>
        </p:scale>
        <p:origin x="208" y="856"/>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638"/>
    </p:cViewPr>
  </p:sorterViewPr>
  <p:notesViewPr>
    <p:cSldViewPr snapToGrid="0">
      <p:cViewPr>
        <p:scale>
          <a:sx n="160" d="100"/>
          <a:sy n="160" d="100"/>
        </p:scale>
        <p:origin x="1152" y="-2515"/>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732AE93-04B0-4B14-9BA9-5A4E1E888D43}"/>
              </a:ext>
            </a:extLst>
          </p:cNvPr>
          <p:cNvSpPr>
            <a:spLocks noGrp="1"/>
          </p:cNvSpPr>
          <p:nvPr>
            <p:ph type="ftr" sz="quarter" idx="2"/>
          </p:nvPr>
        </p:nvSpPr>
        <p:spPr>
          <a:xfrm>
            <a:off x="0" y="9430091"/>
            <a:ext cx="3625427" cy="498134"/>
          </a:xfrm>
          <a:prstGeom prst="rect">
            <a:avLst/>
          </a:prstGeom>
        </p:spPr>
        <p:txBody>
          <a:bodyPr vert="horz" lIns="182880" tIns="182880" rIns="182880" bIns="182880" rtlCol="0" anchor="b"/>
          <a:lstStyle>
            <a:lvl1pPr algn="l">
              <a:defRPr sz="1200"/>
            </a:lvl1pPr>
          </a:lstStyle>
          <a:p>
            <a:r>
              <a:rPr lang="en-US" sz="800" dirty="0">
                <a:solidFill>
                  <a:schemeClr val="tx1">
                    <a:lumMod val="50000"/>
                    <a:lumOff val="50000"/>
                  </a:schemeClr>
                </a:solidFill>
              </a:rPr>
              <a:t>© 2017 Keysight Technologies and/or its affiliates. All rights reserved.</a:t>
            </a:r>
          </a:p>
        </p:txBody>
      </p:sp>
      <p:sp>
        <p:nvSpPr>
          <p:cNvPr id="5" name="Slide Number Placeholder 4">
            <a:extLst>
              <a:ext uri="{FF2B5EF4-FFF2-40B4-BE49-F238E27FC236}">
                <a16:creationId xmlns:a16="http://schemas.microsoft.com/office/drawing/2014/main" id="{DDE6FEEE-424C-49DA-AAE0-6FD6D9B0551D}"/>
              </a:ext>
            </a:extLst>
          </p:cNvPr>
          <p:cNvSpPr>
            <a:spLocks noGrp="1"/>
          </p:cNvSpPr>
          <p:nvPr>
            <p:ph type="sldNum" sz="quarter" idx="3"/>
          </p:nvPr>
        </p:nvSpPr>
        <p:spPr>
          <a:xfrm>
            <a:off x="5891318" y="9430091"/>
            <a:ext cx="906357" cy="498134"/>
          </a:xfrm>
          <a:prstGeom prst="rect">
            <a:avLst/>
          </a:prstGeom>
        </p:spPr>
        <p:txBody>
          <a:bodyPr vert="horz" lIns="182880" tIns="182880" rIns="182880" bIns="182880" rtlCol="0" anchor="b"/>
          <a:lstStyle>
            <a:lvl1pPr algn="r">
              <a:defRPr sz="1200"/>
            </a:lvl1pPr>
          </a:lstStyle>
          <a:p>
            <a:fld id="{836D5859-1D5A-48C7-BA8C-83EF8FC1CBCA}" type="slidenum">
              <a:rPr lang="en-US" sz="800" smtClean="0">
                <a:solidFill>
                  <a:schemeClr val="tx1">
                    <a:lumMod val="50000"/>
                    <a:lumOff val="50000"/>
                  </a:schemeClr>
                </a:solidFill>
              </a:rPr>
              <a:t>‹#›</a:t>
            </a:fld>
            <a:endParaRPr lang="en-US" sz="800" dirty="0">
              <a:solidFill>
                <a:schemeClr val="tx1">
                  <a:lumMod val="50000"/>
                  <a:lumOff val="50000"/>
                </a:schemeClr>
              </a:solidFill>
            </a:endParaRPr>
          </a:p>
        </p:txBody>
      </p:sp>
    </p:spTree>
    <p:extLst>
      <p:ext uri="{BB962C8B-B14F-4D97-AF65-F5344CB8AC3E}">
        <p14:creationId xmlns:p14="http://schemas.microsoft.com/office/powerpoint/2010/main" val="16835746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220663" y="992188"/>
            <a:ext cx="6356350" cy="3576637"/>
          </a:xfrm>
          <a:prstGeom prst="rect">
            <a:avLst/>
          </a:prstGeom>
          <a:noFill/>
          <a:ln w="12700">
            <a:solidFill>
              <a:schemeClr val="tx2"/>
            </a:solidFill>
            <a:miter lim="800000"/>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509829" y="4777958"/>
            <a:ext cx="5778025" cy="3909240"/>
          </a:xfrm>
          <a:prstGeom prst="rect">
            <a:avLst/>
          </a:prstGeom>
        </p:spPr>
        <p:txBody>
          <a:bodyPr vert="horz" lIns="0" tIns="0" rIns="0" bIns="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30091"/>
            <a:ext cx="3625427" cy="498134"/>
          </a:xfrm>
          <a:prstGeom prst="rect">
            <a:avLst/>
          </a:prstGeom>
        </p:spPr>
        <p:txBody>
          <a:bodyPr vert="horz" wrap="square" lIns="182880" tIns="182880" rIns="182880" bIns="182880" rtlCol="0" anchor="b">
            <a:noAutofit/>
          </a:bodyPr>
          <a:lstStyle>
            <a:lvl1pPr>
              <a:defRPr lang="en-US" sz="800">
                <a:solidFill>
                  <a:schemeClr val="tx1">
                    <a:lumMod val="50000"/>
                    <a:lumOff val="50000"/>
                  </a:schemeClr>
                </a:solidFill>
                <a:latin typeface="Arial" panose="020B0604020202020204" pitchFamily="34" charset="0"/>
                <a:cs typeface="Arial" panose="020B0604020202020204" pitchFamily="34" charset="0"/>
              </a:defRPr>
            </a:lvl1pPr>
          </a:lstStyle>
          <a:p>
            <a:r>
              <a:rPr lang="en-US" dirty="0"/>
              <a:t>© 2017 Keysight Technologies and/or its affiliates. All rights reserved.</a:t>
            </a:r>
          </a:p>
        </p:txBody>
      </p:sp>
      <p:sp>
        <p:nvSpPr>
          <p:cNvPr id="7" name="Slide Number Placeholder 6"/>
          <p:cNvSpPr>
            <a:spLocks noGrp="1"/>
          </p:cNvSpPr>
          <p:nvPr>
            <p:ph type="sldNum" sz="quarter" idx="5"/>
          </p:nvPr>
        </p:nvSpPr>
        <p:spPr>
          <a:xfrm>
            <a:off x="5891318" y="9430091"/>
            <a:ext cx="906357" cy="498134"/>
          </a:xfrm>
          <a:prstGeom prst="rect">
            <a:avLst/>
          </a:prstGeom>
        </p:spPr>
        <p:txBody>
          <a:bodyPr vert="horz" lIns="182880" tIns="182880" rIns="182880" bIns="182880" rtlCol="0" anchor="b"/>
          <a:lstStyle>
            <a:lvl1pPr algn="r">
              <a:defRPr sz="800">
                <a:solidFill>
                  <a:schemeClr val="tx1">
                    <a:lumMod val="50000"/>
                    <a:lumOff val="50000"/>
                  </a:schemeClr>
                </a:solidFill>
                <a:latin typeface="Arial" panose="020B0604020202020204" pitchFamily="34" charset="0"/>
                <a:cs typeface="Arial" panose="020B0604020202020204" pitchFamily="34" charset="0"/>
              </a:defRPr>
            </a:lvl1pPr>
          </a:lstStyle>
          <a:p>
            <a:fld id="{E8FDEE44-2F84-48D1-BBF6-82E16595D1F6}" type="slidenum">
              <a:rPr lang="en-US" smtClean="0"/>
              <a:pPr/>
              <a:t>‹#›</a:t>
            </a:fld>
            <a:endParaRPr lang="en-US" dirty="0"/>
          </a:p>
        </p:txBody>
      </p:sp>
    </p:spTree>
    <p:extLst>
      <p:ext uri="{BB962C8B-B14F-4D97-AF65-F5344CB8AC3E}">
        <p14:creationId xmlns:p14="http://schemas.microsoft.com/office/powerpoint/2010/main" val="3173182270"/>
      </p:ext>
    </p:extLst>
  </p:cSld>
  <p:clrMap bg1="lt1" tx1="dk1" bg2="lt2" tx2="dk2" accent1="accent1" accent2="accent2" accent3="accent3" accent4="accent4" accent5="accent5" accent6="accent6" hlink="hlink" folHlink="folHlink"/>
  <p:notesStyle>
    <a:lvl1pPr marL="0" indent="0" algn="l" defTabSz="914400" rtl="0" eaLnBrk="1" latinLnBrk="0" hangingPunct="1">
      <a:spcBef>
        <a:spcPts val="4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27432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41148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54864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8FDEE44-2F84-48D1-BBF6-82E16595D1F6}" type="slidenum">
              <a:rPr lang="en-US" smtClean="0"/>
              <a:t>1</a:t>
            </a:fld>
            <a:endParaRPr lang="en-US" dirty="0"/>
          </a:p>
        </p:txBody>
      </p:sp>
    </p:spTree>
    <p:extLst>
      <p:ext uri="{BB962C8B-B14F-4D97-AF65-F5344CB8AC3E}">
        <p14:creationId xmlns:p14="http://schemas.microsoft.com/office/powerpoint/2010/main" val="13104103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testing against RF signals it’s important to remember that the network nodes may move around.  Normally the channel emulator’s software would handle kinetic effects associated with device movement, but if the device under test uses artificial intelligence techniques and is autonomous, it may navigate on its own.  This means that two-way communication between the DUT and the channel emulator is necessary.  The channel emulator needs to know where the DUT is navigating, and the DUT needs to know if it is about to navigate into the side of a mountain.  Furthermore, the DUT may decide to increase or decrease its output power levels at any time; a fact that must be known to the test system for signal conditioning purposes (to ensure that a high-power signal from the DUT doesn’t destroy a sensitive receiver in the test system).  The block diagram shown here illustrates a system that is intended to test a single cognitive jammer.  The situation becomes exponentially more complex as more devices are added to the test scenario.  If devices are autonomous, test systems must be very carefully designed, and the DUT must likewise be carefully designed so that it includes the necessary test interfaces (hardware and software).</a:t>
            </a:r>
          </a:p>
        </p:txBody>
      </p:sp>
      <p:sp>
        <p:nvSpPr>
          <p:cNvPr id="4" name="Slide Number Placeholder 3"/>
          <p:cNvSpPr>
            <a:spLocks noGrp="1"/>
          </p:cNvSpPr>
          <p:nvPr>
            <p:ph type="sldNum" sz="quarter" idx="5"/>
          </p:nvPr>
        </p:nvSpPr>
        <p:spPr/>
        <p:txBody>
          <a:bodyPr/>
          <a:lstStyle/>
          <a:p>
            <a:fld id="{E8FDEE44-2F84-48D1-BBF6-82E16595D1F6}" type="slidenum">
              <a:rPr lang="en-US" smtClean="0"/>
              <a:pPr/>
              <a:t>10</a:t>
            </a:fld>
            <a:endParaRPr lang="en-US" dirty="0"/>
          </a:p>
        </p:txBody>
      </p:sp>
    </p:spTree>
    <p:extLst>
      <p:ext uri="{BB962C8B-B14F-4D97-AF65-F5344CB8AC3E}">
        <p14:creationId xmlns:p14="http://schemas.microsoft.com/office/powerpoint/2010/main" val="8225796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ving up the OSI stack, there is a lot to consider when testing an IP network but it’s a well-understood and straightforward approach when up against normal operating conditions.  We start by separating the control plane tests from the data plane before testing them in unison.  Generally, this is because the transport nodes-under-test use different processors for each plane.  In other words, isolate and test the functions assigned to a processor, like an x86, apart from the other processors that reside on the node, including ASICs, FPGAs, crypto-processors, network-processors or other x86s.</a:t>
            </a:r>
          </a:p>
          <a:p>
            <a:endParaRPr lang="en-US" dirty="0"/>
          </a:p>
          <a:p>
            <a:r>
              <a:rPr lang="en-US" dirty="0"/>
              <a:t>Though it’s highlighted under control plane, protocol conformance and fuzzing has its place under data plane as well.  This step is the foundation for interoperability success, minimizing bugs and by extension, potential attack vectors.  It is also important to measure and establish your own performance baselines instead of relying on the advertised specs on the manufacturers’ datasheet.  We’ve noted some of the relevant network topologies that incorporate numerous underlying protocols that may be called upon in a mixed-use network.</a:t>
            </a:r>
          </a:p>
          <a:p>
            <a:endParaRPr lang="en-US" dirty="0"/>
          </a:p>
          <a:p>
            <a:r>
              <a:rPr lang="en-US" dirty="0"/>
              <a:t>Data plane testing often boils down to performance.  How much throughput can I get? Cleartext versus encrypted?  What’s my latency hit?  What is the warfighters perceived quality of experience?  But data plane testing can also include leakage scenarios where different VLANs, VPNs, tunnels, QoS policies should not allow traffic to cross boundaries, something that is important in classified networks.  This is also a good time to emphasize that it is insufficient to test L4-7 aware transport nodes with simple packet blasting.  They must be exercised with real-world applications, protocols and high-fidelity payloads because these devices are often required to maintain state, inspect traffic and perform proxy functions.</a:t>
            </a:r>
          </a:p>
          <a:p>
            <a:endParaRPr lang="en-US" dirty="0"/>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dirty="0"/>
              <a:t>In order to appropriately assess a node or network, the test tools must ultimately be more precise, flexible and powerful than the system-under-test itself.  This often necessitates the use of test tools with purpose-built hardware and tunable software that can test beyond the performance thresholds of industry standards.  But when and where it makes sense, some test tools can leverage COTS hardware or even virtual machines to affordably address these more basic test cases.</a:t>
            </a:r>
          </a:p>
        </p:txBody>
      </p:sp>
      <p:sp>
        <p:nvSpPr>
          <p:cNvPr id="4" name="Slide Number Placeholder 3"/>
          <p:cNvSpPr>
            <a:spLocks noGrp="1"/>
          </p:cNvSpPr>
          <p:nvPr>
            <p:ph type="sldNum" sz="quarter" idx="5"/>
          </p:nvPr>
        </p:nvSpPr>
        <p:spPr/>
        <p:txBody>
          <a:bodyPr/>
          <a:lstStyle/>
          <a:p>
            <a:fld id="{E8FDEE44-2F84-48D1-BBF6-82E16595D1F6}" type="slidenum">
              <a:rPr lang="en-US" smtClean="0"/>
              <a:pPr/>
              <a:t>11</a:t>
            </a:fld>
            <a:endParaRPr lang="en-US" dirty="0"/>
          </a:p>
        </p:txBody>
      </p:sp>
    </p:spTree>
    <p:extLst>
      <p:ext uri="{BB962C8B-B14F-4D97-AF65-F5344CB8AC3E}">
        <p14:creationId xmlns:p14="http://schemas.microsoft.com/office/powerpoint/2010/main" val="24301819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that your node or network under test has passed the test scenarios under normal operating conditions, it is time to move on to stressful conditions.  We break this down into three subcategories, starting with an oversubscribed situation.  The goal is to assess whether critical mission traffic is properly handled apart from the low-priority traffic.  This requires software that allows you to accurately craft the background traffic profile and hardware that can scale up to and exceed the network capacity.</a:t>
            </a:r>
          </a:p>
          <a:p>
            <a:endParaRPr lang="en-US" dirty="0"/>
          </a:p>
          <a:p>
            <a:r>
              <a:rPr lang="en-US" dirty="0"/>
              <a:t>The next stressful condition is unfavorable terrain and weather.  This is difficult to reproduce in a test lab, but it is vital to ensuring battlefield success.  The functional limits of the network and mission traffic must be well studied prior to live deployment and the most effective way to achieve this is to layer in impairments like delay and packet drops into the test.  In most cases, there are decent approximations of the characteristics of common networks like 802.11, 4G/5G, and even satellite hops but they do not account for the nuanced effects of specific terrain and weather.  In those unique instances, it is possible to assess live network conditions at a certain geography and during a specific season with a monitoring tool that can subsequently spit out a configuration for the impairment injection tool.  This seamlessly brings field conditions into the test lab. </a:t>
            </a:r>
          </a:p>
          <a:p>
            <a:endParaRPr lang="en-US" dirty="0"/>
          </a:p>
          <a:p>
            <a:pPr marL="0" marR="0" lvl="0" indent="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r>
              <a:rPr lang="en-US" dirty="0"/>
              <a:t>Finally, in the case of battlefield networks, the network must be tested against the possibility that some nodes may be destroyed.  In such a case the network must instantly reconfigure itself – a difficult feat for an ad-hoc network.  It’s easy to simulate the destruction of a network node by simply unplugging it.  But the test system must be able to measure how the network reacts no matter what type of disaster recovery method is implemented. </a:t>
            </a:r>
          </a:p>
        </p:txBody>
      </p:sp>
      <p:sp>
        <p:nvSpPr>
          <p:cNvPr id="4" name="Slide Number Placeholder 3"/>
          <p:cNvSpPr>
            <a:spLocks noGrp="1"/>
          </p:cNvSpPr>
          <p:nvPr>
            <p:ph type="sldNum" sz="quarter" idx="5"/>
          </p:nvPr>
        </p:nvSpPr>
        <p:spPr/>
        <p:txBody>
          <a:bodyPr/>
          <a:lstStyle/>
          <a:p>
            <a:fld id="{E8FDEE44-2F84-48D1-BBF6-82E16595D1F6}" type="slidenum">
              <a:rPr lang="en-US" smtClean="0"/>
              <a:pPr/>
              <a:t>12</a:t>
            </a:fld>
            <a:endParaRPr lang="en-US" dirty="0"/>
          </a:p>
        </p:txBody>
      </p:sp>
    </p:spTree>
    <p:extLst>
      <p:ext uri="{BB962C8B-B14F-4D97-AF65-F5344CB8AC3E}">
        <p14:creationId xmlns:p14="http://schemas.microsoft.com/office/powerpoint/2010/main" val="40366401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ddition to physical attacks, battlefield networks will be subjected to continuous cyber attacks of all kinds.  Adversaries will attempt to use RF links to disrupt communications or inject false information onto the network, or a network node may be captured.  If an adversary finds its way onto the network, many known (and unknown) cyber attack vectors will be utilized immediately.  The network, and all devices on it, must be protected against such attacks.  Testing that protection is extraordinarily complicated – how do you test for unknown zero-day cyber attacks?  This requires hardened, reliable operating systems with robust authentication mechanisms but beyond that the network must be continuously monitored so that intrusions can be detected and eliminated immediately.</a:t>
            </a:r>
          </a:p>
          <a:p>
            <a:endParaRPr lang="en-US" dirty="0"/>
          </a:p>
          <a:p>
            <a:r>
              <a:rPr lang="en-US" dirty="0"/>
              <a:t>The network should be tested against all known cyber attacks in a controlled environment (where even successful attacks are benign), requiring software and hardware that can emulate such attacks, backed by a support team that continually updates the attack database when new attacks are discovered.  Imagine the power of having an automated red team member continuously performing attacks against the network so that you can understand changes in the attack surface and defensive posture.  Attacks and kill-chains are easy to comprehend because they are mapped to the Mitre ATT&amp;CK framework.</a:t>
            </a:r>
          </a:p>
        </p:txBody>
      </p:sp>
      <p:sp>
        <p:nvSpPr>
          <p:cNvPr id="4" name="Slide Number Placeholder 3"/>
          <p:cNvSpPr>
            <a:spLocks noGrp="1"/>
          </p:cNvSpPr>
          <p:nvPr>
            <p:ph type="sldNum" sz="quarter" idx="5"/>
          </p:nvPr>
        </p:nvSpPr>
        <p:spPr/>
        <p:txBody>
          <a:bodyPr/>
          <a:lstStyle/>
          <a:p>
            <a:fld id="{E8FDEE44-2F84-48D1-BBF6-82E16595D1F6}" type="slidenum">
              <a:rPr lang="en-US" smtClean="0"/>
              <a:pPr/>
              <a:t>13</a:t>
            </a:fld>
            <a:endParaRPr lang="en-US" dirty="0"/>
          </a:p>
        </p:txBody>
      </p:sp>
    </p:spTree>
    <p:extLst>
      <p:ext uri="{BB962C8B-B14F-4D97-AF65-F5344CB8AC3E}">
        <p14:creationId xmlns:p14="http://schemas.microsoft.com/office/powerpoint/2010/main" val="34343288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dirty="0"/>
              <a:t>When considering network testing, there are other considerations that will become more important in the future but are beyond the scope of this briefing.  Current software development trends are moving toward containerization, which must itself be tested against attacks.  Any network that makes use of the public cloud must be extensively tested for security.  New mission apps will be developed using the agile methodology alongside devsecops pipelines in software factories.  AI-based autonomous devices that we mentioned earlier in this talk and AI-based networks change the testing paradigm entirely.  These are topics for future discussions.</a:t>
            </a:r>
          </a:p>
        </p:txBody>
      </p:sp>
      <p:sp>
        <p:nvSpPr>
          <p:cNvPr id="4" name="Slide Number Placeholder 3"/>
          <p:cNvSpPr>
            <a:spLocks noGrp="1"/>
          </p:cNvSpPr>
          <p:nvPr>
            <p:ph type="sldNum" sz="quarter" idx="5"/>
          </p:nvPr>
        </p:nvSpPr>
        <p:spPr/>
        <p:txBody>
          <a:bodyPr/>
          <a:lstStyle/>
          <a:p>
            <a:fld id="{E8FDEE44-2F84-48D1-BBF6-82E16595D1F6}" type="slidenum">
              <a:rPr lang="en-US" smtClean="0"/>
              <a:pPr/>
              <a:t>14</a:t>
            </a:fld>
            <a:endParaRPr lang="en-US" dirty="0"/>
          </a:p>
        </p:txBody>
      </p:sp>
    </p:spTree>
    <p:extLst>
      <p:ext uri="{BB962C8B-B14F-4D97-AF65-F5344CB8AC3E}">
        <p14:creationId xmlns:p14="http://schemas.microsoft.com/office/powerpoint/2010/main" val="21821465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e end of the day, testing the network and the devices on it is not enough.  All these things must be tested together, and they must result in a system that is robust under all combinations of conditions, with multiple threat conditions degrading the overall system at the same time.  This creates millions of possible test scenarios – far too many for a comprehensive test suite to cover in any reasonable amount of time.  The industry has responded by creating test automation capabilities that simplify this problem.  The US DoD has taken notice of the issue and recently began to require test automation.</a:t>
            </a:r>
          </a:p>
        </p:txBody>
      </p:sp>
      <p:sp>
        <p:nvSpPr>
          <p:cNvPr id="4" name="Slide Number Placeholder 3"/>
          <p:cNvSpPr>
            <a:spLocks noGrp="1"/>
          </p:cNvSpPr>
          <p:nvPr>
            <p:ph type="sldNum" sz="quarter" idx="5"/>
          </p:nvPr>
        </p:nvSpPr>
        <p:spPr/>
        <p:txBody>
          <a:bodyPr/>
          <a:lstStyle/>
          <a:p>
            <a:fld id="{E8FDEE44-2F84-48D1-BBF6-82E16595D1F6}" type="slidenum">
              <a:rPr lang="en-US" smtClean="0"/>
              <a:pPr/>
              <a:t>15</a:t>
            </a:fld>
            <a:endParaRPr lang="en-US" dirty="0"/>
          </a:p>
        </p:txBody>
      </p:sp>
    </p:spTree>
    <p:extLst>
      <p:ext uri="{BB962C8B-B14F-4D97-AF65-F5344CB8AC3E}">
        <p14:creationId xmlns:p14="http://schemas.microsoft.com/office/powerpoint/2010/main" val="27425218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st automation is greatly enabled using digital twin models enhanced with artificial intelligence, and machine learning algorithms. A digital twin represents all the possible user journeys across all systems.  Thousands or millions of possible combinations can be easily encoded within a simple model that can be manually or auto-generated.</a:t>
            </a:r>
          </a:p>
          <a:p>
            <a:endParaRPr lang="en-US" dirty="0"/>
          </a:p>
          <a:p>
            <a:r>
              <a:rPr lang="en-US" dirty="0"/>
              <a:t>Test cases can be specified in detailed regression tests or by using an ensemble of different AI-based algorithms that all work together to determine the next best action. This allows for the most important test scenarios to be identified and automatically included in the test suite, resulting in complete test coverage without the need to exhaustively test every possible combination of scenarios.  The result is a system that enables bugs to be found and identified quickly and user interface actions to be optimized so that the most common operations are the easiest for the user to access.</a:t>
            </a:r>
          </a:p>
          <a:p>
            <a:endParaRPr lang="en-US" dirty="0"/>
          </a:p>
          <a:p>
            <a:r>
              <a:rPr lang="en-US" dirty="0"/>
              <a:t>However, test automation does not come for free and it is important to develop and maintain the digital twin model from the beginning of the development process.</a:t>
            </a:r>
          </a:p>
        </p:txBody>
      </p:sp>
      <p:sp>
        <p:nvSpPr>
          <p:cNvPr id="4" name="Slide Number Placeholder 3"/>
          <p:cNvSpPr>
            <a:spLocks noGrp="1"/>
          </p:cNvSpPr>
          <p:nvPr>
            <p:ph type="sldNum" sz="quarter" idx="10"/>
          </p:nvPr>
        </p:nvSpPr>
        <p:spPr/>
        <p:txBody>
          <a:bodyPr/>
          <a:lstStyle/>
          <a:p>
            <a:fld id="{E8FDEE44-2F84-48D1-BBF6-82E16595D1F6}" type="slidenum">
              <a:rPr lang="en-US" smtClean="0"/>
              <a:pPr/>
              <a:t>16</a:t>
            </a:fld>
            <a:endParaRPr lang="en-US" dirty="0"/>
          </a:p>
        </p:txBody>
      </p:sp>
    </p:spTree>
    <p:extLst>
      <p:ext uri="{BB962C8B-B14F-4D97-AF65-F5344CB8AC3E}">
        <p14:creationId xmlns:p14="http://schemas.microsoft.com/office/powerpoint/2010/main" val="20144152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Arial" panose="020B0604020202020204" pitchFamily="34" charset="0"/>
                <a:ea typeface="+mn-ea"/>
                <a:cs typeface="Arial" panose="020B0604020202020204" pitchFamily="34" charset="0"/>
              </a:rPr>
              <a:t>In summary, testing mixed-use networks is more complex, time-consuming, and costly than it might at first appear.  It is paramount to design and implement the test system and the overall network simultaneously</a:t>
            </a:r>
            <a:r>
              <a:rPr lang="en-US" dirty="0"/>
              <a:t>.  Some test assets must be built into the network itself, and hardware/software interfaces need to be included in the system design.  Without this advanced preparation, a program’s budget and schedule are greatly at risk. </a:t>
            </a:r>
            <a:r>
              <a:rPr lang="en-US" sz="1200" kern="1200" dirty="0">
                <a:solidFill>
                  <a:schemeClr val="tx1"/>
                </a:solidFill>
                <a:effectLst/>
                <a:latin typeface="Arial" panose="020B0604020202020204" pitchFamily="34" charset="0"/>
                <a:ea typeface="+mn-ea"/>
                <a:cs typeface="Arial" panose="020B0604020202020204" pitchFamily="34" charset="0"/>
              </a:rPr>
              <a:t>Building such a complicated system and leaving testing as an afterthought is careless</a:t>
            </a:r>
            <a:r>
              <a:rPr lang="en-US" dirty="0"/>
              <a:t>.</a:t>
            </a:r>
          </a:p>
          <a:p>
            <a:endParaRPr lang="en-US" dirty="0"/>
          </a:p>
          <a:p>
            <a:r>
              <a:rPr lang="en-US" dirty="0"/>
              <a:t>Finally, consider using a third party (or an in-house testing group that’s independent of the development team) for testing.  From a cost-effective standpoint, modern test environments must be flexible enough to accommodate any test requirement within a recreation of the chaos of expected (and unexpected) signals on the battlefield.  The traditional stovepipe test per device is important in early development stages but insufficient for determining battlefield readiness.  Very few companies can implement such an elaborate environment while also perform thorough testing.  Development teams are usually not experts in testing devices, networks, hardware, software, and user interfaces all at the same time.  But that’s okay because their focus should be on innovation.   Test with the help of trusted test vendors that bring expertise from across all aspects of the battlefield network ecosystem.  There aren’t many who fit that description so plan carefully.</a:t>
            </a:r>
          </a:p>
        </p:txBody>
      </p:sp>
      <p:sp>
        <p:nvSpPr>
          <p:cNvPr id="4" name="Slide Number Placeholder 3"/>
          <p:cNvSpPr>
            <a:spLocks noGrp="1"/>
          </p:cNvSpPr>
          <p:nvPr>
            <p:ph type="sldNum" sz="quarter" idx="5"/>
          </p:nvPr>
        </p:nvSpPr>
        <p:spPr/>
        <p:txBody>
          <a:bodyPr/>
          <a:lstStyle/>
          <a:p>
            <a:fld id="{E8FDEE44-2F84-48D1-BBF6-82E16595D1F6}" type="slidenum">
              <a:rPr lang="en-US" smtClean="0"/>
              <a:pPr/>
              <a:t>17</a:t>
            </a:fld>
            <a:endParaRPr lang="en-US" dirty="0"/>
          </a:p>
        </p:txBody>
      </p:sp>
    </p:spTree>
    <p:extLst>
      <p:ext uri="{BB962C8B-B14F-4D97-AF65-F5344CB8AC3E}">
        <p14:creationId xmlns:p14="http://schemas.microsoft.com/office/powerpoint/2010/main" val="24736185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8FDEE44-2F84-48D1-BBF6-82E16595D1F6}" type="slidenum">
              <a:rPr lang="en-US" smtClean="0"/>
              <a:pPr/>
              <a:t>18</a:t>
            </a:fld>
            <a:endParaRPr lang="en-US" dirty="0"/>
          </a:p>
        </p:txBody>
      </p:sp>
    </p:spTree>
    <p:extLst>
      <p:ext uri="{BB962C8B-B14F-4D97-AF65-F5344CB8AC3E}">
        <p14:creationId xmlns:p14="http://schemas.microsoft.com/office/powerpoint/2010/main" val="5630305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09829" y="4777957"/>
            <a:ext cx="5778025" cy="4064003"/>
          </a:xfrm>
        </p:spPr>
        <p:txBody>
          <a:bodyPr/>
          <a:lstStyle/>
          <a:p>
            <a:r>
              <a:rPr lang="en-US" dirty="0"/>
              <a:t>Electromagnetic spectrum operations within defense applications are quickly moving toward multi-device networks.  Along with communications and data networking, this encompasses sensors and electronic disruptions.</a:t>
            </a:r>
          </a:p>
          <a:p>
            <a:endParaRPr lang="en-US" dirty="0"/>
          </a:p>
          <a:p>
            <a:r>
              <a:rPr lang="en-US" dirty="0"/>
              <a:t>Network nodes can be either nearby or at remote locations such as in aircraft or satellites.  No matter the location, these devices will exist on a single network, or on a network-of-networks.  Data from all sources will be compiled into a single view of the field of action for commanders and individual warfighters to access.   These networks may be fixed or ad-hoc, set up in the field as needed and able to handle flexible numbers of endpoints that may come and go.</a:t>
            </a:r>
          </a:p>
          <a:p>
            <a:endParaRPr lang="en-US" dirty="0"/>
          </a:p>
          <a:p>
            <a:r>
              <a:rPr lang="en-US" dirty="0"/>
              <a:t>Critically, these networks must operate in a highly contested environment that could be subject to electromagnetic, cyber and physical attacks of all kinds.  Network communication can be affected by background RF signals that are otherwise benign, or physically captured by an adversary.  This operating scenario requires robust networking capabilities which then translates into complicated test requirements.  This paper considers such testing as a thought experiment and illustrates some of the complexities of testing mixed-use networks.</a:t>
            </a:r>
          </a:p>
        </p:txBody>
      </p:sp>
      <p:sp>
        <p:nvSpPr>
          <p:cNvPr id="4" name="Slide Number Placeholder 3"/>
          <p:cNvSpPr>
            <a:spLocks noGrp="1"/>
          </p:cNvSpPr>
          <p:nvPr>
            <p:ph type="sldNum" sz="quarter" idx="5"/>
          </p:nvPr>
        </p:nvSpPr>
        <p:spPr/>
        <p:txBody>
          <a:bodyPr/>
          <a:lstStyle/>
          <a:p>
            <a:fld id="{E8FDEE44-2F84-48D1-BBF6-82E16595D1F6}" type="slidenum">
              <a:rPr lang="en-US" smtClean="0"/>
              <a:pPr/>
              <a:t>2</a:t>
            </a:fld>
            <a:endParaRPr lang="en-US" dirty="0"/>
          </a:p>
        </p:txBody>
      </p:sp>
    </p:spTree>
    <p:extLst>
      <p:ext uri="{BB962C8B-B14F-4D97-AF65-F5344CB8AC3E}">
        <p14:creationId xmlns:p14="http://schemas.microsoft.com/office/powerpoint/2010/main" val="4521207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illustration, this image shows a potential battlefield networking situation.  The blue team has set up an ad-hoc ground-based network that includes remote sensors and communication with both aircraft and satellite assets.  The red team likewise has a similar network but is also attacking the blue team network physically, kinetically, and in the cyber realm.  In the background, other RF signals exist that may interfere with network communications.</a:t>
            </a:r>
          </a:p>
        </p:txBody>
      </p:sp>
      <p:sp>
        <p:nvSpPr>
          <p:cNvPr id="4" name="Slide Number Placeholder 3"/>
          <p:cNvSpPr>
            <a:spLocks noGrp="1"/>
          </p:cNvSpPr>
          <p:nvPr>
            <p:ph type="sldNum" sz="quarter" idx="5"/>
          </p:nvPr>
        </p:nvSpPr>
        <p:spPr/>
        <p:txBody>
          <a:bodyPr/>
          <a:lstStyle/>
          <a:p>
            <a:fld id="{E8FDEE44-2F84-48D1-BBF6-82E16595D1F6}" type="slidenum">
              <a:rPr lang="en-US" smtClean="0"/>
              <a:pPr/>
              <a:t>3</a:t>
            </a:fld>
            <a:endParaRPr lang="en-US" dirty="0"/>
          </a:p>
        </p:txBody>
      </p:sp>
    </p:spTree>
    <p:extLst>
      <p:ext uri="{BB962C8B-B14F-4D97-AF65-F5344CB8AC3E}">
        <p14:creationId xmlns:p14="http://schemas.microsoft.com/office/powerpoint/2010/main" val="10506028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look at some of the broad categories of testing requirements for mixed-use networks.</a:t>
            </a:r>
          </a:p>
          <a:p>
            <a:endParaRPr lang="en-US" dirty="0"/>
          </a:p>
          <a:p>
            <a:r>
              <a:rPr lang="en-US" dirty="0"/>
              <a:t>First, each network device must be tested on its own to ensure the device is working and can survive in any environment.  Then the devices must be tested together in a network for basic functionality, network performance, and to make sure that users can easily operate them.</a:t>
            </a:r>
          </a:p>
          <a:p>
            <a:endParaRPr lang="en-US" dirty="0"/>
          </a:p>
          <a:p>
            <a:r>
              <a:rPr lang="en-US" dirty="0"/>
              <a:t>Then, more robust test scenarios come into play.  Network devices may be designed and manufactured by different sources, but will they play together nicely?  Will the devices work properly under stressful network conditions?  Are they secure?</a:t>
            </a:r>
          </a:p>
          <a:p>
            <a:endParaRPr lang="en-US" dirty="0"/>
          </a:p>
          <a:p>
            <a:r>
              <a:rPr lang="en-US" sz="1200" kern="1200" dirty="0">
                <a:solidFill>
                  <a:schemeClr val="tx1"/>
                </a:solidFill>
                <a:effectLst/>
                <a:latin typeface="Arial" panose="020B0604020202020204" pitchFamily="34" charset="0"/>
                <a:ea typeface="+mn-ea"/>
                <a:cs typeface="Arial" panose="020B0604020202020204" pitchFamily="34" charset="0"/>
              </a:rPr>
              <a:t>Finally, the software applications that run on the network using data collected must efficiently and effectively exhibit information via an interface that the operator can manipulate under extremely stressful conditions.  Nobody wants to accidentally click the wrong button when in life-or-death situations.</a:t>
            </a:r>
            <a:endParaRPr lang="en-US" dirty="0"/>
          </a:p>
          <a:p>
            <a:endParaRPr lang="en-US" dirty="0"/>
          </a:p>
        </p:txBody>
      </p:sp>
      <p:sp>
        <p:nvSpPr>
          <p:cNvPr id="4" name="Slide Number Placeholder 3"/>
          <p:cNvSpPr>
            <a:spLocks noGrp="1"/>
          </p:cNvSpPr>
          <p:nvPr>
            <p:ph type="sldNum" sz="quarter" idx="5"/>
          </p:nvPr>
        </p:nvSpPr>
        <p:spPr/>
        <p:txBody>
          <a:bodyPr/>
          <a:lstStyle/>
          <a:p>
            <a:fld id="{E8FDEE44-2F84-48D1-BBF6-82E16595D1F6}" type="slidenum">
              <a:rPr lang="en-US" smtClean="0"/>
              <a:pPr/>
              <a:t>4</a:t>
            </a:fld>
            <a:endParaRPr lang="en-US" dirty="0"/>
          </a:p>
        </p:txBody>
      </p:sp>
    </p:spTree>
    <p:extLst>
      <p:ext uri="{BB962C8B-B14F-4D97-AF65-F5344CB8AC3E}">
        <p14:creationId xmlns:p14="http://schemas.microsoft.com/office/powerpoint/2010/main" val="3418321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rilling down into test requirements one level, we can see that interoperability testing is critical.  Here we are referring to not only individual devices but also to various networks that must work together and the bridges between them.  When the network becomes congested, it’s important to make sure that the most important traffic takes priority, and this must also be tested.  Open standards may help with interoperability but also create new threat vectors that an adversary might take advantage of, making thorough testing of network cyber robustness critical.</a:t>
            </a:r>
          </a:p>
          <a:p>
            <a:endParaRPr lang="en-US" dirty="0"/>
          </a:p>
          <a:p>
            <a:r>
              <a:rPr lang="en-US" dirty="0"/>
              <a:t>While covering all this ground, the test procedure must be efficient.  It makes no sense to build networks that take months or years to be tested.  And the use of multiple types of networks, including both new and legacy systems, increases the number of test scenarios exponentially.  All these factors must be considered when designing test systems.</a:t>
            </a:r>
          </a:p>
          <a:p>
            <a:endParaRPr lang="en-US" dirty="0"/>
          </a:p>
        </p:txBody>
      </p:sp>
      <p:sp>
        <p:nvSpPr>
          <p:cNvPr id="4" name="Slide Number Placeholder 3"/>
          <p:cNvSpPr>
            <a:spLocks noGrp="1"/>
          </p:cNvSpPr>
          <p:nvPr>
            <p:ph type="sldNum" sz="quarter" idx="5"/>
          </p:nvPr>
        </p:nvSpPr>
        <p:spPr/>
        <p:txBody>
          <a:bodyPr/>
          <a:lstStyle/>
          <a:p>
            <a:fld id="{E8FDEE44-2F84-48D1-BBF6-82E16595D1F6}" type="slidenum">
              <a:rPr lang="en-US" smtClean="0"/>
              <a:pPr/>
              <a:t>5</a:t>
            </a:fld>
            <a:endParaRPr lang="en-US" dirty="0"/>
          </a:p>
        </p:txBody>
      </p:sp>
    </p:spTree>
    <p:extLst>
      <p:ext uri="{BB962C8B-B14F-4D97-AF65-F5344CB8AC3E}">
        <p14:creationId xmlns:p14="http://schemas.microsoft.com/office/powerpoint/2010/main" val="36914810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consider test solutions from the bottom up, starting with individual components and moving up through network functionality to the top application layer.  As we move up this stack, the bottom layers are more hardware oriented with software becoming more and more prevalent as you move higher.  This requires the use of entirely different test methods.  Testing a radio’s ability for communication is not the same as testing a software application that compiles data from various sources and presents it to the user.</a:t>
            </a:r>
          </a:p>
          <a:p>
            <a:endParaRPr lang="en-US" dirty="0"/>
          </a:p>
          <a:p>
            <a:r>
              <a:rPr lang="en-US" dirty="0"/>
              <a:t>The overall number of potential test scenarios, especially for an ad-hoc network with network endpoints that can come and go and can move around, presents a huge problem for testing.  It’s impossible to test every possible scenario that might be seen in the field.  Instead, the most important and relevant test scenarios must be identified and tested.  At the same time, testing in the field is impractical as it takes too long, and costs are high.  Most testing must be done in a laboratory environment that emulates the conditions that would be seen in the field.  This requires sophisticated test methodologies.</a:t>
            </a:r>
          </a:p>
          <a:p>
            <a:endParaRPr lang="en-US" dirty="0"/>
          </a:p>
        </p:txBody>
      </p:sp>
      <p:sp>
        <p:nvSpPr>
          <p:cNvPr id="4" name="Slide Number Placeholder 3"/>
          <p:cNvSpPr>
            <a:spLocks noGrp="1"/>
          </p:cNvSpPr>
          <p:nvPr>
            <p:ph type="sldNum" sz="quarter" idx="5"/>
          </p:nvPr>
        </p:nvSpPr>
        <p:spPr/>
        <p:txBody>
          <a:bodyPr/>
          <a:lstStyle/>
          <a:p>
            <a:fld id="{E8FDEE44-2F84-48D1-BBF6-82E16595D1F6}" type="slidenum">
              <a:rPr lang="en-US" smtClean="0"/>
              <a:pPr/>
              <a:t>6</a:t>
            </a:fld>
            <a:endParaRPr lang="en-US" dirty="0"/>
          </a:p>
        </p:txBody>
      </p:sp>
    </p:spTree>
    <p:extLst>
      <p:ext uri="{BB962C8B-B14F-4D97-AF65-F5344CB8AC3E}">
        <p14:creationId xmlns:p14="http://schemas.microsoft.com/office/powerpoint/2010/main" val="1533664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ll begin the discussion at the level of individual network devices.  Each device that will become part of a mixed-use network must be individually tested before it can be connected to a larger network.  The techniques that are used to test individual devices are well-known, and the world has many test equipment manufacturers who can help with this.  For this reason, we call this the easy part, even though it is frequently not very easy and may require sophisticated test systems.  Testing a simple handheld radio does not require the same kind of test system complexity that’s needed to test a radar.  But in general, these types of test systems are well known and available off the shelf.  Therefore, we’ll skip quickly past this topic and drill down into the kinds of tests that are required when devices are connected over a network.</a:t>
            </a:r>
          </a:p>
        </p:txBody>
      </p:sp>
      <p:sp>
        <p:nvSpPr>
          <p:cNvPr id="4" name="Slide Number Placeholder 3"/>
          <p:cNvSpPr>
            <a:spLocks noGrp="1"/>
          </p:cNvSpPr>
          <p:nvPr>
            <p:ph type="sldNum" sz="quarter" idx="5"/>
          </p:nvPr>
        </p:nvSpPr>
        <p:spPr/>
        <p:txBody>
          <a:bodyPr/>
          <a:lstStyle/>
          <a:p>
            <a:fld id="{E8FDEE44-2F84-48D1-BBF6-82E16595D1F6}" type="slidenum">
              <a:rPr lang="en-US" smtClean="0"/>
              <a:pPr/>
              <a:t>7</a:t>
            </a:fld>
            <a:endParaRPr lang="en-US" dirty="0"/>
          </a:p>
        </p:txBody>
      </p:sp>
    </p:spTree>
    <p:extLst>
      <p:ext uri="{BB962C8B-B14F-4D97-AF65-F5344CB8AC3E}">
        <p14:creationId xmlns:p14="http://schemas.microsoft.com/office/powerpoint/2010/main" val="29657831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09829" y="4777958"/>
            <a:ext cx="5778025" cy="4157445"/>
          </a:xfrm>
        </p:spPr>
        <p:txBody>
          <a:bodyPr/>
          <a:lstStyle/>
          <a:p>
            <a:r>
              <a:rPr lang="en-US" dirty="0"/>
              <a:t>If the network is wireless, which will usually be the case for battlefield networks, the RF signals that travel between the various devices will be subjected to all sorts of degradation.  Even if man-made interference is ignored, multipath problems, multiple reflections, path losses and other types of noise will degrade the signal.  Devices on the network must be tested to prove that they can handle these kinds of signal problems.</a:t>
            </a:r>
          </a:p>
          <a:p>
            <a:endParaRPr lang="en-US" dirty="0"/>
          </a:p>
          <a:p>
            <a:r>
              <a:rPr lang="en-US" dirty="0"/>
              <a:t>To test this situation in a laboratory, signals from each network device must be routed to all the other devices with RF degradations included.  Fortunately, the mobile phone industry has faced this problem for many years, and the industry has created a potential solution.  Known as channel emulators, these instruments have many RF input/output ports, and they can degrade and distribute signals accordingly. They can create Doppler shifts and emulate devices that move around.</a:t>
            </a:r>
          </a:p>
          <a:p>
            <a:endParaRPr lang="en-US" dirty="0"/>
          </a:p>
          <a:p>
            <a:r>
              <a:rPr lang="en-US" dirty="0"/>
              <a:t>One issue with some channel emulators is that they were designed for use with mobile phone signals and have frequency ranges and bandwidths to match.  These emulators may not be suitable for defense applications.  Other models have enhanced capabilities that are a better match.  When choosing an emulator, be sure to consider all the requirements.  Also note that channel emulators have a fixed number of ports (the one shown here has 64), and calibration will be required for applications that are phase-sensitive like direction finding.</a:t>
            </a:r>
          </a:p>
        </p:txBody>
      </p:sp>
      <p:sp>
        <p:nvSpPr>
          <p:cNvPr id="4" name="Slide Number Placeholder 3"/>
          <p:cNvSpPr>
            <a:spLocks noGrp="1"/>
          </p:cNvSpPr>
          <p:nvPr>
            <p:ph type="sldNum" sz="quarter" idx="5"/>
          </p:nvPr>
        </p:nvSpPr>
        <p:spPr/>
        <p:txBody>
          <a:bodyPr/>
          <a:lstStyle/>
          <a:p>
            <a:fld id="{E8FDEE44-2F84-48D1-BBF6-82E16595D1F6}" type="slidenum">
              <a:rPr lang="en-US" smtClean="0"/>
              <a:pPr/>
              <a:t>8</a:t>
            </a:fld>
            <a:endParaRPr lang="en-US" dirty="0"/>
          </a:p>
        </p:txBody>
      </p:sp>
    </p:spTree>
    <p:extLst>
      <p:ext uri="{BB962C8B-B14F-4D97-AF65-F5344CB8AC3E}">
        <p14:creationId xmlns:p14="http://schemas.microsoft.com/office/powerpoint/2010/main" val="16728282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nnel emulators can be used to create interfering signals, by simply creating the appropriate signal(s) and applying them to one or more of the input ports on the emulator.  This allows testing devices against passive, unintentional interference quite easily.  Testing against intentional interference (jamming) requires more sophistication.  Unless an actual jammer is used, emulating a jammer can be a difficult task, especially if the jammer is </a:t>
            </a:r>
            <a:r>
              <a:rPr lang="en-US" i="1" dirty="0"/>
              <a:t>smart</a:t>
            </a:r>
            <a:r>
              <a:rPr lang="en-US" dirty="0"/>
              <a:t> and can react to the signals it receives.  But such tests are necessary to ensure that the network can respond to attacks as needed by switching to new frequencies, changing power levels, or moving to different modulation schemes as needed to avoid interference and jamming.</a:t>
            </a:r>
          </a:p>
        </p:txBody>
      </p:sp>
      <p:sp>
        <p:nvSpPr>
          <p:cNvPr id="4" name="Slide Number Placeholder 3"/>
          <p:cNvSpPr>
            <a:spLocks noGrp="1"/>
          </p:cNvSpPr>
          <p:nvPr>
            <p:ph type="sldNum" sz="quarter" idx="5"/>
          </p:nvPr>
        </p:nvSpPr>
        <p:spPr/>
        <p:txBody>
          <a:bodyPr/>
          <a:lstStyle/>
          <a:p>
            <a:fld id="{E8FDEE44-2F84-48D1-BBF6-82E16595D1F6}" type="slidenum">
              <a:rPr lang="en-US" smtClean="0"/>
              <a:pPr/>
              <a:t>9</a:t>
            </a:fld>
            <a:endParaRPr lang="en-US" dirty="0"/>
          </a:p>
        </p:txBody>
      </p:sp>
    </p:spTree>
    <p:extLst>
      <p:ext uri="{BB962C8B-B14F-4D97-AF65-F5344CB8AC3E}">
        <p14:creationId xmlns:p14="http://schemas.microsoft.com/office/powerpoint/2010/main" val="415633344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2" name="Texture">
            <a:extLst>
              <a:ext uri="{FF2B5EF4-FFF2-40B4-BE49-F238E27FC236}">
                <a16:creationId xmlns:a16="http://schemas.microsoft.com/office/drawing/2014/main" id="{259E29B8-69B3-4461-B37F-0DBB9DC04766}"/>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2" name="Oval 1">
            <a:extLst>
              <a:ext uri="{FF2B5EF4-FFF2-40B4-BE49-F238E27FC236}">
                <a16:creationId xmlns:a16="http://schemas.microsoft.com/office/drawing/2014/main" id="{67C7E9E7-7333-4EF5-9FC3-4CEF923EA801}"/>
              </a:ext>
            </a:extLst>
          </p:cNvPr>
          <p:cNvSpPr/>
          <p:nvPr userDrawn="1"/>
        </p:nvSpPr>
        <p:spPr>
          <a:xfrm>
            <a:off x="3555406" y="4109059"/>
            <a:ext cx="5169494" cy="1434491"/>
          </a:xfrm>
          <a:prstGeom prst="ellipse">
            <a:avLst/>
          </a:prstGeom>
          <a:gradFill flip="none" rotWithShape="1">
            <a:gsLst>
              <a:gs pos="55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grpSp>
        <p:nvGrpSpPr>
          <p:cNvPr id="40" name="Logo">
            <a:extLst>
              <a:ext uri="{FF2B5EF4-FFF2-40B4-BE49-F238E27FC236}">
                <a16:creationId xmlns:a16="http://schemas.microsoft.com/office/drawing/2014/main" id="{D2A95714-9F6E-48DD-9ED6-94BDDECF0F49}"/>
              </a:ext>
            </a:extLst>
          </p:cNvPr>
          <p:cNvGrpSpPr>
            <a:grpSpLocks noChangeAspect="1"/>
          </p:cNvGrpSpPr>
          <p:nvPr userDrawn="1"/>
        </p:nvGrpSpPr>
        <p:grpSpPr bwMode="black">
          <a:xfrm>
            <a:off x="5258125" y="4703638"/>
            <a:ext cx="1675750" cy="393192"/>
            <a:chOff x="1231901" y="5359401"/>
            <a:chExt cx="11210925" cy="2630487"/>
          </a:xfrm>
        </p:grpSpPr>
        <p:sp>
          <p:nvSpPr>
            <p:cNvPr id="60" name="Freeform 5">
              <a:extLst>
                <a:ext uri="{FF2B5EF4-FFF2-40B4-BE49-F238E27FC236}">
                  <a16:creationId xmlns:a16="http://schemas.microsoft.com/office/drawing/2014/main" id="{39598F92-4036-449A-A381-281AC133F93A}"/>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6">
              <a:extLst>
                <a:ext uri="{FF2B5EF4-FFF2-40B4-BE49-F238E27FC236}">
                  <a16:creationId xmlns:a16="http://schemas.microsoft.com/office/drawing/2014/main" id="{6A04830E-5424-4362-9CD6-60CBCC39C203}"/>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 name="Ruler">
            <a:extLst>
              <a:ext uri="{FF2B5EF4-FFF2-40B4-BE49-F238E27FC236}">
                <a16:creationId xmlns:a16="http://schemas.microsoft.com/office/drawing/2014/main" id="{DBE24C15-4489-4BF7-A20E-4FEB0A1A6671}"/>
              </a:ext>
            </a:extLst>
          </p:cNvPr>
          <p:cNvGrpSpPr/>
          <p:nvPr userDrawn="1"/>
        </p:nvGrpSpPr>
        <p:grpSpPr>
          <a:xfrm>
            <a:off x="5273041" y="4219340"/>
            <a:ext cx="1645920" cy="339946"/>
            <a:chOff x="5273041" y="4219340"/>
            <a:chExt cx="1645920" cy="339946"/>
          </a:xfrm>
        </p:grpSpPr>
        <p:cxnSp>
          <p:nvCxnSpPr>
            <p:cNvPr id="50" name="Straight Connector 49">
              <a:extLst>
                <a:ext uri="{FF2B5EF4-FFF2-40B4-BE49-F238E27FC236}">
                  <a16:creationId xmlns:a16="http://schemas.microsoft.com/office/drawing/2014/main" id="{EBDB098C-E5AE-4364-A913-1C8D462BF9B3}"/>
                </a:ext>
              </a:extLst>
            </p:cNvPr>
            <p:cNvCxnSpPr>
              <a:cxnSpLocks/>
            </p:cNvCxnSpPr>
            <p:nvPr/>
          </p:nvCxnSpPr>
          <p:spPr>
            <a:xfrm>
              <a:off x="6096003" y="4219340"/>
              <a:ext cx="0" cy="33994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9A6D359-A1D3-413C-8281-5A2E7EEE3200}"/>
                </a:ext>
              </a:extLst>
            </p:cNvPr>
            <p:cNvCxnSpPr/>
            <p:nvPr/>
          </p:nvCxnSpPr>
          <p:spPr>
            <a:xfrm>
              <a:off x="527304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A7D9A44-D64C-4D5A-B183-958220A4996C}"/>
                </a:ext>
              </a:extLst>
            </p:cNvPr>
            <p:cNvCxnSpPr/>
            <p:nvPr/>
          </p:nvCxnSpPr>
          <p:spPr>
            <a:xfrm>
              <a:off x="5364485"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34F8A2C-8776-4D1A-93D7-4590C0622121}"/>
                </a:ext>
              </a:extLst>
            </p:cNvPr>
            <p:cNvCxnSpPr/>
            <p:nvPr/>
          </p:nvCxnSpPr>
          <p:spPr>
            <a:xfrm>
              <a:off x="545592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91CB2CF-6B6F-48D5-8365-33EC34BA80A0}"/>
                </a:ext>
              </a:extLst>
            </p:cNvPr>
            <p:cNvCxnSpPr/>
            <p:nvPr/>
          </p:nvCxnSpPr>
          <p:spPr>
            <a:xfrm>
              <a:off x="5547364"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458D058-1610-4C89-9349-E009140E28F5}"/>
                </a:ext>
              </a:extLst>
            </p:cNvPr>
            <p:cNvCxnSpPr/>
            <p:nvPr/>
          </p:nvCxnSpPr>
          <p:spPr>
            <a:xfrm>
              <a:off x="563880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5743F61-B1FA-44F3-81EC-3FF4A1864B3B}"/>
                </a:ext>
              </a:extLst>
            </p:cNvPr>
            <p:cNvCxnSpPr/>
            <p:nvPr/>
          </p:nvCxnSpPr>
          <p:spPr>
            <a:xfrm>
              <a:off x="5730244"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6A99D48-7BDC-4896-BBA2-67770AABD231}"/>
                </a:ext>
              </a:extLst>
            </p:cNvPr>
            <p:cNvCxnSpPr/>
            <p:nvPr/>
          </p:nvCxnSpPr>
          <p:spPr>
            <a:xfrm>
              <a:off x="582168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B3F7266-53C6-4879-8513-A4486B8FC303}"/>
                </a:ext>
              </a:extLst>
            </p:cNvPr>
            <p:cNvCxnSpPr/>
            <p:nvPr/>
          </p:nvCxnSpPr>
          <p:spPr>
            <a:xfrm>
              <a:off x="5913123"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465021D-7CFB-4445-8798-684D88150AE5}"/>
                </a:ext>
              </a:extLst>
            </p:cNvPr>
            <p:cNvCxnSpPr/>
            <p:nvPr/>
          </p:nvCxnSpPr>
          <p:spPr>
            <a:xfrm>
              <a:off x="6004563"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F2AFDE6-7C63-49EA-B242-2927A8B99025}"/>
                </a:ext>
              </a:extLst>
            </p:cNvPr>
            <p:cNvCxnSpPr/>
            <p:nvPr/>
          </p:nvCxnSpPr>
          <p:spPr>
            <a:xfrm>
              <a:off x="6187443"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252C539-DDC5-412A-AD14-69BA4ED96AF5}"/>
                </a:ext>
              </a:extLst>
            </p:cNvPr>
            <p:cNvCxnSpPr/>
            <p:nvPr/>
          </p:nvCxnSpPr>
          <p:spPr>
            <a:xfrm>
              <a:off x="6278882"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A6D93BA2-F008-40E1-825E-6CF327EC92DA}"/>
                </a:ext>
              </a:extLst>
            </p:cNvPr>
            <p:cNvCxnSpPr/>
            <p:nvPr/>
          </p:nvCxnSpPr>
          <p:spPr>
            <a:xfrm>
              <a:off x="6370322"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D2E7C4B-6367-42C3-B536-906DE4FD552D}"/>
                </a:ext>
              </a:extLst>
            </p:cNvPr>
            <p:cNvCxnSpPr/>
            <p:nvPr/>
          </p:nvCxnSpPr>
          <p:spPr>
            <a:xfrm>
              <a:off x="6461762"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A78576E-5C4A-48E5-B281-76308E82DB77}"/>
                </a:ext>
              </a:extLst>
            </p:cNvPr>
            <p:cNvCxnSpPr/>
            <p:nvPr/>
          </p:nvCxnSpPr>
          <p:spPr>
            <a:xfrm>
              <a:off x="6553202"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1B39927-09E1-467A-8149-FE7A19A30F66}"/>
                </a:ext>
              </a:extLst>
            </p:cNvPr>
            <p:cNvCxnSpPr/>
            <p:nvPr/>
          </p:nvCxnSpPr>
          <p:spPr>
            <a:xfrm>
              <a:off x="6644642"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C32B564-C1C7-4C1A-8066-81D90765D42D}"/>
                </a:ext>
              </a:extLst>
            </p:cNvPr>
            <p:cNvCxnSpPr/>
            <p:nvPr/>
          </p:nvCxnSpPr>
          <p:spPr>
            <a:xfrm>
              <a:off x="673608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1267B10-9154-4C28-9140-3AF5C2021E44}"/>
                </a:ext>
              </a:extLst>
            </p:cNvPr>
            <p:cNvCxnSpPr/>
            <p:nvPr/>
          </p:nvCxnSpPr>
          <p:spPr>
            <a:xfrm>
              <a:off x="6827521"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290F9B9-A40C-41F9-B489-C1D87E71C101}"/>
                </a:ext>
              </a:extLst>
            </p:cNvPr>
            <p:cNvCxnSpPr/>
            <p:nvPr/>
          </p:nvCxnSpPr>
          <p:spPr>
            <a:xfrm>
              <a:off x="691896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grpSp>
      <p:sp>
        <p:nvSpPr>
          <p:cNvPr id="36" name="Speaker Name">
            <a:extLst>
              <a:ext uri="{FF2B5EF4-FFF2-40B4-BE49-F238E27FC236}">
                <a16:creationId xmlns:a16="http://schemas.microsoft.com/office/drawing/2014/main" id="{88104DA9-6CD2-4C4F-A6AE-C5D0CD6E016A}"/>
              </a:ext>
            </a:extLst>
          </p:cNvPr>
          <p:cNvSpPr>
            <a:spLocks noGrp="1"/>
          </p:cNvSpPr>
          <p:nvPr>
            <p:ph type="body" sz="quarter" idx="17" hasCustomPrompt="1"/>
          </p:nvPr>
        </p:nvSpPr>
        <p:spPr>
          <a:xfrm>
            <a:off x="3329295" y="2953512"/>
            <a:ext cx="4020340" cy="402336"/>
          </a:xfrm>
          <a:noFill/>
          <a:ln w="19050">
            <a:solidFill>
              <a:schemeClr val="tx1">
                <a:lumMod val="75000"/>
                <a:lumOff val="25000"/>
              </a:schemeClr>
            </a:solidFill>
            <a:miter lim="800000"/>
          </a:ln>
        </p:spPr>
        <p:txBody>
          <a:bodyPr vert="horz" wrap="square" lIns="182880" tIns="0" rIns="182880" bIns="0" rtlCol="0" anchor="ctr">
            <a:noAutofit/>
          </a:bodyPr>
          <a:lstStyle>
            <a:lvl1pPr marL="0" indent="0">
              <a:buNone/>
              <a:defRPr lang="en-US" sz="1600" b="0" i="1" cap="none" spc="60" baseline="0" dirty="0">
                <a:solidFill>
                  <a:schemeClr val="tx1">
                    <a:lumMod val="85000"/>
                    <a:lumOff val="15000"/>
                  </a:schemeClr>
                </a:solidFill>
                <a:latin typeface="+mj-lt"/>
                <a:ea typeface="+mj-ea"/>
                <a:cs typeface="+mj-cs"/>
              </a:defRPr>
            </a:lvl1pPr>
          </a:lstStyle>
          <a:p>
            <a:pPr marL="182880" lvl="0" indent="-182880">
              <a:spcBef>
                <a:spcPct val="0"/>
              </a:spcBef>
            </a:pPr>
            <a:r>
              <a:rPr lang="en-US"/>
              <a:t>Speaker Name</a:t>
            </a:r>
          </a:p>
        </p:txBody>
      </p:sp>
      <p:sp>
        <p:nvSpPr>
          <p:cNvPr id="37" name="Text Placeholder 128">
            <a:extLst>
              <a:ext uri="{FF2B5EF4-FFF2-40B4-BE49-F238E27FC236}">
                <a16:creationId xmlns:a16="http://schemas.microsoft.com/office/drawing/2014/main" id="{69D5EB8D-3B85-4059-8F34-4BFB6D0DED4E}"/>
              </a:ext>
            </a:extLst>
          </p:cNvPr>
          <p:cNvSpPr>
            <a:spLocks noGrp="1"/>
          </p:cNvSpPr>
          <p:nvPr>
            <p:ph type="body" sz="quarter" idx="18" hasCustomPrompt="1"/>
          </p:nvPr>
        </p:nvSpPr>
        <p:spPr>
          <a:xfrm>
            <a:off x="7349638" y="2953512"/>
            <a:ext cx="1513062" cy="402336"/>
          </a:xfrm>
          <a:solidFill>
            <a:schemeClr val="tx1">
              <a:lumMod val="85000"/>
              <a:lumOff val="15000"/>
            </a:schemeClr>
          </a:solidFill>
          <a:ln w="19050">
            <a:solidFill>
              <a:schemeClr val="tx1">
                <a:lumMod val="75000"/>
                <a:lumOff val="25000"/>
              </a:schemeClr>
            </a:solidFill>
            <a:miter lim="800000"/>
          </a:ln>
        </p:spPr>
        <p:txBody>
          <a:bodyPr vert="horz" wrap="square" lIns="0" tIns="0" rIns="0" bIns="0" rtlCol="0" anchor="ctr">
            <a:noAutofit/>
          </a:bodyPr>
          <a:lstStyle>
            <a:lvl1pPr marL="0" indent="0" algn="ctr">
              <a:buNone/>
              <a:defRPr lang="en-US" sz="1600" b="1" i="1" cap="all" spc="60" baseline="0" dirty="0">
                <a:solidFill>
                  <a:schemeClr val="bg1"/>
                </a:solidFill>
                <a:latin typeface="+mj-lt"/>
                <a:ea typeface="+mj-ea"/>
                <a:cs typeface="+mj-cs"/>
              </a:defRPr>
            </a:lvl1pPr>
          </a:lstStyle>
          <a:p>
            <a:pPr marL="182880" lvl="0" indent="-182880" algn="ctr">
              <a:spcBef>
                <a:spcPct val="0"/>
              </a:spcBef>
            </a:pPr>
            <a:r>
              <a:rPr lang="en-US"/>
              <a:t>YYYY.MM.DD</a:t>
            </a:r>
          </a:p>
        </p:txBody>
      </p:sp>
      <p:sp>
        <p:nvSpPr>
          <p:cNvPr id="38" name="Speaker Title">
            <a:extLst>
              <a:ext uri="{FF2B5EF4-FFF2-40B4-BE49-F238E27FC236}">
                <a16:creationId xmlns:a16="http://schemas.microsoft.com/office/drawing/2014/main" id="{0D9078F8-E937-4EF3-AC9B-A84856FA9487}"/>
              </a:ext>
            </a:extLst>
          </p:cNvPr>
          <p:cNvSpPr>
            <a:spLocks noGrp="1"/>
          </p:cNvSpPr>
          <p:nvPr>
            <p:ph type="body" sz="quarter" idx="19" hasCustomPrompt="1"/>
          </p:nvPr>
        </p:nvSpPr>
        <p:spPr>
          <a:xfrm>
            <a:off x="3329295" y="3355848"/>
            <a:ext cx="5533405" cy="402336"/>
          </a:xfrm>
          <a:noFill/>
          <a:ln w="19050">
            <a:solidFill>
              <a:schemeClr val="tx1">
                <a:lumMod val="75000"/>
                <a:lumOff val="25000"/>
              </a:schemeClr>
            </a:solidFill>
            <a:miter lim="800000"/>
          </a:ln>
        </p:spPr>
        <p:txBody>
          <a:bodyPr vert="horz" wrap="square" lIns="182880" tIns="0" rIns="182880" bIns="0" rtlCol="0" anchor="ctr">
            <a:noAutofit/>
          </a:bodyPr>
          <a:lstStyle>
            <a:lvl1pPr marL="0" indent="0">
              <a:buNone/>
              <a:defRPr lang="en-US" sz="16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a:t>Speaker Title / Company Name</a:t>
            </a:r>
          </a:p>
        </p:txBody>
      </p:sp>
      <p:sp>
        <p:nvSpPr>
          <p:cNvPr id="31" name="Title">
            <a:extLst>
              <a:ext uri="{FF2B5EF4-FFF2-40B4-BE49-F238E27FC236}">
                <a16:creationId xmlns:a16="http://schemas.microsoft.com/office/drawing/2014/main" id="{7A92962A-B660-43F3-9C7C-C1CD756ED73A}"/>
              </a:ext>
            </a:extLst>
          </p:cNvPr>
          <p:cNvSpPr>
            <a:spLocks noGrp="1"/>
          </p:cNvSpPr>
          <p:nvPr>
            <p:ph type="title" hasCustomPrompt="1"/>
          </p:nvPr>
        </p:nvSpPr>
        <p:spPr>
          <a:xfrm>
            <a:off x="1409700" y="1456875"/>
            <a:ext cx="9372600" cy="1336928"/>
          </a:xfrm>
        </p:spPr>
        <p:txBody>
          <a:bodyPr anchor="b"/>
          <a:lstStyle>
            <a:lvl1pPr algn="ctr">
              <a:lnSpc>
                <a:spcPct val="90000"/>
              </a:lnSpc>
              <a:defRPr sz="4400"/>
            </a:lvl1pPr>
          </a:lstStyle>
          <a:p>
            <a:r>
              <a:rPr lang="en-US"/>
              <a:t>Title Slide Layout</a:t>
            </a:r>
          </a:p>
        </p:txBody>
      </p:sp>
      <p:sp>
        <p:nvSpPr>
          <p:cNvPr id="30" name="Rectangle 29">
            <a:extLst>
              <a:ext uri="{FF2B5EF4-FFF2-40B4-BE49-F238E27FC236}">
                <a16:creationId xmlns:a16="http://schemas.microsoft.com/office/drawing/2014/main" id="{9FC49378-BFD9-43A8-8DB2-52BE426047C8}"/>
              </a:ext>
            </a:extLst>
          </p:cNvPr>
          <p:cNvSpPr/>
          <p:nvPr userDrawn="1"/>
        </p:nvSpPr>
        <p:spPr>
          <a:xfrm>
            <a:off x="0" y="0"/>
            <a:ext cx="12192000" cy="141619"/>
          </a:xfrm>
          <a:prstGeom prst="rect">
            <a:avLst/>
          </a:prstGeom>
          <a:gradFill flip="none" rotWithShape="1">
            <a:gsLst>
              <a:gs pos="0">
                <a:schemeClr val="accent1"/>
              </a:gs>
              <a:gs pos="100000">
                <a:schemeClr val="accent1">
                  <a:lumMod val="50000"/>
                </a:schemeClr>
              </a:gs>
            </a:gsLst>
            <a:path path="circle">
              <a:fillToRect l="50000" t="50000" r="50000" b="50000"/>
            </a:path>
            <a:tileRect/>
          </a:gradFill>
        </p:spPr>
        <p:txBody>
          <a:bodyPr vert="horz" lIns="137160" tIns="73152" rIns="137160" bIns="73152" rtlCol="0" anchor="ctr">
            <a:noAutofit/>
          </a:bodyPr>
          <a:lstStyle/>
          <a:p>
            <a:pPr marL="182880" lvl="0" indent="-182880" algn="ctr" defTabSz="914400">
              <a:lnSpc>
                <a:spcPct val="100000"/>
              </a:lnSpc>
              <a:spcBef>
                <a:spcPts val="1000"/>
              </a:spcBef>
              <a:buClr>
                <a:schemeClr val="accent1"/>
              </a:buClr>
              <a:buFont typeface="Arial" panose="020B0604020202020204" pitchFamily="34" charset="0"/>
              <a:buNone/>
            </a:pPr>
            <a:endParaRPr lang="en-US" sz="1600" b="1" cap="all" spc="300" baseline="0" dirty="0">
              <a:solidFill>
                <a:schemeClr val="bg1"/>
              </a:solidFill>
            </a:endParaRPr>
          </a:p>
        </p:txBody>
      </p:sp>
    </p:spTree>
    <p:extLst>
      <p:ext uri="{BB962C8B-B14F-4D97-AF65-F5344CB8AC3E}">
        <p14:creationId xmlns:p14="http://schemas.microsoft.com/office/powerpoint/2010/main" val="30263878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Full">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04A056E-0A81-49A4-A1E8-EC8E2D83F6A9}"/>
              </a:ext>
            </a:extLst>
          </p:cNvPr>
          <p:cNvSpPr>
            <a:spLocks noGrp="1" noChangeAspect="1"/>
          </p:cNvSpPr>
          <p:nvPr>
            <p:ph type="pic" sz="quarter" idx="15" hasCustomPrompt="1"/>
          </p:nvPr>
        </p:nvSpPr>
        <p:spPr>
          <a:xfrm>
            <a:off x="0" y="447"/>
            <a:ext cx="12192000" cy="6857107"/>
          </a:xfrm>
          <a:solidFill>
            <a:schemeClr val="bg1">
              <a:lumMod val="85000"/>
            </a:schemeClr>
          </a:solidFill>
        </p:spPr>
        <p:txBody>
          <a:bodyPr bIns="640080" anchor="ctr"/>
          <a:lstStyle>
            <a:lvl1pPr marL="0" indent="0" algn="ctr">
              <a:buFont typeface="Arial" panose="020B0604020202020204" pitchFamily="34" charset="0"/>
              <a:buNone/>
              <a:defRPr sz="1800">
                <a:solidFill>
                  <a:schemeClr val="tx1"/>
                </a:solidFill>
              </a:defRPr>
            </a:lvl1pPr>
          </a:lstStyle>
          <a:p>
            <a:r>
              <a:rPr lang="en-US" dirty="0"/>
              <a:t>Click icon below to insert a picture</a:t>
            </a:r>
          </a:p>
        </p:txBody>
      </p:sp>
    </p:spTree>
    <p:extLst>
      <p:ext uri="{BB962C8B-B14F-4D97-AF65-F5344CB8AC3E}">
        <p14:creationId xmlns:p14="http://schemas.microsoft.com/office/powerpoint/2010/main" val="42518026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Mosaic">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a:t>Subtitle (Delete if not used)</a:t>
            </a:r>
          </a:p>
        </p:txBody>
      </p:sp>
      <p:sp>
        <p:nvSpPr>
          <p:cNvPr id="22" name="Picture Placeholder 3">
            <a:extLst>
              <a:ext uri="{FF2B5EF4-FFF2-40B4-BE49-F238E27FC236}">
                <a16:creationId xmlns:a16="http://schemas.microsoft.com/office/drawing/2014/main" id="{F06E54C9-A448-4577-8FFC-86B9235556E4}"/>
              </a:ext>
            </a:extLst>
          </p:cNvPr>
          <p:cNvSpPr>
            <a:spLocks noGrp="1" noChangeAspect="1"/>
          </p:cNvSpPr>
          <p:nvPr>
            <p:ph type="pic" sz="quarter" idx="14" hasCustomPrompt="1"/>
          </p:nvPr>
        </p:nvSpPr>
        <p:spPr>
          <a:xfrm>
            <a:off x="449261"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3" name="Picture Placeholder 3">
            <a:extLst>
              <a:ext uri="{FF2B5EF4-FFF2-40B4-BE49-F238E27FC236}">
                <a16:creationId xmlns:a16="http://schemas.microsoft.com/office/drawing/2014/main" id="{750D041D-3D23-45A0-B825-F6942FB33899}"/>
              </a:ext>
            </a:extLst>
          </p:cNvPr>
          <p:cNvSpPr>
            <a:spLocks noGrp="1" noChangeAspect="1"/>
          </p:cNvSpPr>
          <p:nvPr>
            <p:ph type="pic" sz="quarter" idx="29" hasCustomPrompt="1"/>
          </p:nvPr>
        </p:nvSpPr>
        <p:spPr>
          <a:xfrm>
            <a:off x="449261"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4" name="Picture Placeholder 3">
            <a:extLst>
              <a:ext uri="{FF2B5EF4-FFF2-40B4-BE49-F238E27FC236}">
                <a16:creationId xmlns:a16="http://schemas.microsoft.com/office/drawing/2014/main" id="{A34408D2-7305-44BD-88E2-4782253029F6}"/>
              </a:ext>
            </a:extLst>
          </p:cNvPr>
          <p:cNvSpPr>
            <a:spLocks noGrp="1" noChangeAspect="1"/>
          </p:cNvSpPr>
          <p:nvPr>
            <p:ph type="pic" sz="quarter" idx="30" hasCustomPrompt="1"/>
          </p:nvPr>
        </p:nvSpPr>
        <p:spPr>
          <a:xfrm>
            <a:off x="449261"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5" name="Picture Placeholder 3">
            <a:extLst>
              <a:ext uri="{FF2B5EF4-FFF2-40B4-BE49-F238E27FC236}">
                <a16:creationId xmlns:a16="http://schemas.microsoft.com/office/drawing/2014/main" id="{AE057395-5D60-4151-A3F4-BD3C26F517E0}"/>
              </a:ext>
            </a:extLst>
          </p:cNvPr>
          <p:cNvSpPr>
            <a:spLocks noGrp="1" noChangeAspect="1"/>
          </p:cNvSpPr>
          <p:nvPr>
            <p:ph type="pic" sz="quarter" idx="31" hasCustomPrompt="1"/>
          </p:nvPr>
        </p:nvSpPr>
        <p:spPr>
          <a:xfrm>
            <a:off x="2724005"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6" name="Picture Placeholder 3">
            <a:extLst>
              <a:ext uri="{FF2B5EF4-FFF2-40B4-BE49-F238E27FC236}">
                <a16:creationId xmlns:a16="http://schemas.microsoft.com/office/drawing/2014/main" id="{82EC2578-E69B-48E7-9A0D-509C4DCB31EA}"/>
              </a:ext>
            </a:extLst>
          </p:cNvPr>
          <p:cNvSpPr>
            <a:spLocks noGrp="1" noChangeAspect="1"/>
          </p:cNvSpPr>
          <p:nvPr>
            <p:ph type="pic" sz="quarter" idx="32" hasCustomPrompt="1"/>
          </p:nvPr>
        </p:nvSpPr>
        <p:spPr>
          <a:xfrm>
            <a:off x="2724005"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7" name="Picture Placeholder 3">
            <a:extLst>
              <a:ext uri="{FF2B5EF4-FFF2-40B4-BE49-F238E27FC236}">
                <a16:creationId xmlns:a16="http://schemas.microsoft.com/office/drawing/2014/main" id="{7D0D4746-2A3C-4008-AE56-9C971679424A}"/>
              </a:ext>
            </a:extLst>
          </p:cNvPr>
          <p:cNvSpPr>
            <a:spLocks noGrp="1" noChangeAspect="1"/>
          </p:cNvSpPr>
          <p:nvPr>
            <p:ph type="pic" sz="quarter" idx="33" hasCustomPrompt="1"/>
          </p:nvPr>
        </p:nvSpPr>
        <p:spPr>
          <a:xfrm>
            <a:off x="2724005"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8" name="Picture Placeholder 3">
            <a:extLst>
              <a:ext uri="{FF2B5EF4-FFF2-40B4-BE49-F238E27FC236}">
                <a16:creationId xmlns:a16="http://schemas.microsoft.com/office/drawing/2014/main" id="{4FCA5D73-8894-4E23-A184-A54E0EC5A0EE}"/>
              </a:ext>
            </a:extLst>
          </p:cNvPr>
          <p:cNvSpPr>
            <a:spLocks noGrp="1" noChangeAspect="1"/>
          </p:cNvSpPr>
          <p:nvPr>
            <p:ph type="pic" sz="quarter" idx="34" hasCustomPrompt="1"/>
          </p:nvPr>
        </p:nvSpPr>
        <p:spPr>
          <a:xfrm>
            <a:off x="4998749"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9" name="Picture Placeholder 3">
            <a:extLst>
              <a:ext uri="{FF2B5EF4-FFF2-40B4-BE49-F238E27FC236}">
                <a16:creationId xmlns:a16="http://schemas.microsoft.com/office/drawing/2014/main" id="{6ACBD5C3-DCFC-4051-9545-03D3162522D6}"/>
              </a:ext>
            </a:extLst>
          </p:cNvPr>
          <p:cNvSpPr>
            <a:spLocks noGrp="1" noChangeAspect="1"/>
          </p:cNvSpPr>
          <p:nvPr>
            <p:ph type="pic" sz="quarter" idx="35" hasCustomPrompt="1"/>
          </p:nvPr>
        </p:nvSpPr>
        <p:spPr>
          <a:xfrm>
            <a:off x="4998749"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0" name="Picture Placeholder 3">
            <a:extLst>
              <a:ext uri="{FF2B5EF4-FFF2-40B4-BE49-F238E27FC236}">
                <a16:creationId xmlns:a16="http://schemas.microsoft.com/office/drawing/2014/main" id="{1A66F51C-4B75-45D7-A374-BEBFC16F4525}"/>
              </a:ext>
            </a:extLst>
          </p:cNvPr>
          <p:cNvSpPr>
            <a:spLocks noGrp="1" noChangeAspect="1"/>
          </p:cNvSpPr>
          <p:nvPr>
            <p:ph type="pic" sz="quarter" idx="36" hasCustomPrompt="1"/>
          </p:nvPr>
        </p:nvSpPr>
        <p:spPr>
          <a:xfrm>
            <a:off x="4998749"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1" name="Picture Placeholder 3">
            <a:extLst>
              <a:ext uri="{FF2B5EF4-FFF2-40B4-BE49-F238E27FC236}">
                <a16:creationId xmlns:a16="http://schemas.microsoft.com/office/drawing/2014/main" id="{892A4E8F-9D23-4A3B-9CF3-6E98766A0FC3}"/>
              </a:ext>
            </a:extLst>
          </p:cNvPr>
          <p:cNvSpPr>
            <a:spLocks noGrp="1" noChangeAspect="1"/>
          </p:cNvSpPr>
          <p:nvPr>
            <p:ph type="pic" sz="quarter" idx="37" hasCustomPrompt="1"/>
          </p:nvPr>
        </p:nvSpPr>
        <p:spPr>
          <a:xfrm>
            <a:off x="7273493"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2" name="Picture Placeholder 3">
            <a:extLst>
              <a:ext uri="{FF2B5EF4-FFF2-40B4-BE49-F238E27FC236}">
                <a16:creationId xmlns:a16="http://schemas.microsoft.com/office/drawing/2014/main" id="{F7C4C030-205C-4BEE-910F-AE86E4049451}"/>
              </a:ext>
            </a:extLst>
          </p:cNvPr>
          <p:cNvSpPr>
            <a:spLocks noGrp="1" noChangeAspect="1"/>
          </p:cNvSpPr>
          <p:nvPr>
            <p:ph type="pic" sz="quarter" idx="38" hasCustomPrompt="1"/>
          </p:nvPr>
        </p:nvSpPr>
        <p:spPr>
          <a:xfrm>
            <a:off x="7273493"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3" name="Picture Placeholder 3">
            <a:extLst>
              <a:ext uri="{FF2B5EF4-FFF2-40B4-BE49-F238E27FC236}">
                <a16:creationId xmlns:a16="http://schemas.microsoft.com/office/drawing/2014/main" id="{FC23546C-CAC0-4FD6-8C62-1F4F217EC83D}"/>
              </a:ext>
            </a:extLst>
          </p:cNvPr>
          <p:cNvSpPr>
            <a:spLocks noGrp="1" noChangeAspect="1"/>
          </p:cNvSpPr>
          <p:nvPr>
            <p:ph type="pic" sz="quarter" idx="39" hasCustomPrompt="1"/>
          </p:nvPr>
        </p:nvSpPr>
        <p:spPr>
          <a:xfrm>
            <a:off x="7273493"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4" name="Picture Placeholder 3">
            <a:extLst>
              <a:ext uri="{FF2B5EF4-FFF2-40B4-BE49-F238E27FC236}">
                <a16:creationId xmlns:a16="http://schemas.microsoft.com/office/drawing/2014/main" id="{084AFB79-D26E-4F3D-8A40-6D479CF90DB0}"/>
              </a:ext>
            </a:extLst>
          </p:cNvPr>
          <p:cNvSpPr>
            <a:spLocks noGrp="1" noChangeAspect="1"/>
          </p:cNvSpPr>
          <p:nvPr>
            <p:ph type="pic" sz="quarter" idx="40" hasCustomPrompt="1"/>
          </p:nvPr>
        </p:nvSpPr>
        <p:spPr>
          <a:xfrm>
            <a:off x="9548239"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5" name="Picture Placeholder 3">
            <a:extLst>
              <a:ext uri="{FF2B5EF4-FFF2-40B4-BE49-F238E27FC236}">
                <a16:creationId xmlns:a16="http://schemas.microsoft.com/office/drawing/2014/main" id="{897A7121-A588-46B7-AF5B-FDF684B00905}"/>
              </a:ext>
            </a:extLst>
          </p:cNvPr>
          <p:cNvSpPr>
            <a:spLocks noGrp="1" noChangeAspect="1"/>
          </p:cNvSpPr>
          <p:nvPr>
            <p:ph type="pic" sz="quarter" idx="41" hasCustomPrompt="1"/>
          </p:nvPr>
        </p:nvSpPr>
        <p:spPr>
          <a:xfrm>
            <a:off x="9548239"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6" name="Picture Placeholder 3">
            <a:extLst>
              <a:ext uri="{FF2B5EF4-FFF2-40B4-BE49-F238E27FC236}">
                <a16:creationId xmlns:a16="http://schemas.microsoft.com/office/drawing/2014/main" id="{89C5946B-4047-4FB3-AC49-D0F9A0F37808}"/>
              </a:ext>
            </a:extLst>
          </p:cNvPr>
          <p:cNvSpPr>
            <a:spLocks noGrp="1" noChangeAspect="1"/>
          </p:cNvSpPr>
          <p:nvPr>
            <p:ph type="pic" sz="quarter" idx="42" hasCustomPrompt="1"/>
          </p:nvPr>
        </p:nvSpPr>
        <p:spPr>
          <a:xfrm>
            <a:off x="9548239"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 name="Footer Placeholder 2">
            <a:extLst>
              <a:ext uri="{FF2B5EF4-FFF2-40B4-BE49-F238E27FC236}">
                <a16:creationId xmlns:a16="http://schemas.microsoft.com/office/drawing/2014/main" id="{6CDC077E-289F-4AAE-B3F6-9B318C828A23}"/>
              </a:ext>
            </a:extLst>
          </p:cNvPr>
          <p:cNvSpPr>
            <a:spLocks noGrp="1"/>
          </p:cNvSpPr>
          <p:nvPr>
            <p:ph type="ftr" sz="quarter" idx="43"/>
          </p:nvPr>
        </p:nvSpPr>
        <p:spPr/>
        <p:txBody>
          <a:bodyPr/>
          <a:lstStyle/>
          <a:p>
            <a:endParaRPr lang="en-US" dirty="0"/>
          </a:p>
        </p:txBody>
      </p:sp>
      <p:sp>
        <p:nvSpPr>
          <p:cNvPr id="4" name="Title 3">
            <a:extLst>
              <a:ext uri="{FF2B5EF4-FFF2-40B4-BE49-F238E27FC236}">
                <a16:creationId xmlns:a16="http://schemas.microsoft.com/office/drawing/2014/main" id="{8F4F685A-9886-45FB-8B04-AB8597A67C3F}"/>
              </a:ext>
            </a:extLst>
          </p:cNvPr>
          <p:cNvSpPr>
            <a:spLocks noGrp="1"/>
          </p:cNvSpPr>
          <p:nvPr>
            <p:ph type="title" hasCustomPrompt="1"/>
          </p:nvPr>
        </p:nvSpPr>
        <p:spPr/>
        <p:txBody>
          <a:bodyPr/>
          <a:lstStyle>
            <a:lvl1pPr>
              <a:defRPr/>
            </a:lvl1pPr>
          </a:lstStyle>
          <a:p>
            <a:r>
              <a:rPr lang="en-US"/>
              <a:t>Photo Mosaic Layout</a:t>
            </a:r>
          </a:p>
        </p:txBody>
      </p:sp>
    </p:spTree>
    <p:extLst>
      <p:ext uri="{BB962C8B-B14F-4D97-AF65-F5344CB8AC3E}">
        <p14:creationId xmlns:p14="http://schemas.microsoft.com/office/powerpoint/2010/main" val="23448118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3" name="Texture">
            <a:extLst>
              <a:ext uri="{FF2B5EF4-FFF2-40B4-BE49-F238E27FC236}">
                <a16:creationId xmlns:a16="http://schemas.microsoft.com/office/drawing/2014/main" id="{CE3183E7-4A32-4F91-8AF8-C43C846072F3}"/>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9" name="Affiliation">
            <a:extLst>
              <a:ext uri="{FF2B5EF4-FFF2-40B4-BE49-F238E27FC236}">
                <a16:creationId xmlns:a16="http://schemas.microsoft.com/office/drawing/2014/main" id="{39EF96E8-8057-43E5-A862-D955F5E6F29D}"/>
              </a:ext>
            </a:extLst>
          </p:cNvPr>
          <p:cNvSpPr>
            <a:spLocks noGrp="1"/>
          </p:cNvSpPr>
          <p:nvPr>
            <p:ph type="body" sz="quarter" idx="18" hasCustomPrompt="1"/>
          </p:nvPr>
        </p:nvSpPr>
        <p:spPr>
          <a:xfrm>
            <a:off x="1776819" y="5140292"/>
            <a:ext cx="3248006" cy="4062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6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a:t>Title / Company Name</a:t>
            </a:r>
          </a:p>
        </p:txBody>
      </p:sp>
      <p:sp>
        <p:nvSpPr>
          <p:cNvPr id="8" name="Name">
            <a:extLst>
              <a:ext uri="{FF2B5EF4-FFF2-40B4-BE49-F238E27FC236}">
                <a16:creationId xmlns:a16="http://schemas.microsoft.com/office/drawing/2014/main" id="{B25ECA0C-C715-4AD0-9C0F-8BF3F52AAC6F}"/>
              </a:ext>
            </a:extLst>
          </p:cNvPr>
          <p:cNvSpPr>
            <a:spLocks noGrp="1"/>
          </p:cNvSpPr>
          <p:nvPr>
            <p:ph type="body" sz="quarter" idx="15" hasCustomPrompt="1"/>
          </p:nvPr>
        </p:nvSpPr>
        <p:spPr>
          <a:xfrm>
            <a:off x="1776819" y="4734027"/>
            <a:ext cx="3248006" cy="4062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6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a:t>Name</a:t>
            </a:r>
          </a:p>
        </p:txBody>
      </p:sp>
      <p:sp>
        <p:nvSpPr>
          <p:cNvPr id="2" name="Quote">
            <a:extLst>
              <a:ext uri="{FF2B5EF4-FFF2-40B4-BE49-F238E27FC236}">
                <a16:creationId xmlns:a16="http://schemas.microsoft.com/office/drawing/2014/main" id="{86824591-1B5F-489A-9593-4CEFC4B3EE2A}"/>
              </a:ext>
            </a:extLst>
          </p:cNvPr>
          <p:cNvSpPr>
            <a:spLocks noGrp="1"/>
          </p:cNvSpPr>
          <p:nvPr>
            <p:ph type="title" hasCustomPrompt="1"/>
          </p:nvPr>
        </p:nvSpPr>
        <p:spPr>
          <a:xfrm>
            <a:off x="1776819" y="1454532"/>
            <a:ext cx="8636427" cy="3279494"/>
          </a:xfrm>
          <a:ln w="19050">
            <a:solidFill>
              <a:schemeClr val="tx1">
                <a:lumMod val="75000"/>
                <a:lumOff val="25000"/>
              </a:schemeClr>
            </a:solidFill>
            <a:miter lim="800000"/>
          </a:ln>
        </p:spPr>
        <p:txBody>
          <a:bodyPr vert="horz" lIns="182880" tIns="91440" rIns="182880" bIns="91440" rtlCol="0" anchor="t">
            <a:noAutofit/>
          </a:bodyPr>
          <a:lstStyle>
            <a:lvl1pPr>
              <a:lnSpc>
                <a:spcPct val="100000"/>
              </a:lnSpc>
              <a:defRPr lang="en-US" dirty="0">
                <a:solidFill>
                  <a:schemeClr val="tx1">
                    <a:lumMod val="85000"/>
                    <a:lumOff val="15000"/>
                  </a:schemeClr>
                </a:solidFill>
              </a:defRPr>
            </a:lvl1pPr>
          </a:lstStyle>
          <a:p>
            <a:pPr marL="0" lvl="0">
              <a:lnSpc>
                <a:spcPct val="100000"/>
              </a:lnSpc>
            </a:pPr>
            <a:r>
              <a:rPr lang="en-US"/>
              <a:t>Quote layout.</a:t>
            </a:r>
          </a:p>
        </p:txBody>
      </p:sp>
      <p:grpSp>
        <p:nvGrpSpPr>
          <p:cNvPr id="22" name="Quote_Box">
            <a:extLst>
              <a:ext uri="{FF2B5EF4-FFF2-40B4-BE49-F238E27FC236}">
                <a16:creationId xmlns:a16="http://schemas.microsoft.com/office/drawing/2014/main" id="{16644DA2-FD5C-4132-871A-2F4CC3B9C325}"/>
              </a:ext>
            </a:extLst>
          </p:cNvPr>
          <p:cNvGrpSpPr>
            <a:grpSpLocks noChangeAspect="1"/>
          </p:cNvGrpSpPr>
          <p:nvPr userDrawn="1"/>
        </p:nvGrpSpPr>
        <p:grpSpPr>
          <a:xfrm>
            <a:off x="1127850" y="1454532"/>
            <a:ext cx="648005" cy="648005"/>
            <a:chOff x="1127850" y="1457847"/>
            <a:chExt cx="648005" cy="648005"/>
          </a:xfrm>
        </p:grpSpPr>
        <p:sp>
          <p:nvSpPr>
            <p:cNvPr id="23" name="Quote_Box">
              <a:extLst>
                <a:ext uri="{FF2B5EF4-FFF2-40B4-BE49-F238E27FC236}">
                  <a16:creationId xmlns:a16="http://schemas.microsoft.com/office/drawing/2014/main" id="{F8742923-446F-4F3E-A318-7D750E032EAE}"/>
                </a:ext>
              </a:extLst>
            </p:cNvPr>
            <p:cNvSpPr/>
            <p:nvPr userDrawn="1"/>
          </p:nvSpPr>
          <p:spPr>
            <a:xfrm>
              <a:off x="1127850" y="1457847"/>
              <a:ext cx="648005" cy="648005"/>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24" name="Icon">
              <a:extLst>
                <a:ext uri="{FF2B5EF4-FFF2-40B4-BE49-F238E27FC236}">
                  <a16:creationId xmlns:a16="http://schemas.microsoft.com/office/drawing/2014/main" id="{64D02E25-A2AE-488C-8479-BFF4596F0CD1}"/>
                </a:ext>
              </a:extLst>
            </p:cNvPr>
            <p:cNvSpPr>
              <a:spLocks noChangeAspect="1" noEditPoints="1"/>
            </p:cNvSpPr>
            <p:nvPr userDrawn="1"/>
          </p:nvSpPr>
          <p:spPr bwMode="auto">
            <a:xfrm>
              <a:off x="1300876" y="1648350"/>
              <a:ext cx="301952" cy="2377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a:extLst>
              <a:ext uri="{FF2B5EF4-FFF2-40B4-BE49-F238E27FC236}">
                <a16:creationId xmlns:a16="http://schemas.microsoft.com/office/drawing/2014/main" id="{88DB22BC-764C-491D-888B-64DE8D2F75FD}"/>
              </a:ext>
            </a:extLst>
          </p:cNvPr>
          <p:cNvSpPr>
            <a:spLocks noGrp="1"/>
          </p:cNvSpPr>
          <p:nvPr>
            <p:ph type="ftr" sz="quarter" idx="19"/>
          </p:nvPr>
        </p:nvSpPr>
        <p:spPr/>
        <p:txBody>
          <a:bodyPr/>
          <a:lstStyle/>
          <a:p>
            <a:endParaRPr lang="en-US" dirty="0"/>
          </a:p>
        </p:txBody>
      </p:sp>
      <p:sp>
        <p:nvSpPr>
          <p:cNvPr id="26" name="Slide Number">
            <a:extLst>
              <a:ext uri="{FF2B5EF4-FFF2-40B4-BE49-F238E27FC236}">
                <a16:creationId xmlns:a16="http://schemas.microsoft.com/office/drawing/2014/main" id="{3BF195AF-9651-4702-B588-B7C0FCFE2DB2}"/>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27" name="Logo">
            <a:extLst>
              <a:ext uri="{FF2B5EF4-FFF2-40B4-BE49-F238E27FC236}">
                <a16:creationId xmlns:a16="http://schemas.microsoft.com/office/drawing/2014/main" id="{D793CBCB-9D3E-4FB2-9244-94F5FE9EB03D}"/>
              </a:ext>
            </a:extLst>
          </p:cNvPr>
          <p:cNvGrpSpPr>
            <a:grpSpLocks noChangeAspect="1"/>
          </p:cNvGrpSpPr>
          <p:nvPr userDrawn="1"/>
        </p:nvGrpSpPr>
        <p:grpSpPr bwMode="black">
          <a:xfrm>
            <a:off x="428653" y="6447297"/>
            <a:ext cx="914400" cy="214552"/>
            <a:chOff x="1231901" y="5359401"/>
            <a:chExt cx="11210925" cy="2630487"/>
          </a:xfrm>
        </p:grpSpPr>
        <p:sp>
          <p:nvSpPr>
            <p:cNvPr id="28" name="Freeform 5">
              <a:extLst>
                <a:ext uri="{FF2B5EF4-FFF2-40B4-BE49-F238E27FC236}">
                  <a16:creationId xmlns:a16="http://schemas.microsoft.com/office/drawing/2014/main" id="{5CA6D27F-C163-4B78-8C9F-63F81E7A86B3}"/>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a:extLst>
                <a:ext uri="{FF2B5EF4-FFF2-40B4-BE49-F238E27FC236}">
                  <a16:creationId xmlns:a16="http://schemas.microsoft.com/office/drawing/2014/main" id="{2CF469B8-42CE-43E7-A089-ED56DA2D857D}"/>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957913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Quote">
    <p:spTree>
      <p:nvGrpSpPr>
        <p:cNvPr id="1" name=""/>
        <p:cNvGrpSpPr/>
        <p:nvPr/>
      </p:nvGrpSpPr>
      <p:grpSpPr>
        <a:xfrm>
          <a:off x="0" y="0"/>
          <a:ext cx="0" cy="0"/>
          <a:chOff x="0" y="0"/>
          <a:chExt cx="0" cy="0"/>
        </a:xfrm>
      </p:grpSpPr>
      <p:sp>
        <p:nvSpPr>
          <p:cNvPr id="26" name="Texture">
            <a:extLst>
              <a:ext uri="{FF2B5EF4-FFF2-40B4-BE49-F238E27FC236}">
                <a16:creationId xmlns:a16="http://schemas.microsoft.com/office/drawing/2014/main" id="{3C95BE6E-96AD-4084-ACEE-7830A9F32631}"/>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104" name="Affiliation">
            <a:extLst>
              <a:ext uri="{FF2B5EF4-FFF2-40B4-BE49-F238E27FC236}">
                <a16:creationId xmlns:a16="http://schemas.microsoft.com/office/drawing/2014/main" id="{705559C5-878A-4763-8DD2-8E2E436F4B4A}"/>
              </a:ext>
            </a:extLst>
          </p:cNvPr>
          <p:cNvSpPr>
            <a:spLocks noGrp="1"/>
          </p:cNvSpPr>
          <p:nvPr>
            <p:ph type="body" sz="quarter" idx="21" hasCustomPrompt="1"/>
          </p:nvPr>
        </p:nvSpPr>
        <p:spPr>
          <a:xfrm>
            <a:off x="6300383"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a:t>Title / Company Name</a:t>
            </a:r>
          </a:p>
        </p:txBody>
      </p:sp>
      <p:sp>
        <p:nvSpPr>
          <p:cNvPr id="105" name="Name">
            <a:extLst>
              <a:ext uri="{FF2B5EF4-FFF2-40B4-BE49-F238E27FC236}">
                <a16:creationId xmlns:a16="http://schemas.microsoft.com/office/drawing/2014/main" id="{DF4D4582-8847-4F32-8324-0D3299EDB5AA}"/>
              </a:ext>
            </a:extLst>
          </p:cNvPr>
          <p:cNvSpPr>
            <a:spLocks noGrp="1"/>
          </p:cNvSpPr>
          <p:nvPr>
            <p:ph type="body" sz="quarter" idx="22" hasCustomPrompt="1"/>
          </p:nvPr>
        </p:nvSpPr>
        <p:spPr>
          <a:xfrm>
            <a:off x="6300383"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a:t>Name</a:t>
            </a:r>
          </a:p>
        </p:txBody>
      </p:sp>
      <p:sp>
        <p:nvSpPr>
          <p:cNvPr id="109" name="Text Placeholder 9">
            <a:extLst>
              <a:ext uri="{FF2B5EF4-FFF2-40B4-BE49-F238E27FC236}">
                <a16:creationId xmlns:a16="http://schemas.microsoft.com/office/drawing/2014/main" id="{4097F5C6-326F-4898-9FB9-3FC9B0D6639A}"/>
              </a:ext>
            </a:extLst>
          </p:cNvPr>
          <p:cNvSpPr>
            <a:spLocks noGrp="1"/>
          </p:cNvSpPr>
          <p:nvPr>
            <p:ph type="body" sz="quarter" idx="23" hasCustomPrompt="1"/>
          </p:nvPr>
        </p:nvSpPr>
        <p:spPr>
          <a:xfrm>
            <a:off x="6300383" y="1630264"/>
            <a:ext cx="5073060" cy="3102074"/>
          </a:xfrm>
          <a:ln w="19050">
            <a:solidFill>
              <a:schemeClr val="tx1">
                <a:lumMod val="75000"/>
                <a:lumOff val="25000"/>
              </a:schemeClr>
            </a:solidFill>
            <a:miter lim="800000"/>
          </a:ln>
        </p:spPr>
        <p:txBody>
          <a:bodyPr lIns="182880" tIns="182880" rIns="182880" bIns="182880">
            <a:noAutofit/>
          </a:bodyPr>
          <a:lstStyle>
            <a:lvl1pPr marL="0" indent="0">
              <a:lnSpc>
                <a:spcPct val="100000"/>
              </a:lnSpc>
              <a:spcBef>
                <a:spcPts val="1600"/>
              </a:spcBef>
              <a:spcAft>
                <a:spcPts val="0"/>
              </a:spcAft>
              <a:buFont typeface="Arial" panose="020B0604020202020204" pitchFamily="34" charset="0"/>
              <a:buChar char="​"/>
              <a:defRPr sz="2000" b="1" spc="0">
                <a:solidFill>
                  <a:schemeClr val="tx1">
                    <a:lumMod val="85000"/>
                    <a:lumOff val="15000"/>
                  </a:schemeClr>
                </a:solidFill>
              </a:defRPr>
            </a:lvl1pPr>
            <a:lvl2pPr marL="0" indent="0">
              <a:lnSpc>
                <a:spcPct val="100000"/>
              </a:lnSpc>
              <a:spcBef>
                <a:spcPts val="1600"/>
              </a:spcBef>
              <a:spcAft>
                <a:spcPts val="0"/>
              </a:spcAft>
              <a:buFont typeface="Arial" panose="020B0604020202020204" pitchFamily="34" charset="0"/>
              <a:buNone/>
              <a:defRPr sz="2000" b="1" spc="0">
                <a:solidFill>
                  <a:schemeClr val="tx1">
                    <a:lumMod val="85000"/>
                    <a:lumOff val="15000"/>
                  </a:schemeClr>
                </a:solidFill>
              </a:defRPr>
            </a:lvl2pPr>
            <a:lvl3pPr marL="0" indent="0">
              <a:lnSpc>
                <a:spcPct val="100000"/>
              </a:lnSpc>
              <a:spcBef>
                <a:spcPts val="1600"/>
              </a:spcBef>
              <a:spcAft>
                <a:spcPts val="0"/>
              </a:spcAft>
              <a:buFont typeface="Arial" panose="020B0604020202020204" pitchFamily="34" charset="0"/>
              <a:buChar char="​"/>
              <a:defRPr sz="2000" b="1" spc="0">
                <a:solidFill>
                  <a:schemeClr val="tx1">
                    <a:lumMod val="85000"/>
                    <a:lumOff val="15000"/>
                  </a:schemeClr>
                </a:solidFill>
              </a:defRPr>
            </a:lvl3pPr>
            <a:lvl4pPr>
              <a:lnSpc>
                <a:spcPct val="100000"/>
              </a:lnSpc>
              <a:spcBef>
                <a:spcPts val="1600"/>
              </a:spcBef>
              <a:spcAft>
                <a:spcPts val="0"/>
              </a:spcAft>
              <a:defRPr sz="2000" b="1" cap="none" spc="0" baseline="0">
                <a:solidFill>
                  <a:schemeClr val="tx1">
                    <a:lumMod val="85000"/>
                    <a:lumOff val="15000"/>
                  </a:schemeClr>
                </a:solidFill>
              </a:defRPr>
            </a:lvl4pPr>
            <a:lvl5pPr>
              <a:lnSpc>
                <a:spcPct val="100000"/>
              </a:lnSpc>
              <a:spcBef>
                <a:spcPts val="1600"/>
              </a:spcBef>
              <a:spcAft>
                <a:spcPts val="0"/>
              </a:spcAft>
              <a:defRPr sz="2000" b="1" spc="0">
                <a:solidFill>
                  <a:schemeClr val="tx1">
                    <a:lumMod val="85000"/>
                    <a:lumOff val="15000"/>
                  </a:schemeClr>
                </a:solidFill>
              </a:defRPr>
            </a:lvl5pPr>
            <a:lvl6pPr indent="0">
              <a:lnSpc>
                <a:spcPct val="100000"/>
              </a:lnSpc>
              <a:spcBef>
                <a:spcPts val="1600"/>
              </a:spcBef>
              <a:spcAft>
                <a:spcPts val="0"/>
              </a:spcAft>
              <a:defRPr sz="2000" b="1" i="0" cap="none" spc="0" baseline="0">
                <a:solidFill>
                  <a:schemeClr val="tx1">
                    <a:lumMod val="85000"/>
                    <a:lumOff val="15000"/>
                  </a:schemeClr>
                </a:solidFill>
              </a:defRPr>
            </a:lvl6pPr>
            <a:lvl7pPr indent="0">
              <a:lnSpc>
                <a:spcPct val="100000"/>
              </a:lnSpc>
              <a:spcBef>
                <a:spcPts val="1600"/>
              </a:spcBef>
              <a:spcAft>
                <a:spcPts val="0"/>
              </a:spcAft>
              <a:defRPr sz="2000" b="1" i="0" cap="none" spc="0" baseline="0">
                <a:solidFill>
                  <a:schemeClr val="tx1">
                    <a:lumMod val="85000"/>
                    <a:lumOff val="15000"/>
                  </a:schemeClr>
                </a:solidFill>
              </a:defRPr>
            </a:lvl7pPr>
            <a:lvl8pPr indent="0">
              <a:lnSpc>
                <a:spcPct val="100000"/>
              </a:lnSpc>
              <a:spcBef>
                <a:spcPts val="1600"/>
              </a:spcBef>
              <a:spcAft>
                <a:spcPts val="0"/>
              </a:spcAft>
              <a:defRPr sz="2000" b="1" i="0" cap="none" spc="0" baseline="0">
                <a:solidFill>
                  <a:schemeClr val="tx1">
                    <a:lumMod val="85000"/>
                    <a:lumOff val="15000"/>
                  </a:schemeClr>
                </a:solidFill>
              </a:defRPr>
            </a:lvl8pPr>
            <a:lvl9pPr indent="0">
              <a:lnSpc>
                <a:spcPct val="100000"/>
              </a:lnSpc>
              <a:spcBef>
                <a:spcPts val="1600"/>
              </a:spcBef>
              <a:spcAft>
                <a:spcPts val="0"/>
              </a:spcAft>
              <a:defRPr sz="2000" b="1" i="0" cap="none" spc="0" baseline="0">
                <a:solidFill>
                  <a:schemeClr val="tx1">
                    <a:lumMod val="85000"/>
                    <a:lumOff val="15000"/>
                  </a:schemeClr>
                </a:solidFill>
              </a:defRPr>
            </a:lvl9pPr>
          </a:lstStyle>
          <a:p>
            <a:pPr lvl="0"/>
            <a:r>
              <a:rPr lang="en-US"/>
              <a:t>Two quote layout.</a:t>
            </a:r>
          </a:p>
        </p:txBody>
      </p:sp>
      <p:grpSp>
        <p:nvGrpSpPr>
          <p:cNvPr id="106" name="Quote_Box">
            <a:extLst>
              <a:ext uri="{FF2B5EF4-FFF2-40B4-BE49-F238E27FC236}">
                <a16:creationId xmlns:a16="http://schemas.microsoft.com/office/drawing/2014/main" id="{ABCF5F15-1C99-4B5F-A62C-06821A1D013D}"/>
              </a:ext>
            </a:extLst>
          </p:cNvPr>
          <p:cNvGrpSpPr>
            <a:grpSpLocks noChangeAspect="1"/>
          </p:cNvGrpSpPr>
          <p:nvPr userDrawn="1"/>
        </p:nvGrpSpPr>
        <p:grpSpPr>
          <a:xfrm>
            <a:off x="6300383" y="1115459"/>
            <a:ext cx="509542" cy="509542"/>
            <a:chOff x="1127850" y="1457847"/>
            <a:chExt cx="648005" cy="648005"/>
          </a:xfrm>
        </p:grpSpPr>
        <p:sp>
          <p:nvSpPr>
            <p:cNvPr id="107" name="Quote_Box">
              <a:extLst>
                <a:ext uri="{FF2B5EF4-FFF2-40B4-BE49-F238E27FC236}">
                  <a16:creationId xmlns:a16="http://schemas.microsoft.com/office/drawing/2014/main" id="{BBFBCDF7-264A-4503-9A4A-3935E8AFA293}"/>
                </a:ext>
              </a:extLst>
            </p:cNvPr>
            <p:cNvSpPr/>
            <p:nvPr userDrawn="1"/>
          </p:nvSpPr>
          <p:spPr>
            <a:xfrm>
              <a:off x="1127850" y="1457847"/>
              <a:ext cx="648005" cy="648005"/>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108" name="Icon">
              <a:extLst>
                <a:ext uri="{FF2B5EF4-FFF2-40B4-BE49-F238E27FC236}">
                  <a16:creationId xmlns:a16="http://schemas.microsoft.com/office/drawing/2014/main" id="{D21F579F-48BF-483D-8137-FE8CA23EA9A1}"/>
                </a:ext>
              </a:extLst>
            </p:cNvPr>
            <p:cNvSpPr>
              <a:spLocks noChangeAspect="1" noEditPoints="1"/>
            </p:cNvSpPr>
            <p:nvPr userDrawn="1"/>
          </p:nvSpPr>
          <p:spPr bwMode="auto">
            <a:xfrm>
              <a:off x="1300876" y="1648350"/>
              <a:ext cx="301952" cy="2377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lvl="0"/>
              <a:endParaRPr lang="en-US" dirty="0"/>
            </a:p>
          </p:txBody>
        </p:sp>
      </p:grpSp>
      <p:sp>
        <p:nvSpPr>
          <p:cNvPr id="9" name="Affiliation">
            <a:extLst>
              <a:ext uri="{FF2B5EF4-FFF2-40B4-BE49-F238E27FC236}">
                <a16:creationId xmlns:a16="http://schemas.microsoft.com/office/drawing/2014/main" id="{39EF96E8-8057-43E5-A862-D955F5E6F29D}"/>
              </a:ext>
            </a:extLst>
          </p:cNvPr>
          <p:cNvSpPr>
            <a:spLocks noGrp="1"/>
          </p:cNvSpPr>
          <p:nvPr>
            <p:ph type="body" sz="quarter" idx="18" hasCustomPrompt="1"/>
          </p:nvPr>
        </p:nvSpPr>
        <p:spPr>
          <a:xfrm>
            <a:off x="817111"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a:t>Title / Company Name</a:t>
            </a:r>
          </a:p>
        </p:txBody>
      </p:sp>
      <p:sp>
        <p:nvSpPr>
          <p:cNvPr id="8" name="Name">
            <a:extLst>
              <a:ext uri="{FF2B5EF4-FFF2-40B4-BE49-F238E27FC236}">
                <a16:creationId xmlns:a16="http://schemas.microsoft.com/office/drawing/2014/main" id="{B25ECA0C-C715-4AD0-9C0F-8BF3F52AAC6F}"/>
              </a:ext>
            </a:extLst>
          </p:cNvPr>
          <p:cNvSpPr>
            <a:spLocks noGrp="1"/>
          </p:cNvSpPr>
          <p:nvPr>
            <p:ph type="body" sz="quarter" idx="15" hasCustomPrompt="1"/>
          </p:nvPr>
        </p:nvSpPr>
        <p:spPr>
          <a:xfrm>
            <a:off x="817112"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a:t>Name</a:t>
            </a:r>
          </a:p>
        </p:txBody>
      </p:sp>
      <p:sp>
        <p:nvSpPr>
          <p:cNvPr id="10" name="Text Placeholder 9">
            <a:extLst>
              <a:ext uri="{FF2B5EF4-FFF2-40B4-BE49-F238E27FC236}">
                <a16:creationId xmlns:a16="http://schemas.microsoft.com/office/drawing/2014/main" id="{9BDF67FD-4532-4FF0-8E1C-EAC346BA1231}"/>
              </a:ext>
            </a:extLst>
          </p:cNvPr>
          <p:cNvSpPr>
            <a:spLocks noGrp="1"/>
          </p:cNvSpPr>
          <p:nvPr>
            <p:ph type="body" sz="quarter" idx="20" hasCustomPrompt="1"/>
          </p:nvPr>
        </p:nvSpPr>
        <p:spPr>
          <a:xfrm>
            <a:off x="817111" y="1630264"/>
            <a:ext cx="5069850" cy="3102074"/>
          </a:xfrm>
          <a:ln w="19050">
            <a:solidFill>
              <a:schemeClr val="tx1">
                <a:lumMod val="75000"/>
                <a:lumOff val="25000"/>
              </a:schemeClr>
            </a:solidFill>
            <a:miter lim="800000"/>
          </a:ln>
        </p:spPr>
        <p:txBody>
          <a:bodyPr lIns="182880" tIns="182880" rIns="182880" bIns="182880">
            <a:noAutofit/>
          </a:bodyPr>
          <a:lstStyle>
            <a:lvl1pPr marL="0" indent="0">
              <a:lnSpc>
                <a:spcPct val="100000"/>
              </a:lnSpc>
              <a:spcBef>
                <a:spcPts val="1600"/>
              </a:spcBef>
              <a:spcAft>
                <a:spcPts val="0"/>
              </a:spcAft>
              <a:buFont typeface="Arial" panose="020B0604020202020204" pitchFamily="34" charset="0"/>
              <a:buChar char="​"/>
              <a:defRPr sz="2000" b="1" spc="0">
                <a:solidFill>
                  <a:schemeClr val="tx1">
                    <a:lumMod val="85000"/>
                    <a:lumOff val="15000"/>
                  </a:schemeClr>
                </a:solidFill>
              </a:defRPr>
            </a:lvl1pPr>
            <a:lvl2pPr marL="0" indent="0">
              <a:lnSpc>
                <a:spcPct val="100000"/>
              </a:lnSpc>
              <a:spcBef>
                <a:spcPts val="1600"/>
              </a:spcBef>
              <a:spcAft>
                <a:spcPts val="0"/>
              </a:spcAft>
              <a:buFont typeface="Arial" panose="020B0604020202020204" pitchFamily="34" charset="0"/>
              <a:buNone/>
              <a:defRPr sz="2000" b="1" spc="0">
                <a:solidFill>
                  <a:schemeClr val="tx1">
                    <a:lumMod val="85000"/>
                    <a:lumOff val="15000"/>
                  </a:schemeClr>
                </a:solidFill>
              </a:defRPr>
            </a:lvl2pPr>
            <a:lvl3pPr marL="0" indent="0">
              <a:lnSpc>
                <a:spcPct val="100000"/>
              </a:lnSpc>
              <a:spcBef>
                <a:spcPts val="1600"/>
              </a:spcBef>
              <a:spcAft>
                <a:spcPts val="0"/>
              </a:spcAft>
              <a:buFont typeface="Arial" panose="020B0604020202020204" pitchFamily="34" charset="0"/>
              <a:buChar char="​"/>
              <a:defRPr sz="2000" b="1" spc="0">
                <a:solidFill>
                  <a:schemeClr val="tx1">
                    <a:lumMod val="85000"/>
                    <a:lumOff val="15000"/>
                  </a:schemeClr>
                </a:solidFill>
              </a:defRPr>
            </a:lvl3pPr>
            <a:lvl4pPr>
              <a:lnSpc>
                <a:spcPct val="100000"/>
              </a:lnSpc>
              <a:spcBef>
                <a:spcPts val="1600"/>
              </a:spcBef>
              <a:spcAft>
                <a:spcPts val="0"/>
              </a:spcAft>
              <a:defRPr sz="2000" b="1" cap="none" spc="0" baseline="0">
                <a:solidFill>
                  <a:schemeClr val="tx1">
                    <a:lumMod val="85000"/>
                    <a:lumOff val="15000"/>
                  </a:schemeClr>
                </a:solidFill>
              </a:defRPr>
            </a:lvl4pPr>
            <a:lvl5pPr>
              <a:lnSpc>
                <a:spcPct val="100000"/>
              </a:lnSpc>
              <a:spcBef>
                <a:spcPts val="1600"/>
              </a:spcBef>
              <a:spcAft>
                <a:spcPts val="0"/>
              </a:spcAft>
              <a:defRPr sz="2000" b="1" spc="0">
                <a:solidFill>
                  <a:schemeClr val="tx1">
                    <a:lumMod val="85000"/>
                    <a:lumOff val="15000"/>
                  </a:schemeClr>
                </a:solidFill>
              </a:defRPr>
            </a:lvl5pPr>
            <a:lvl6pPr indent="0">
              <a:lnSpc>
                <a:spcPct val="100000"/>
              </a:lnSpc>
              <a:spcBef>
                <a:spcPts val="1600"/>
              </a:spcBef>
              <a:spcAft>
                <a:spcPts val="0"/>
              </a:spcAft>
              <a:defRPr sz="2000" b="1" i="0" cap="none" spc="0" baseline="0">
                <a:solidFill>
                  <a:schemeClr val="tx1">
                    <a:lumMod val="85000"/>
                    <a:lumOff val="15000"/>
                  </a:schemeClr>
                </a:solidFill>
              </a:defRPr>
            </a:lvl6pPr>
            <a:lvl7pPr indent="0">
              <a:lnSpc>
                <a:spcPct val="100000"/>
              </a:lnSpc>
              <a:spcBef>
                <a:spcPts val="1600"/>
              </a:spcBef>
              <a:spcAft>
                <a:spcPts val="0"/>
              </a:spcAft>
              <a:defRPr sz="2000" b="1" i="0" cap="none" spc="0" baseline="0">
                <a:solidFill>
                  <a:schemeClr val="tx1">
                    <a:lumMod val="85000"/>
                    <a:lumOff val="15000"/>
                  </a:schemeClr>
                </a:solidFill>
              </a:defRPr>
            </a:lvl7pPr>
            <a:lvl8pPr indent="0">
              <a:lnSpc>
                <a:spcPct val="100000"/>
              </a:lnSpc>
              <a:spcBef>
                <a:spcPts val="1600"/>
              </a:spcBef>
              <a:spcAft>
                <a:spcPts val="0"/>
              </a:spcAft>
              <a:defRPr sz="2000" b="1" i="0" cap="none" spc="0" baseline="0">
                <a:solidFill>
                  <a:schemeClr val="tx1">
                    <a:lumMod val="85000"/>
                    <a:lumOff val="15000"/>
                  </a:schemeClr>
                </a:solidFill>
              </a:defRPr>
            </a:lvl8pPr>
            <a:lvl9pPr indent="0">
              <a:lnSpc>
                <a:spcPct val="100000"/>
              </a:lnSpc>
              <a:spcBef>
                <a:spcPts val="1600"/>
              </a:spcBef>
              <a:spcAft>
                <a:spcPts val="0"/>
              </a:spcAft>
              <a:defRPr sz="2000" b="1" i="0" cap="none" spc="0" baseline="0">
                <a:solidFill>
                  <a:schemeClr val="tx1">
                    <a:lumMod val="85000"/>
                    <a:lumOff val="15000"/>
                  </a:schemeClr>
                </a:solidFill>
              </a:defRPr>
            </a:lvl9pPr>
          </a:lstStyle>
          <a:p>
            <a:pPr lvl="0"/>
            <a:r>
              <a:rPr lang="en-US"/>
              <a:t>Two quote layout.</a:t>
            </a:r>
          </a:p>
        </p:txBody>
      </p:sp>
      <p:grpSp>
        <p:nvGrpSpPr>
          <p:cNvPr id="7" name="Quote_Box">
            <a:extLst>
              <a:ext uri="{FF2B5EF4-FFF2-40B4-BE49-F238E27FC236}">
                <a16:creationId xmlns:a16="http://schemas.microsoft.com/office/drawing/2014/main" id="{9668343F-8517-4F28-87DB-A2A07E8FB7E8}"/>
              </a:ext>
            </a:extLst>
          </p:cNvPr>
          <p:cNvGrpSpPr>
            <a:grpSpLocks noChangeAspect="1"/>
          </p:cNvGrpSpPr>
          <p:nvPr userDrawn="1"/>
        </p:nvGrpSpPr>
        <p:grpSpPr>
          <a:xfrm>
            <a:off x="817112" y="1115459"/>
            <a:ext cx="509542" cy="509542"/>
            <a:chOff x="1127850" y="1457847"/>
            <a:chExt cx="648005" cy="648005"/>
          </a:xfrm>
        </p:grpSpPr>
        <p:sp>
          <p:nvSpPr>
            <p:cNvPr id="36" name="Quote_Box">
              <a:extLst>
                <a:ext uri="{FF2B5EF4-FFF2-40B4-BE49-F238E27FC236}">
                  <a16:creationId xmlns:a16="http://schemas.microsoft.com/office/drawing/2014/main" id="{42E56F5C-3AEB-4DE3-8888-7B24F0EA4953}"/>
                </a:ext>
              </a:extLst>
            </p:cNvPr>
            <p:cNvSpPr/>
            <p:nvPr userDrawn="1"/>
          </p:nvSpPr>
          <p:spPr>
            <a:xfrm>
              <a:off x="1127850" y="1457847"/>
              <a:ext cx="648005" cy="648005"/>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6" name="Icon">
              <a:extLst>
                <a:ext uri="{FF2B5EF4-FFF2-40B4-BE49-F238E27FC236}">
                  <a16:creationId xmlns:a16="http://schemas.microsoft.com/office/drawing/2014/main" id="{3DF19E5B-CFF4-45C8-B61A-F63CA122FB99}"/>
                </a:ext>
              </a:extLst>
            </p:cNvPr>
            <p:cNvSpPr>
              <a:spLocks noChangeAspect="1" noEditPoints="1"/>
            </p:cNvSpPr>
            <p:nvPr userDrawn="1"/>
          </p:nvSpPr>
          <p:spPr bwMode="auto">
            <a:xfrm>
              <a:off x="1300876" y="1648350"/>
              <a:ext cx="301952" cy="2377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a:extLst>
              <a:ext uri="{FF2B5EF4-FFF2-40B4-BE49-F238E27FC236}">
                <a16:creationId xmlns:a16="http://schemas.microsoft.com/office/drawing/2014/main" id="{5A5EF5EE-3B70-4DA9-9CA4-B61782592FBE}"/>
              </a:ext>
            </a:extLst>
          </p:cNvPr>
          <p:cNvSpPr>
            <a:spLocks noGrp="1"/>
          </p:cNvSpPr>
          <p:nvPr>
            <p:ph type="ftr" sz="quarter" idx="24"/>
          </p:nvPr>
        </p:nvSpPr>
        <p:spPr/>
        <p:txBody>
          <a:bodyPr/>
          <a:lstStyle/>
          <a:p>
            <a:endParaRPr lang="en-US" dirty="0"/>
          </a:p>
        </p:txBody>
      </p:sp>
      <p:sp>
        <p:nvSpPr>
          <p:cNvPr id="32" name="Slide Number">
            <a:extLst>
              <a:ext uri="{FF2B5EF4-FFF2-40B4-BE49-F238E27FC236}">
                <a16:creationId xmlns:a16="http://schemas.microsoft.com/office/drawing/2014/main" id="{FC713103-2866-494C-A53B-1AB3D87EEA7B}"/>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33" name="Logo">
            <a:extLst>
              <a:ext uri="{FF2B5EF4-FFF2-40B4-BE49-F238E27FC236}">
                <a16:creationId xmlns:a16="http://schemas.microsoft.com/office/drawing/2014/main" id="{CB047E31-151D-47D0-80D7-E717E2B69221}"/>
              </a:ext>
            </a:extLst>
          </p:cNvPr>
          <p:cNvGrpSpPr>
            <a:grpSpLocks noChangeAspect="1"/>
          </p:cNvGrpSpPr>
          <p:nvPr userDrawn="1"/>
        </p:nvGrpSpPr>
        <p:grpSpPr bwMode="black">
          <a:xfrm>
            <a:off x="428653" y="6447297"/>
            <a:ext cx="914400" cy="214552"/>
            <a:chOff x="1231901" y="5359401"/>
            <a:chExt cx="11210925" cy="2630487"/>
          </a:xfrm>
        </p:grpSpPr>
        <p:sp>
          <p:nvSpPr>
            <p:cNvPr id="34" name="Freeform 5">
              <a:extLst>
                <a:ext uri="{FF2B5EF4-FFF2-40B4-BE49-F238E27FC236}">
                  <a16:creationId xmlns:a16="http://schemas.microsoft.com/office/drawing/2014/main" id="{EEA3A2DC-1140-4EDC-B868-8D42AE958DD4}"/>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6">
              <a:extLst>
                <a:ext uri="{FF2B5EF4-FFF2-40B4-BE49-F238E27FC236}">
                  <a16:creationId xmlns:a16="http://schemas.microsoft.com/office/drawing/2014/main" id="{B821CE29-24BB-4400-BA45-0223522B7F77}"/>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6563301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Quote">
    <p:spTree>
      <p:nvGrpSpPr>
        <p:cNvPr id="1" name=""/>
        <p:cNvGrpSpPr/>
        <p:nvPr/>
      </p:nvGrpSpPr>
      <p:grpSpPr>
        <a:xfrm>
          <a:off x="0" y="0"/>
          <a:ext cx="0" cy="0"/>
          <a:chOff x="0" y="0"/>
          <a:chExt cx="0" cy="0"/>
        </a:xfrm>
      </p:grpSpPr>
      <p:sp>
        <p:nvSpPr>
          <p:cNvPr id="26" name="Texture">
            <a:extLst>
              <a:ext uri="{FF2B5EF4-FFF2-40B4-BE49-F238E27FC236}">
                <a16:creationId xmlns:a16="http://schemas.microsoft.com/office/drawing/2014/main" id="{3C95BE6E-96AD-4084-ACEE-7830A9F32631}"/>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110" name="Affiliation">
            <a:extLst>
              <a:ext uri="{FF2B5EF4-FFF2-40B4-BE49-F238E27FC236}">
                <a16:creationId xmlns:a16="http://schemas.microsoft.com/office/drawing/2014/main" id="{03391EED-1D97-47E6-8177-6C95A24711E4}"/>
              </a:ext>
            </a:extLst>
          </p:cNvPr>
          <p:cNvSpPr>
            <a:spLocks noGrp="1"/>
          </p:cNvSpPr>
          <p:nvPr>
            <p:ph type="body" sz="quarter" idx="24" hasCustomPrompt="1"/>
          </p:nvPr>
        </p:nvSpPr>
        <p:spPr>
          <a:xfrm>
            <a:off x="8127843"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a:t>Title / Company Name</a:t>
            </a:r>
          </a:p>
        </p:txBody>
      </p:sp>
      <p:sp>
        <p:nvSpPr>
          <p:cNvPr id="111" name="Name">
            <a:extLst>
              <a:ext uri="{FF2B5EF4-FFF2-40B4-BE49-F238E27FC236}">
                <a16:creationId xmlns:a16="http://schemas.microsoft.com/office/drawing/2014/main" id="{F8ADE435-12F0-4A39-B8D8-C041290A994F}"/>
              </a:ext>
            </a:extLst>
          </p:cNvPr>
          <p:cNvSpPr>
            <a:spLocks noGrp="1"/>
          </p:cNvSpPr>
          <p:nvPr>
            <p:ph type="body" sz="quarter" idx="25" hasCustomPrompt="1"/>
          </p:nvPr>
        </p:nvSpPr>
        <p:spPr>
          <a:xfrm>
            <a:off x="8127843"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a:t>Name</a:t>
            </a:r>
          </a:p>
        </p:txBody>
      </p:sp>
      <p:sp>
        <p:nvSpPr>
          <p:cNvPr id="115" name="Text Placeholder 9">
            <a:extLst>
              <a:ext uri="{FF2B5EF4-FFF2-40B4-BE49-F238E27FC236}">
                <a16:creationId xmlns:a16="http://schemas.microsoft.com/office/drawing/2014/main" id="{F508999A-BE23-41E9-BBE2-1DC9042691E8}"/>
              </a:ext>
            </a:extLst>
          </p:cNvPr>
          <p:cNvSpPr>
            <a:spLocks noGrp="1"/>
          </p:cNvSpPr>
          <p:nvPr>
            <p:ph type="body" sz="quarter" idx="26" hasCustomPrompt="1"/>
          </p:nvPr>
        </p:nvSpPr>
        <p:spPr>
          <a:xfrm>
            <a:off x="8127842" y="1630264"/>
            <a:ext cx="3246120" cy="3102074"/>
          </a:xfrm>
          <a:ln w="19050">
            <a:solidFill>
              <a:schemeClr val="tx1">
                <a:lumMod val="75000"/>
                <a:lumOff val="25000"/>
              </a:schemeClr>
            </a:solidFill>
            <a:miter lim="800000"/>
          </a:ln>
        </p:spPr>
        <p:txBody>
          <a:bodyPr lIns="182880" tIns="182880" rIns="182880" bIns="182880">
            <a:noAutofit/>
          </a:bodyPr>
          <a:lstStyle>
            <a:lvl1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1pPr>
            <a:lvl2pPr marL="0" indent="0">
              <a:lnSpc>
                <a:spcPct val="90000"/>
              </a:lnSpc>
              <a:spcBef>
                <a:spcPts val="800"/>
              </a:spcBef>
              <a:spcAft>
                <a:spcPts val="0"/>
              </a:spcAft>
              <a:buFont typeface="Arial" panose="020B0604020202020204" pitchFamily="34" charset="0"/>
              <a:buNone/>
              <a:defRPr sz="1600" b="1" spc="0">
                <a:solidFill>
                  <a:schemeClr val="tx1">
                    <a:lumMod val="85000"/>
                    <a:lumOff val="15000"/>
                  </a:schemeClr>
                </a:solidFill>
              </a:defRPr>
            </a:lvl2pPr>
            <a:lvl3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3pPr>
            <a:lvl4pPr>
              <a:lnSpc>
                <a:spcPct val="90000"/>
              </a:lnSpc>
              <a:spcBef>
                <a:spcPts val="800"/>
              </a:spcBef>
              <a:spcAft>
                <a:spcPts val="0"/>
              </a:spcAft>
              <a:defRPr sz="1600" b="1" cap="none" spc="0" baseline="0">
                <a:solidFill>
                  <a:schemeClr val="tx1">
                    <a:lumMod val="85000"/>
                    <a:lumOff val="15000"/>
                  </a:schemeClr>
                </a:solidFill>
              </a:defRPr>
            </a:lvl4pPr>
            <a:lvl5pPr>
              <a:lnSpc>
                <a:spcPct val="90000"/>
              </a:lnSpc>
              <a:spcBef>
                <a:spcPts val="800"/>
              </a:spcBef>
              <a:spcAft>
                <a:spcPts val="0"/>
              </a:spcAft>
              <a:defRPr sz="1600" b="1" spc="0">
                <a:solidFill>
                  <a:schemeClr val="tx1">
                    <a:lumMod val="85000"/>
                    <a:lumOff val="15000"/>
                  </a:schemeClr>
                </a:solidFill>
              </a:defRPr>
            </a:lvl5pPr>
            <a:lvl6pPr indent="0">
              <a:lnSpc>
                <a:spcPct val="90000"/>
              </a:lnSpc>
              <a:spcBef>
                <a:spcPts val="800"/>
              </a:spcBef>
              <a:spcAft>
                <a:spcPts val="0"/>
              </a:spcAft>
              <a:defRPr sz="1600" b="1" i="0" cap="none" spc="0" baseline="0">
                <a:solidFill>
                  <a:schemeClr val="tx1">
                    <a:lumMod val="85000"/>
                    <a:lumOff val="15000"/>
                  </a:schemeClr>
                </a:solidFill>
              </a:defRPr>
            </a:lvl6pPr>
            <a:lvl7pPr indent="0">
              <a:lnSpc>
                <a:spcPct val="90000"/>
              </a:lnSpc>
              <a:spcBef>
                <a:spcPts val="800"/>
              </a:spcBef>
              <a:spcAft>
                <a:spcPts val="0"/>
              </a:spcAft>
              <a:defRPr sz="1600" b="1" i="0" cap="none" spc="0" baseline="0">
                <a:solidFill>
                  <a:schemeClr val="tx1">
                    <a:lumMod val="85000"/>
                    <a:lumOff val="15000"/>
                  </a:schemeClr>
                </a:solidFill>
              </a:defRPr>
            </a:lvl7pPr>
            <a:lvl8pPr indent="0">
              <a:lnSpc>
                <a:spcPct val="90000"/>
              </a:lnSpc>
              <a:spcBef>
                <a:spcPts val="800"/>
              </a:spcBef>
              <a:spcAft>
                <a:spcPts val="0"/>
              </a:spcAft>
              <a:defRPr sz="1600" b="1" i="0" cap="none" spc="0" baseline="0">
                <a:solidFill>
                  <a:schemeClr val="tx1">
                    <a:lumMod val="85000"/>
                    <a:lumOff val="15000"/>
                  </a:schemeClr>
                </a:solidFill>
              </a:defRPr>
            </a:lvl8pPr>
            <a:lvl9pPr indent="0">
              <a:lnSpc>
                <a:spcPct val="90000"/>
              </a:lnSpc>
              <a:spcBef>
                <a:spcPts val="800"/>
              </a:spcBef>
              <a:spcAft>
                <a:spcPts val="0"/>
              </a:spcAft>
              <a:defRPr sz="1600" b="1" i="0" cap="none" spc="0" baseline="0">
                <a:solidFill>
                  <a:schemeClr val="tx1">
                    <a:lumMod val="85000"/>
                    <a:lumOff val="15000"/>
                  </a:schemeClr>
                </a:solidFill>
              </a:defRPr>
            </a:lvl9pPr>
          </a:lstStyle>
          <a:p>
            <a:pPr lvl="0"/>
            <a:r>
              <a:rPr lang="en-US"/>
              <a:t>Three quote layout.</a:t>
            </a:r>
          </a:p>
        </p:txBody>
      </p:sp>
      <p:sp>
        <p:nvSpPr>
          <p:cNvPr id="113" name="Quote_Box">
            <a:extLst>
              <a:ext uri="{FF2B5EF4-FFF2-40B4-BE49-F238E27FC236}">
                <a16:creationId xmlns:a16="http://schemas.microsoft.com/office/drawing/2014/main" id="{63E5C30B-475D-4271-B492-051282960614}"/>
              </a:ext>
            </a:extLst>
          </p:cNvPr>
          <p:cNvSpPr/>
          <p:nvPr userDrawn="1"/>
        </p:nvSpPr>
        <p:spPr>
          <a:xfrm>
            <a:off x="8127844" y="1115459"/>
            <a:ext cx="509542" cy="509542"/>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114" name="Icon">
            <a:extLst>
              <a:ext uri="{FF2B5EF4-FFF2-40B4-BE49-F238E27FC236}">
                <a16:creationId xmlns:a16="http://schemas.microsoft.com/office/drawing/2014/main" id="{6207C573-4A51-45AB-8A2D-1B0EC0E0CF77}"/>
              </a:ext>
            </a:extLst>
          </p:cNvPr>
          <p:cNvSpPr>
            <a:spLocks noChangeAspect="1" noEditPoints="1"/>
          </p:cNvSpPr>
          <p:nvPr userDrawn="1"/>
        </p:nvSpPr>
        <p:spPr bwMode="auto">
          <a:xfrm>
            <a:off x="8263899" y="1265256"/>
            <a:ext cx="237432" cy="1869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lvl="0"/>
            <a:endParaRPr lang="en-US" dirty="0"/>
          </a:p>
        </p:txBody>
      </p:sp>
      <p:sp>
        <p:nvSpPr>
          <p:cNvPr id="104" name="Affiliation">
            <a:extLst>
              <a:ext uri="{FF2B5EF4-FFF2-40B4-BE49-F238E27FC236}">
                <a16:creationId xmlns:a16="http://schemas.microsoft.com/office/drawing/2014/main" id="{705559C5-878A-4763-8DD2-8E2E436F4B4A}"/>
              </a:ext>
            </a:extLst>
          </p:cNvPr>
          <p:cNvSpPr>
            <a:spLocks noGrp="1"/>
          </p:cNvSpPr>
          <p:nvPr userDrawn="1">
            <p:ph type="body" sz="quarter" idx="21" hasCustomPrompt="1"/>
          </p:nvPr>
        </p:nvSpPr>
        <p:spPr>
          <a:xfrm>
            <a:off x="4472940"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a:t>Title / Company Name</a:t>
            </a:r>
          </a:p>
        </p:txBody>
      </p:sp>
      <p:sp>
        <p:nvSpPr>
          <p:cNvPr id="105" name="Name">
            <a:extLst>
              <a:ext uri="{FF2B5EF4-FFF2-40B4-BE49-F238E27FC236}">
                <a16:creationId xmlns:a16="http://schemas.microsoft.com/office/drawing/2014/main" id="{DF4D4582-8847-4F32-8324-0D3299EDB5AA}"/>
              </a:ext>
            </a:extLst>
          </p:cNvPr>
          <p:cNvSpPr>
            <a:spLocks noGrp="1"/>
          </p:cNvSpPr>
          <p:nvPr userDrawn="1">
            <p:ph type="body" sz="quarter" idx="22" hasCustomPrompt="1"/>
          </p:nvPr>
        </p:nvSpPr>
        <p:spPr>
          <a:xfrm>
            <a:off x="4472940"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a:t>Name</a:t>
            </a:r>
          </a:p>
        </p:txBody>
      </p:sp>
      <p:sp>
        <p:nvSpPr>
          <p:cNvPr id="109" name="Text Placeholder 9">
            <a:extLst>
              <a:ext uri="{FF2B5EF4-FFF2-40B4-BE49-F238E27FC236}">
                <a16:creationId xmlns:a16="http://schemas.microsoft.com/office/drawing/2014/main" id="{4097F5C6-326F-4898-9FB9-3FC9B0D6639A}"/>
              </a:ext>
            </a:extLst>
          </p:cNvPr>
          <p:cNvSpPr>
            <a:spLocks noGrp="1"/>
          </p:cNvSpPr>
          <p:nvPr userDrawn="1">
            <p:ph type="body" sz="quarter" idx="23" hasCustomPrompt="1"/>
          </p:nvPr>
        </p:nvSpPr>
        <p:spPr>
          <a:xfrm>
            <a:off x="4472940" y="1630264"/>
            <a:ext cx="3246120" cy="3102074"/>
          </a:xfrm>
          <a:ln w="19050">
            <a:solidFill>
              <a:schemeClr val="tx1">
                <a:lumMod val="75000"/>
                <a:lumOff val="25000"/>
              </a:schemeClr>
            </a:solidFill>
            <a:miter lim="800000"/>
          </a:ln>
        </p:spPr>
        <p:txBody>
          <a:bodyPr lIns="182880" tIns="182880" rIns="182880" bIns="182880">
            <a:noAutofit/>
          </a:bodyPr>
          <a:lstStyle>
            <a:lvl1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1pPr>
            <a:lvl2pPr marL="0" indent="0">
              <a:lnSpc>
                <a:spcPct val="90000"/>
              </a:lnSpc>
              <a:spcBef>
                <a:spcPts val="800"/>
              </a:spcBef>
              <a:spcAft>
                <a:spcPts val="0"/>
              </a:spcAft>
              <a:buFont typeface="Arial" panose="020B0604020202020204" pitchFamily="34" charset="0"/>
              <a:buNone/>
              <a:defRPr sz="1600" b="1" spc="0">
                <a:solidFill>
                  <a:schemeClr val="tx1">
                    <a:lumMod val="85000"/>
                    <a:lumOff val="15000"/>
                  </a:schemeClr>
                </a:solidFill>
              </a:defRPr>
            </a:lvl2pPr>
            <a:lvl3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3pPr>
            <a:lvl4pPr>
              <a:lnSpc>
                <a:spcPct val="90000"/>
              </a:lnSpc>
              <a:spcBef>
                <a:spcPts val="800"/>
              </a:spcBef>
              <a:spcAft>
                <a:spcPts val="0"/>
              </a:spcAft>
              <a:defRPr sz="1600" b="1" cap="none" spc="0" baseline="0">
                <a:solidFill>
                  <a:schemeClr val="tx1">
                    <a:lumMod val="85000"/>
                    <a:lumOff val="15000"/>
                  </a:schemeClr>
                </a:solidFill>
              </a:defRPr>
            </a:lvl4pPr>
            <a:lvl5pPr>
              <a:lnSpc>
                <a:spcPct val="90000"/>
              </a:lnSpc>
              <a:spcBef>
                <a:spcPts val="800"/>
              </a:spcBef>
              <a:spcAft>
                <a:spcPts val="0"/>
              </a:spcAft>
              <a:defRPr sz="1600" b="1" spc="0">
                <a:solidFill>
                  <a:schemeClr val="tx1">
                    <a:lumMod val="85000"/>
                    <a:lumOff val="15000"/>
                  </a:schemeClr>
                </a:solidFill>
              </a:defRPr>
            </a:lvl5pPr>
            <a:lvl6pPr indent="0">
              <a:lnSpc>
                <a:spcPct val="90000"/>
              </a:lnSpc>
              <a:spcBef>
                <a:spcPts val="800"/>
              </a:spcBef>
              <a:spcAft>
                <a:spcPts val="0"/>
              </a:spcAft>
              <a:defRPr sz="1600" b="1" i="0" cap="none" spc="0" baseline="0">
                <a:solidFill>
                  <a:schemeClr val="tx1">
                    <a:lumMod val="85000"/>
                    <a:lumOff val="15000"/>
                  </a:schemeClr>
                </a:solidFill>
              </a:defRPr>
            </a:lvl6pPr>
            <a:lvl7pPr indent="0">
              <a:lnSpc>
                <a:spcPct val="90000"/>
              </a:lnSpc>
              <a:spcBef>
                <a:spcPts val="800"/>
              </a:spcBef>
              <a:spcAft>
                <a:spcPts val="0"/>
              </a:spcAft>
              <a:defRPr sz="1600" b="1" i="0" cap="none" spc="0" baseline="0">
                <a:solidFill>
                  <a:schemeClr val="tx1">
                    <a:lumMod val="85000"/>
                    <a:lumOff val="15000"/>
                  </a:schemeClr>
                </a:solidFill>
              </a:defRPr>
            </a:lvl7pPr>
            <a:lvl8pPr indent="0">
              <a:lnSpc>
                <a:spcPct val="90000"/>
              </a:lnSpc>
              <a:spcBef>
                <a:spcPts val="800"/>
              </a:spcBef>
              <a:spcAft>
                <a:spcPts val="0"/>
              </a:spcAft>
              <a:defRPr sz="1600" b="1" i="0" cap="none" spc="0" baseline="0">
                <a:solidFill>
                  <a:schemeClr val="tx1">
                    <a:lumMod val="85000"/>
                    <a:lumOff val="15000"/>
                  </a:schemeClr>
                </a:solidFill>
              </a:defRPr>
            </a:lvl8pPr>
            <a:lvl9pPr indent="0">
              <a:lnSpc>
                <a:spcPct val="90000"/>
              </a:lnSpc>
              <a:spcBef>
                <a:spcPts val="800"/>
              </a:spcBef>
              <a:spcAft>
                <a:spcPts val="0"/>
              </a:spcAft>
              <a:defRPr sz="1600" b="1" i="0" cap="none" spc="0" baseline="0">
                <a:solidFill>
                  <a:schemeClr val="tx1">
                    <a:lumMod val="85000"/>
                    <a:lumOff val="15000"/>
                  </a:schemeClr>
                </a:solidFill>
              </a:defRPr>
            </a:lvl9pPr>
          </a:lstStyle>
          <a:p>
            <a:pPr lvl="0"/>
            <a:r>
              <a:rPr lang="en-US"/>
              <a:t>Three quote layout.</a:t>
            </a:r>
          </a:p>
        </p:txBody>
      </p:sp>
      <p:sp>
        <p:nvSpPr>
          <p:cNvPr id="107" name="Quote_Box">
            <a:extLst>
              <a:ext uri="{FF2B5EF4-FFF2-40B4-BE49-F238E27FC236}">
                <a16:creationId xmlns:a16="http://schemas.microsoft.com/office/drawing/2014/main" id="{BBFBCDF7-264A-4503-9A4A-3935E8AFA293}"/>
              </a:ext>
            </a:extLst>
          </p:cNvPr>
          <p:cNvSpPr/>
          <p:nvPr userDrawn="1"/>
        </p:nvSpPr>
        <p:spPr>
          <a:xfrm>
            <a:off x="4471995" y="1115459"/>
            <a:ext cx="509542" cy="509542"/>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108" name="Icon">
            <a:extLst>
              <a:ext uri="{FF2B5EF4-FFF2-40B4-BE49-F238E27FC236}">
                <a16:creationId xmlns:a16="http://schemas.microsoft.com/office/drawing/2014/main" id="{D21F579F-48BF-483D-8137-FE8CA23EA9A1}"/>
              </a:ext>
            </a:extLst>
          </p:cNvPr>
          <p:cNvSpPr>
            <a:spLocks noChangeAspect="1" noEditPoints="1"/>
          </p:cNvSpPr>
          <p:nvPr userDrawn="1"/>
        </p:nvSpPr>
        <p:spPr bwMode="auto">
          <a:xfrm>
            <a:off x="4608050" y="1265256"/>
            <a:ext cx="237432" cy="1869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lvl="0"/>
            <a:endParaRPr lang="en-US" dirty="0"/>
          </a:p>
        </p:txBody>
      </p:sp>
      <p:sp>
        <p:nvSpPr>
          <p:cNvPr id="9" name="Affiliation">
            <a:extLst>
              <a:ext uri="{FF2B5EF4-FFF2-40B4-BE49-F238E27FC236}">
                <a16:creationId xmlns:a16="http://schemas.microsoft.com/office/drawing/2014/main" id="{39EF96E8-8057-43E5-A862-D955F5E6F29D}"/>
              </a:ext>
            </a:extLst>
          </p:cNvPr>
          <p:cNvSpPr>
            <a:spLocks noGrp="1"/>
          </p:cNvSpPr>
          <p:nvPr userDrawn="1">
            <p:ph type="body" sz="quarter" idx="18" hasCustomPrompt="1"/>
          </p:nvPr>
        </p:nvSpPr>
        <p:spPr>
          <a:xfrm>
            <a:off x="817111"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a:t>Title / Company Name</a:t>
            </a:r>
          </a:p>
        </p:txBody>
      </p:sp>
      <p:sp>
        <p:nvSpPr>
          <p:cNvPr id="8" name="Name">
            <a:extLst>
              <a:ext uri="{FF2B5EF4-FFF2-40B4-BE49-F238E27FC236}">
                <a16:creationId xmlns:a16="http://schemas.microsoft.com/office/drawing/2014/main" id="{B25ECA0C-C715-4AD0-9C0F-8BF3F52AAC6F}"/>
              </a:ext>
            </a:extLst>
          </p:cNvPr>
          <p:cNvSpPr>
            <a:spLocks noGrp="1"/>
          </p:cNvSpPr>
          <p:nvPr userDrawn="1">
            <p:ph type="body" sz="quarter" idx="15" hasCustomPrompt="1"/>
          </p:nvPr>
        </p:nvSpPr>
        <p:spPr>
          <a:xfrm>
            <a:off x="817112"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a:t>Name</a:t>
            </a:r>
          </a:p>
        </p:txBody>
      </p:sp>
      <p:sp>
        <p:nvSpPr>
          <p:cNvPr id="10" name="Text Placeholder 9">
            <a:extLst>
              <a:ext uri="{FF2B5EF4-FFF2-40B4-BE49-F238E27FC236}">
                <a16:creationId xmlns:a16="http://schemas.microsoft.com/office/drawing/2014/main" id="{9BDF67FD-4532-4FF0-8E1C-EAC346BA1231}"/>
              </a:ext>
            </a:extLst>
          </p:cNvPr>
          <p:cNvSpPr>
            <a:spLocks noGrp="1"/>
          </p:cNvSpPr>
          <p:nvPr userDrawn="1">
            <p:ph type="body" sz="quarter" idx="20" hasCustomPrompt="1"/>
          </p:nvPr>
        </p:nvSpPr>
        <p:spPr>
          <a:xfrm>
            <a:off x="817112" y="1630264"/>
            <a:ext cx="3246120" cy="3102074"/>
          </a:xfrm>
          <a:ln w="19050">
            <a:solidFill>
              <a:schemeClr val="tx1">
                <a:lumMod val="75000"/>
                <a:lumOff val="25000"/>
              </a:schemeClr>
            </a:solidFill>
            <a:miter lim="800000"/>
          </a:ln>
        </p:spPr>
        <p:txBody>
          <a:bodyPr lIns="182880" tIns="182880" rIns="182880" bIns="182880">
            <a:noAutofit/>
          </a:bodyPr>
          <a:lstStyle>
            <a:lvl1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1pPr>
            <a:lvl2pPr marL="0" indent="0">
              <a:lnSpc>
                <a:spcPct val="90000"/>
              </a:lnSpc>
              <a:spcBef>
                <a:spcPts val="800"/>
              </a:spcBef>
              <a:spcAft>
                <a:spcPts val="0"/>
              </a:spcAft>
              <a:buFont typeface="Arial" panose="020B0604020202020204" pitchFamily="34" charset="0"/>
              <a:buNone/>
              <a:defRPr sz="1600" b="1" spc="0">
                <a:solidFill>
                  <a:schemeClr val="tx1">
                    <a:lumMod val="85000"/>
                    <a:lumOff val="15000"/>
                  </a:schemeClr>
                </a:solidFill>
              </a:defRPr>
            </a:lvl2pPr>
            <a:lvl3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3pPr>
            <a:lvl4pPr>
              <a:lnSpc>
                <a:spcPct val="90000"/>
              </a:lnSpc>
              <a:spcBef>
                <a:spcPts val="800"/>
              </a:spcBef>
              <a:spcAft>
                <a:spcPts val="0"/>
              </a:spcAft>
              <a:defRPr sz="1600" b="1" cap="none" spc="0" baseline="0">
                <a:solidFill>
                  <a:schemeClr val="tx1">
                    <a:lumMod val="85000"/>
                    <a:lumOff val="15000"/>
                  </a:schemeClr>
                </a:solidFill>
              </a:defRPr>
            </a:lvl4pPr>
            <a:lvl5pPr>
              <a:lnSpc>
                <a:spcPct val="90000"/>
              </a:lnSpc>
              <a:spcBef>
                <a:spcPts val="800"/>
              </a:spcBef>
              <a:spcAft>
                <a:spcPts val="0"/>
              </a:spcAft>
              <a:defRPr sz="1600" b="1" spc="0">
                <a:solidFill>
                  <a:schemeClr val="tx1">
                    <a:lumMod val="85000"/>
                    <a:lumOff val="15000"/>
                  </a:schemeClr>
                </a:solidFill>
              </a:defRPr>
            </a:lvl5pPr>
            <a:lvl6pPr indent="0">
              <a:lnSpc>
                <a:spcPct val="90000"/>
              </a:lnSpc>
              <a:spcBef>
                <a:spcPts val="800"/>
              </a:spcBef>
              <a:spcAft>
                <a:spcPts val="0"/>
              </a:spcAft>
              <a:defRPr sz="1600" b="1" i="0" cap="none" spc="0" baseline="0">
                <a:solidFill>
                  <a:schemeClr val="tx1">
                    <a:lumMod val="85000"/>
                    <a:lumOff val="15000"/>
                  </a:schemeClr>
                </a:solidFill>
              </a:defRPr>
            </a:lvl6pPr>
            <a:lvl7pPr indent="0">
              <a:lnSpc>
                <a:spcPct val="90000"/>
              </a:lnSpc>
              <a:spcBef>
                <a:spcPts val="800"/>
              </a:spcBef>
              <a:spcAft>
                <a:spcPts val="0"/>
              </a:spcAft>
              <a:defRPr sz="1600" b="1" i="0" cap="none" spc="0" baseline="0">
                <a:solidFill>
                  <a:schemeClr val="tx1">
                    <a:lumMod val="85000"/>
                    <a:lumOff val="15000"/>
                  </a:schemeClr>
                </a:solidFill>
              </a:defRPr>
            </a:lvl7pPr>
            <a:lvl8pPr indent="0">
              <a:lnSpc>
                <a:spcPct val="90000"/>
              </a:lnSpc>
              <a:spcBef>
                <a:spcPts val="800"/>
              </a:spcBef>
              <a:spcAft>
                <a:spcPts val="0"/>
              </a:spcAft>
              <a:defRPr sz="1600" b="1" i="0" cap="none" spc="0" baseline="0">
                <a:solidFill>
                  <a:schemeClr val="tx1">
                    <a:lumMod val="85000"/>
                    <a:lumOff val="15000"/>
                  </a:schemeClr>
                </a:solidFill>
              </a:defRPr>
            </a:lvl8pPr>
            <a:lvl9pPr indent="0">
              <a:lnSpc>
                <a:spcPct val="90000"/>
              </a:lnSpc>
              <a:spcBef>
                <a:spcPts val="800"/>
              </a:spcBef>
              <a:spcAft>
                <a:spcPts val="0"/>
              </a:spcAft>
              <a:defRPr sz="1600" b="1" i="0" cap="none" spc="0" baseline="0">
                <a:solidFill>
                  <a:schemeClr val="tx1">
                    <a:lumMod val="85000"/>
                    <a:lumOff val="15000"/>
                  </a:schemeClr>
                </a:solidFill>
              </a:defRPr>
            </a:lvl9pPr>
          </a:lstStyle>
          <a:p>
            <a:pPr lvl="0"/>
            <a:r>
              <a:rPr lang="en-US"/>
              <a:t>Three quote layout.</a:t>
            </a:r>
          </a:p>
        </p:txBody>
      </p:sp>
      <p:sp>
        <p:nvSpPr>
          <p:cNvPr id="36" name="Quote_Box">
            <a:extLst>
              <a:ext uri="{FF2B5EF4-FFF2-40B4-BE49-F238E27FC236}">
                <a16:creationId xmlns:a16="http://schemas.microsoft.com/office/drawing/2014/main" id="{42E56F5C-3AEB-4DE3-8888-7B24F0EA4953}"/>
              </a:ext>
            </a:extLst>
          </p:cNvPr>
          <p:cNvSpPr/>
          <p:nvPr userDrawn="1"/>
        </p:nvSpPr>
        <p:spPr>
          <a:xfrm>
            <a:off x="817112" y="1115459"/>
            <a:ext cx="509542" cy="509542"/>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6" name="Icon">
            <a:extLst>
              <a:ext uri="{FF2B5EF4-FFF2-40B4-BE49-F238E27FC236}">
                <a16:creationId xmlns:a16="http://schemas.microsoft.com/office/drawing/2014/main" id="{3DF19E5B-CFF4-45C8-B61A-F63CA122FB99}"/>
              </a:ext>
            </a:extLst>
          </p:cNvPr>
          <p:cNvSpPr>
            <a:spLocks noChangeAspect="1" noEditPoints="1"/>
          </p:cNvSpPr>
          <p:nvPr userDrawn="1"/>
        </p:nvSpPr>
        <p:spPr bwMode="auto">
          <a:xfrm>
            <a:off x="953167" y="1265256"/>
            <a:ext cx="237432" cy="1869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 name="Footer Placeholder 1">
            <a:extLst>
              <a:ext uri="{FF2B5EF4-FFF2-40B4-BE49-F238E27FC236}">
                <a16:creationId xmlns:a16="http://schemas.microsoft.com/office/drawing/2014/main" id="{0809D31E-8183-451E-99A7-97F7D20575CB}"/>
              </a:ext>
            </a:extLst>
          </p:cNvPr>
          <p:cNvSpPr>
            <a:spLocks noGrp="1"/>
          </p:cNvSpPr>
          <p:nvPr userDrawn="1">
            <p:ph type="ftr" sz="quarter" idx="27"/>
          </p:nvPr>
        </p:nvSpPr>
        <p:spPr/>
        <p:txBody>
          <a:bodyPr/>
          <a:lstStyle/>
          <a:p>
            <a:endParaRPr lang="en-US" dirty="0"/>
          </a:p>
        </p:txBody>
      </p:sp>
      <p:sp>
        <p:nvSpPr>
          <p:cNvPr id="37" name="Slide Number">
            <a:extLst>
              <a:ext uri="{FF2B5EF4-FFF2-40B4-BE49-F238E27FC236}">
                <a16:creationId xmlns:a16="http://schemas.microsoft.com/office/drawing/2014/main" id="{64FA7F3B-629E-4994-9D8D-543F3F50EDAD}"/>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38" name="Logo">
            <a:extLst>
              <a:ext uri="{FF2B5EF4-FFF2-40B4-BE49-F238E27FC236}">
                <a16:creationId xmlns:a16="http://schemas.microsoft.com/office/drawing/2014/main" id="{8D803CD8-0215-4AF5-8112-85A0C960BE0A}"/>
              </a:ext>
            </a:extLst>
          </p:cNvPr>
          <p:cNvGrpSpPr>
            <a:grpSpLocks noChangeAspect="1"/>
          </p:cNvGrpSpPr>
          <p:nvPr userDrawn="1"/>
        </p:nvGrpSpPr>
        <p:grpSpPr bwMode="black">
          <a:xfrm>
            <a:off x="428653" y="6447297"/>
            <a:ext cx="914400" cy="214552"/>
            <a:chOff x="1231901" y="5359401"/>
            <a:chExt cx="11210925" cy="2630487"/>
          </a:xfrm>
        </p:grpSpPr>
        <p:sp>
          <p:nvSpPr>
            <p:cNvPr id="39" name="Freeform 5">
              <a:extLst>
                <a:ext uri="{FF2B5EF4-FFF2-40B4-BE49-F238E27FC236}">
                  <a16:creationId xmlns:a16="http://schemas.microsoft.com/office/drawing/2014/main" id="{1FE609AA-87CA-4AAA-86B8-3A5F58ED1C2E}"/>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6">
              <a:extLst>
                <a:ext uri="{FF2B5EF4-FFF2-40B4-BE49-F238E27FC236}">
                  <a16:creationId xmlns:a16="http://schemas.microsoft.com/office/drawing/2014/main" id="{0A9110DB-3204-4593-B863-F03340BAE92A}"/>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4799194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rge Statement">
    <p:spTree>
      <p:nvGrpSpPr>
        <p:cNvPr id="1" name=""/>
        <p:cNvGrpSpPr/>
        <p:nvPr/>
      </p:nvGrpSpPr>
      <p:grpSpPr>
        <a:xfrm>
          <a:off x="0" y="0"/>
          <a:ext cx="0" cy="0"/>
          <a:chOff x="0" y="0"/>
          <a:chExt cx="0" cy="0"/>
        </a:xfrm>
      </p:grpSpPr>
      <p:sp>
        <p:nvSpPr>
          <p:cNvPr id="3" name="Texture">
            <a:extLst>
              <a:ext uri="{FF2B5EF4-FFF2-40B4-BE49-F238E27FC236}">
                <a16:creationId xmlns:a16="http://schemas.microsoft.com/office/drawing/2014/main" id="{1E4985FC-C4A1-4C4E-9D8B-E1EF235D555D}"/>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2" name="Title">
            <a:extLst>
              <a:ext uri="{FF2B5EF4-FFF2-40B4-BE49-F238E27FC236}">
                <a16:creationId xmlns:a16="http://schemas.microsoft.com/office/drawing/2014/main" id="{C54FD730-BB81-4C20-B6E9-3E0B048CAC1C}"/>
              </a:ext>
            </a:extLst>
          </p:cNvPr>
          <p:cNvSpPr>
            <a:spLocks noGrp="1"/>
          </p:cNvSpPr>
          <p:nvPr>
            <p:ph type="title" hasCustomPrompt="1"/>
          </p:nvPr>
        </p:nvSpPr>
        <p:spPr>
          <a:xfrm>
            <a:off x="449202" y="1463040"/>
            <a:ext cx="11292840" cy="3785616"/>
          </a:xfrm>
        </p:spPr>
        <p:txBody>
          <a:bodyPr anchor="ctr"/>
          <a:lstStyle>
            <a:lvl1pPr algn="ctr">
              <a:lnSpc>
                <a:spcPct val="90000"/>
              </a:lnSpc>
              <a:defRPr lang="en-US" sz="4400" b="1" kern="1200" dirty="0">
                <a:solidFill>
                  <a:schemeClr val="tx1">
                    <a:lumMod val="85000"/>
                    <a:lumOff val="15000"/>
                  </a:schemeClr>
                </a:solidFill>
                <a:latin typeface="+mj-lt"/>
                <a:ea typeface="+mj-ea"/>
                <a:cs typeface="+mj-cs"/>
              </a:defRPr>
            </a:lvl1pPr>
          </a:lstStyle>
          <a:p>
            <a:pPr lvl="0" algn="ctr" defTabSz="914400" rtl="0" eaLnBrk="1" latinLnBrk="0" hangingPunct="1">
              <a:lnSpc>
                <a:spcPct val="90000"/>
              </a:lnSpc>
              <a:spcBef>
                <a:spcPct val="0"/>
              </a:spcBef>
              <a:buNone/>
            </a:pPr>
            <a:r>
              <a:rPr lang="en-US"/>
              <a:t>Large statement layout.</a:t>
            </a:r>
          </a:p>
        </p:txBody>
      </p:sp>
      <p:sp>
        <p:nvSpPr>
          <p:cNvPr id="15" name="Footer Placeholder 14">
            <a:extLst>
              <a:ext uri="{FF2B5EF4-FFF2-40B4-BE49-F238E27FC236}">
                <a16:creationId xmlns:a16="http://schemas.microsoft.com/office/drawing/2014/main" id="{9D9AE906-1DB3-4285-A68A-0F8B8AC97CA4}"/>
              </a:ext>
            </a:extLst>
          </p:cNvPr>
          <p:cNvSpPr>
            <a:spLocks noGrp="1"/>
          </p:cNvSpPr>
          <p:nvPr>
            <p:ph type="ftr" sz="quarter" idx="10"/>
          </p:nvPr>
        </p:nvSpPr>
        <p:spPr/>
        <p:txBody>
          <a:bodyPr/>
          <a:lstStyle/>
          <a:p>
            <a:endParaRPr lang="en-US" dirty="0"/>
          </a:p>
        </p:txBody>
      </p:sp>
      <p:sp>
        <p:nvSpPr>
          <p:cNvPr id="16" name="Slide Number">
            <a:extLst>
              <a:ext uri="{FF2B5EF4-FFF2-40B4-BE49-F238E27FC236}">
                <a16:creationId xmlns:a16="http://schemas.microsoft.com/office/drawing/2014/main" id="{27E814A0-99D6-40C5-A745-5C658684C0F9}"/>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17" name="Logo">
            <a:extLst>
              <a:ext uri="{FF2B5EF4-FFF2-40B4-BE49-F238E27FC236}">
                <a16:creationId xmlns:a16="http://schemas.microsoft.com/office/drawing/2014/main" id="{CBA27C52-51B0-46E5-A354-FDA0C0E69C96}"/>
              </a:ext>
            </a:extLst>
          </p:cNvPr>
          <p:cNvGrpSpPr>
            <a:grpSpLocks noChangeAspect="1"/>
          </p:cNvGrpSpPr>
          <p:nvPr userDrawn="1"/>
        </p:nvGrpSpPr>
        <p:grpSpPr bwMode="black">
          <a:xfrm>
            <a:off x="428653" y="6447297"/>
            <a:ext cx="914400" cy="214552"/>
            <a:chOff x="1231901" y="5359401"/>
            <a:chExt cx="11210925" cy="2630487"/>
          </a:xfrm>
        </p:grpSpPr>
        <p:sp>
          <p:nvSpPr>
            <p:cNvPr id="18" name="Freeform 5">
              <a:extLst>
                <a:ext uri="{FF2B5EF4-FFF2-40B4-BE49-F238E27FC236}">
                  <a16:creationId xmlns:a16="http://schemas.microsoft.com/office/drawing/2014/main" id="{0AE504F3-CE1B-4FFA-90CB-0DB30ADE04CC}"/>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6">
              <a:extLst>
                <a:ext uri="{FF2B5EF4-FFF2-40B4-BE49-F238E27FC236}">
                  <a16:creationId xmlns:a16="http://schemas.microsoft.com/office/drawing/2014/main" id="{47EEFBCB-3E60-4B8E-989D-3A4D50513D24}"/>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220097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1D815A8-0624-4A10-B1F3-C19B0E2331BC}"/>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10409984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ogo End Slide">
    <p:spTree>
      <p:nvGrpSpPr>
        <p:cNvPr id="1" name=""/>
        <p:cNvGrpSpPr/>
        <p:nvPr/>
      </p:nvGrpSpPr>
      <p:grpSpPr>
        <a:xfrm>
          <a:off x="0" y="0"/>
          <a:ext cx="0" cy="0"/>
          <a:chOff x="0" y="0"/>
          <a:chExt cx="0" cy="0"/>
        </a:xfrm>
      </p:grpSpPr>
      <p:sp>
        <p:nvSpPr>
          <p:cNvPr id="13" name="Texture">
            <a:extLst>
              <a:ext uri="{FF2B5EF4-FFF2-40B4-BE49-F238E27FC236}">
                <a16:creationId xmlns:a16="http://schemas.microsoft.com/office/drawing/2014/main" id="{F2D524AB-E282-4686-B58B-641438DC9BED}"/>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6" name="Oval 5">
            <a:extLst>
              <a:ext uri="{FF2B5EF4-FFF2-40B4-BE49-F238E27FC236}">
                <a16:creationId xmlns:a16="http://schemas.microsoft.com/office/drawing/2014/main" id="{BBD298B8-A731-40B0-A82D-73E38F5E3C48}"/>
              </a:ext>
            </a:extLst>
          </p:cNvPr>
          <p:cNvSpPr/>
          <p:nvPr userDrawn="1"/>
        </p:nvSpPr>
        <p:spPr>
          <a:xfrm>
            <a:off x="2990868" y="1895475"/>
            <a:ext cx="6496032" cy="2883030"/>
          </a:xfrm>
          <a:prstGeom prst="ellipse">
            <a:avLst/>
          </a:prstGeom>
          <a:gradFill flip="none" rotWithShape="1">
            <a:gsLst>
              <a:gs pos="55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grpSp>
        <p:nvGrpSpPr>
          <p:cNvPr id="8" name="Logo">
            <a:extLst>
              <a:ext uri="{FF2B5EF4-FFF2-40B4-BE49-F238E27FC236}">
                <a16:creationId xmlns:a16="http://schemas.microsoft.com/office/drawing/2014/main" id="{077A18B9-3018-42E0-8877-4E494677B9EC}"/>
              </a:ext>
            </a:extLst>
          </p:cNvPr>
          <p:cNvGrpSpPr>
            <a:grpSpLocks noChangeAspect="1"/>
          </p:cNvGrpSpPr>
          <p:nvPr userDrawn="1"/>
        </p:nvGrpSpPr>
        <p:grpSpPr bwMode="black">
          <a:xfrm>
            <a:off x="3757744" y="2807676"/>
            <a:ext cx="4676512" cy="1097280"/>
            <a:chOff x="1231901" y="5359401"/>
            <a:chExt cx="11210925" cy="2630487"/>
          </a:xfrm>
        </p:grpSpPr>
        <p:sp>
          <p:nvSpPr>
            <p:cNvPr id="9" name="Freeform 5">
              <a:extLst>
                <a:ext uri="{FF2B5EF4-FFF2-40B4-BE49-F238E27FC236}">
                  <a16:creationId xmlns:a16="http://schemas.microsoft.com/office/drawing/2014/main" id="{66A3BF12-9A81-464B-8E0D-17C715D2D57B}"/>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6">
              <a:extLst>
                <a:ext uri="{FF2B5EF4-FFF2-40B4-BE49-F238E27FC236}">
                  <a16:creationId xmlns:a16="http://schemas.microsoft.com/office/drawing/2014/main" id="{5C73C4CA-E0CE-41EC-A841-98AAB5DA8551}"/>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1133441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RID">
    <p:spTree>
      <p:nvGrpSpPr>
        <p:cNvPr id="1" name=""/>
        <p:cNvGrpSpPr/>
        <p:nvPr/>
      </p:nvGrpSpPr>
      <p:grpSpPr>
        <a:xfrm>
          <a:off x="0" y="0"/>
          <a:ext cx="0" cy="0"/>
          <a:chOff x="0" y="0"/>
          <a:chExt cx="0" cy="0"/>
        </a:xfrm>
      </p:grpSpPr>
      <p:grpSp>
        <p:nvGrpSpPr>
          <p:cNvPr id="89" name="GRID">
            <a:extLst>
              <a:ext uri="{FF2B5EF4-FFF2-40B4-BE49-F238E27FC236}">
                <a16:creationId xmlns:a16="http://schemas.microsoft.com/office/drawing/2014/main" id="{B01B4ED1-11E6-4650-B725-EC73B57E4A24}"/>
              </a:ext>
            </a:extLst>
          </p:cNvPr>
          <p:cNvGrpSpPr/>
          <p:nvPr userDrawn="1"/>
        </p:nvGrpSpPr>
        <p:grpSpPr>
          <a:xfrm>
            <a:off x="0" y="-1"/>
            <a:ext cx="12192000" cy="6858001"/>
            <a:chOff x="0" y="-1"/>
            <a:chExt cx="12192000" cy="6858001"/>
          </a:xfrm>
        </p:grpSpPr>
        <p:grpSp>
          <p:nvGrpSpPr>
            <p:cNvPr id="90" name="5-Columns">
              <a:extLst>
                <a:ext uri="{FF2B5EF4-FFF2-40B4-BE49-F238E27FC236}">
                  <a16:creationId xmlns:a16="http://schemas.microsoft.com/office/drawing/2014/main" id="{7FDABA8A-9F63-4CB3-AD6D-E3081FE4A134}"/>
                </a:ext>
              </a:extLst>
            </p:cNvPr>
            <p:cNvGrpSpPr/>
            <p:nvPr userDrawn="1"/>
          </p:nvGrpSpPr>
          <p:grpSpPr>
            <a:xfrm>
              <a:off x="457196" y="6369995"/>
              <a:ext cx="11284638" cy="66775"/>
              <a:chOff x="457196" y="6369995"/>
              <a:chExt cx="11284638" cy="66775"/>
            </a:xfrm>
            <a:solidFill>
              <a:schemeClr val="accent1">
                <a:lumMod val="40000"/>
                <a:lumOff val="60000"/>
                <a:alpha val="35000"/>
              </a:schemeClr>
            </a:solidFill>
          </p:grpSpPr>
          <p:sp>
            <p:nvSpPr>
              <p:cNvPr id="240" name="Rectangle 239">
                <a:extLst>
                  <a:ext uri="{FF2B5EF4-FFF2-40B4-BE49-F238E27FC236}">
                    <a16:creationId xmlns:a16="http://schemas.microsoft.com/office/drawing/2014/main" id="{EB8CCE06-2803-4BC4-8F52-8C22514AAC92}"/>
                  </a:ext>
                </a:extLst>
              </p:cNvPr>
              <p:cNvSpPr>
                <a:spLocks/>
              </p:cNvSpPr>
              <p:nvPr/>
            </p:nvSpPr>
            <p:spPr>
              <a:xfrm>
                <a:off x="457196"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41" name="Rectangle 240">
                <a:extLst>
                  <a:ext uri="{FF2B5EF4-FFF2-40B4-BE49-F238E27FC236}">
                    <a16:creationId xmlns:a16="http://schemas.microsoft.com/office/drawing/2014/main" id="{EFEE6688-BF23-4A0F-B580-67F2EB80DFBB}"/>
                  </a:ext>
                </a:extLst>
              </p:cNvPr>
              <p:cNvSpPr>
                <a:spLocks/>
              </p:cNvSpPr>
              <p:nvPr/>
            </p:nvSpPr>
            <p:spPr>
              <a:xfrm>
                <a:off x="2757020"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42" name="Rectangle 241">
                <a:extLst>
                  <a:ext uri="{FF2B5EF4-FFF2-40B4-BE49-F238E27FC236}">
                    <a16:creationId xmlns:a16="http://schemas.microsoft.com/office/drawing/2014/main" id="{0867ECC9-01B8-4FD0-AA00-DB2A4DF6D450}"/>
                  </a:ext>
                </a:extLst>
              </p:cNvPr>
              <p:cNvSpPr>
                <a:spLocks/>
              </p:cNvSpPr>
              <p:nvPr/>
            </p:nvSpPr>
            <p:spPr>
              <a:xfrm>
                <a:off x="5056844"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43" name="Rectangle 242">
                <a:extLst>
                  <a:ext uri="{FF2B5EF4-FFF2-40B4-BE49-F238E27FC236}">
                    <a16:creationId xmlns:a16="http://schemas.microsoft.com/office/drawing/2014/main" id="{0F74219B-904B-4014-A041-38C261EB95B2}"/>
                  </a:ext>
                </a:extLst>
              </p:cNvPr>
              <p:cNvSpPr>
                <a:spLocks/>
              </p:cNvSpPr>
              <p:nvPr/>
            </p:nvSpPr>
            <p:spPr>
              <a:xfrm>
                <a:off x="7356668"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44" name="Rectangle 243">
                <a:extLst>
                  <a:ext uri="{FF2B5EF4-FFF2-40B4-BE49-F238E27FC236}">
                    <a16:creationId xmlns:a16="http://schemas.microsoft.com/office/drawing/2014/main" id="{D37F15D0-DE02-4884-B44D-921B5400706E}"/>
                  </a:ext>
                </a:extLst>
              </p:cNvPr>
              <p:cNvSpPr>
                <a:spLocks/>
              </p:cNvSpPr>
              <p:nvPr/>
            </p:nvSpPr>
            <p:spPr>
              <a:xfrm>
                <a:off x="9656491"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grpSp>
        <p:grpSp>
          <p:nvGrpSpPr>
            <p:cNvPr id="91" name="Columns">
              <a:extLst>
                <a:ext uri="{FF2B5EF4-FFF2-40B4-BE49-F238E27FC236}">
                  <a16:creationId xmlns:a16="http://schemas.microsoft.com/office/drawing/2014/main" id="{CA147F0F-2720-4D14-BF12-11A0E876C4F5}"/>
                </a:ext>
              </a:extLst>
            </p:cNvPr>
            <p:cNvGrpSpPr/>
            <p:nvPr userDrawn="1"/>
          </p:nvGrpSpPr>
          <p:grpSpPr>
            <a:xfrm>
              <a:off x="450165" y="422030"/>
              <a:ext cx="11291670" cy="5868573"/>
              <a:chOff x="450165" y="422030"/>
              <a:chExt cx="11291670" cy="5868573"/>
            </a:xfrm>
            <a:solidFill>
              <a:schemeClr val="accent1">
                <a:lumMod val="40000"/>
                <a:lumOff val="60000"/>
                <a:alpha val="20000"/>
              </a:schemeClr>
            </a:solidFill>
          </p:grpSpPr>
          <p:sp>
            <p:nvSpPr>
              <p:cNvPr id="228" name="Rectangle 227">
                <a:extLst>
                  <a:ext uri="{FF2B5EF4-FFF2-40B4-BE49-F238E27FC236}">
                    <a16:creationId xmlns:a16="http://schemas.microsoft.com/office/drawing/2014/main" id="{9751839D-CEC1-45BE-9708-DAA3CE5F6894}"/>
                  </a:ext>
                </a:extLst>
              </p:cNvPr>
              <p:cNvSpPr>
                <a:spLocks/>
              </p:cNvSpPr>
              <p:nvPr/>
            </p:nvSpPr>
            <p:spPr>
              <a:xfrm>
                <a:off x="45016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29" name="Rectangle 228">
                <a:extLst>
                  <a:ext uri="{FF2B5EF4-FFF2-40B4-BE49-F238E27FC236}">
                    <a16:creationId xmlns:a16="http://schemas.microsoft.com/office/drawing/2014/main" id="{33028180-FC57-41E2-9874-BD949906CC3F}"/>
                  </a:ext>
                </a:extLst>
              </p:cNvPr>
              <p:cNvSpPr>
                <a:spLocks/>
              </p:cNvSpPr>
              <p:nvPr/>
            </p:nvSpPr>
            <p:spPr>
              <a:xfrm>
                <a:off x="140987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0" name="Rectangle 229">
                <a:extLst>
                  <a:ext uri="{FF2B5EF4-FFF2-40B4-BE49-F238E27FC236}">
                    <a16:creationId xmlns:a16="http://schemas.microsoft.com/office/drawing/2014/main" id="{A428A839-7BAF-4979-A0EE-91F40C11FE81}"/>
                  </a:ext>
                </a:extLst>
              </p:cNvPr>
              <p:cNvSpPr>
                <a:spLocks/>
              </p:cNvSpPr>
              <p:nvPr/>
            </p:nvSpPr>
            <p:spPr>
              <a:xfrm>
                <a:off x="236958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1" name="Rectangle 230">
                <a:extLst>
                  <a:ext uri="{FF2B5EF4-FFF2-40B4-BE49-F238E27FC236}">
                    <a16:creationId xmlns:a16="http://schemas.microsoft.com/office/drawing/2014/main" id="{E8E5B971-2FFF-495D-904E-1754501FCDE2}"/>
                  </a:ext>
                </a:extLst>
              </p:cNvPr>
              <p:cNvSpPr>
                <a:spLocks/>
              </p:cNvSpPr>
              <p:nvPr/>
            </p:nvSpPr>
            <p:spPr>
              <a:xfrm>
                <a:off x="332929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2" name="Rectangle 231">
                <a:extLst>
                  <a:ext uri="{FF2B5EF4-FFF2-40B4-BE49-F238E27FC236}">
                    <a16:creationId xmlns:a16="http://schemas.microsoft.com/office/drawing/2014/main" id="{331A14FD-E4E3-44E8-90C4-63354F192CD7}"/>
                  </a:ext>
                </a:extLst>
              </p:cNvPr>
              <p:cNvSpPr>
                <a:spLocks/>
              </p:cNvSpPr>
              <p:nvPr/>
            </p:nvSpPr>
            <p:spPr>
              <a:xfrm>
                <a:off x="428900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3" name="Rectangle 232">
                <a:extLst>
                  <a:ext uri="{FF2B5EF4-FFF2-40B4-BE49-F238E27FC236}">
                    <a16:creationId xmlns:a16="http://schemas.microsoft.com/office/drawing/2014/main" id="{825AFDC6-95BA-4E36-A7E5-2434D0A29B5A}"/>
                  </a:ext>
                </a:extLst>
              </p:cNvPr>
              <p:cNvSpPr>
                <a:spLocks/>
              </p:cNvSpPr>
              <p:nvPr/>
            </p:nvSpPr>
            <p:spPr>
              <a:xfrm>
                <a:off x="524871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4" name="Rectangle 233">
                <a:extLst>
                  <a:ext uri="{FF2B5EF4-FFF2-40B4-BE49-F238E27FC236}">
                    <a16:creationId xmlns:a16="http://schemas.microsoft.com/office/drawing/2014/main" id="{D716465D-EE0D-4453-A606-A83F187D3CB0}"/>
                  </a:ext>
                </a:extLst>
              </p:cNvPr>
              <p:cNvSpPr>
                <a:spLocks/>
              </p:cNvSpPr>
              <p:nvPr/>
            </p:nvSpPr>
            <p:spPr>
              <a:xfrm>
                <a:off x="620842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5" name="Rectangle 234">
                <a:extLst>
                  <a:ext uri="{FF2B5EF4-FFF2-40B4-BE49-F238E27FC236}">
                    <a16:creationId xmlns:a16="http://schemas.microsoft.com/office/drawing/2014/main" id="{3DC79EC4-363A-4716-8E58-408C7D981B54}"/>
                  </a:ext>
                </a:extLst>
              </p:cNvPr>
              <p:cNvSpPr>
                <a:spLocks/>
              </p:cNvSpPr>
              <p:nvPr/>
            </p:nvSpPr>
            <p:spPr>
              <a:xfrm>
                <a:off x="716813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6" name="Rectangle 235">
                <a:extLst>
                  <a:ext uri="{FF2B5EF4-FFF2-40B4-BE49-F238E27FC236}">
                    <a16:creationId xmlns:a16="http://schemas.microsoft.com/office/drawing/2014/main" id="{49FF239A-FB3F-48EE-8991-0EE98B0258BB}"/>
                  </a:ext>
                </a:extLst>
              </p:cNvPr>
              <p:cNvSpPr>
                <a:spLocks/>
              </p:cNvSpPr>
              <p:nvPr/>
            </p:nvSpPr>
            <p:spPr>
              <a:xfrm>
                <a:off x="812784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7" name="Rectangle 236">
                <a:extLst>
                  <a:ext uri="{FF2B5EF4-FFF2-40B4-BE49-F238E27FC236}">
                    <a16:creationId xmlns:a16="http://schemas.microsoft.com/office/drawing/2014/main" id="{942B26A2-737C-48BF-B21F-47EABB25FBE7}"/>
                  </a:ext>
                </a:extLst>
              </p:cNvPr>
              <p:cNvSpPr>
                <a:spLocks/>
              </p:cNvSpPr>
              <p:nvPr/>
            </p:nvSpPr>
            <p:spPr>
              <a:xfrm>
                <a:off x="908755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8" name="Rectangle 237">
                <a:extLst>
                  <a:ext uri="{FF2B5EF4-FFF2-40B4-BE49-F238E27FC236}">
                    <a16:creationId xmlns:a16="http://schemas.microsoft.com/office/drawing/2014/main" id="{E3076E2C-385C-42BA-8312-8A176F920440}"/>
                  </a:ext>
                </a:extLst>
              </p:cNvPr>
              <p:cNvSpPr>
                <a:spLocks/>
              </p:cNvSpPr>
              <p:nvPr/>
            </p:nvSpPr>
            <p:spPr>
              <a:xfrm>
                <a:off x="1004726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9" name="Rectangle 238">
                <a:extLst>
                  <a:ext uri="{FF2B5EF4-FFF2-40B4-BE49-F238E27FC236}">
                    <a16:creationId xmlns:a16="http://schemas.microsoft.com/office/drawing/2014/main" id="{9B8902CC-F93D-4AE7-A8DC-25DC91A68DF1}"/>
                  </a:ext>
                </a:extLst>
              </p:cNvPr>
              <p:cNvSpPr>
                <a:spLocks/>
              </p:cNvSpPr>
              <p:nvPr/>
            </p:nvSpPr>
            <p:spPr>
              <a:xfrm>
                <a:off x="11006977"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grpSp>
        <p:grpSp>
          <p:nvGrpSpPr>
            <p:cNvPr id="92" name="Half-Columns">
              <a:extLst>
                <a:ext uri="{FF2B5EF4-FFF2-40B4-BE49-F238E27FC236}">
                  <a16:creationId xmlns:a16="http://schemas.microsoft.com/office/drawing/2014/main" id="{204B2196-46C3-43E9-B91C-0070561E93CD}"/>
                </a:ext>
              </a:extLst>
            </p:cNvPr>
            <p:cNvGrpSpPr/>
            <p:nvPr userDrawn="1"/>
          </p:nvGrpSpPr>
          <p:grpSpPr>
            <a:xfrm>
              <a:off x="817594" y="422030"/>
              <a:ext cx="10556812" cy="5868573"/>
              <a:chOff x="817594" y="422030"/>
              <a:chExt cx="10556812" cy="5868573"/>
            </a:xfrm>
          </p:grpSpPr>
          <p:cxnSp>
            <p:nvCxnSpPr>
              <p:cNvPr id="138" name="Straight Connector 137">
                <a:extLst>
                  <a:ext uri="{FF2B5EF4-FFF2-40B4-BE49-F238E27FC236}">
                    <a16:creationId xmlns:a16="http://schemas.microsoft.com/office/drawing/2014/main" id="{B4C2424A-DAE7-47F5-803E-8B0C3C4C0BED}"/>
                  </a:ext>
                </a:extLst>
              </p:cNvPr>
              <p:cNvCxnSpPr>
                <a:cxnSpLocks/>
              </p:cNvCxnSpPr>
              <p:nvPr/>
            </p:nvCxnSpPr>
            <p:spPr>
              <a:xfrm>
                <a:off x="81759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1F10CFA4-C33B-4610-8DB6-2E8EC6F9274E}"/>
                  </a:ext>
                </a:extLst>
              </p:cNvPr>
              <p:cNvCxnSpPr>
                <a:cxnSpLocks/>
              </p:cNvCxnSpPr>
              <p:nvPr/>
            </p:nvCxnSpPr>
            <p:spPr>
              <a:xfrm>
                <a:off x="177730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EB84BBF9-CCBD-4D1E-9F11-4BC2A4DEC405}"/>
                  </a:ext>
                </a:extLst>
              </p:cNvPr>
              <p:cNvCxnSpPr>
                <a:cxnSpLocks/>
              </p:cNvCxnSpPr>
              <p:nvPr/>
            </p:nvCxnSpPr>
            <p:spPr>
              <a:xfrm>
                <a:off x="273701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1256665B-0348-4F3E-ACD5-FD9756A20BF4}"/>
                  </a:ext>
                </a:extLst>
              </p:cNvPr>
              <p:cNvCxnSpPr>
                <a:cxnSpLocks/>
              </p:cNvCxnSpPr>
              <p:nvPr/>
            </p:nvCxnSpPr>
            <p:spPr>
              <a:xfrm>
                <a:off x="369672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61724F5A-484B-49DE-9661-FAACDAE74398}"/>
                  </a:ext>
                </a:extLst>
              </p:cNvPr>
              <p:cNvCxnSpPr>
                <a:cxnSpLocks/>
              </p:cNvCxnSpPr>
              <p:nvPr/>
            </p:nvCxnSpPr>
            <p:spPr>
              <a:xfrm>
                <a:off x="465643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169D8861-3D05-4F47-A6E6-629CBE006E88}"/>
                  </a:ext>
                </a:extLst>
              </p:cNvPr>
              <p:cNvCxnSpPr>
                <a:cxnSpLocks/>
              </p:cNvCxnSpPr>
              <p:nvPr/>
            </p:nvCxnSpPr>
            <p:spPr>
              <a:xfrm>
                <a:off x="561614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2AF0C905-F3F8-4655-B2FF-297DA836C0D9}"/>
                  </a:ext>
                </a:extLst>
              </p:cNvPr>
              <p:cNvCxnSpPr>
                <a:cxnSpLocks/>
              </p:cNvCxnSpPr>
              <p:nvPr/>
            </p:nvCxnSpPr>
            <p:spPr>
              <a:xfrm>
                <a:off x="657585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25C9DF23-3824-4397-B5F3-CA748E2542C3}"/>
                  </a:ext>
                </a:extLst>
              </p:cNvPr>
              <p:cNvCxnSpPr>
                <a:cxnSpLocks/>
              </p:cNvCxnSpPr>
              <p:nvPr/>
            </p:nvCxnSpPr>
            <p:spPr>
              <a:xfrm>
                <a:off x="753556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4810292C-F27F-4ADA-A818-ED47B4FDC90A}"/>
                  </a:ext>
                </a:extLst>
              </p:cNvPr>
              <p:cNvCxnSpPr>
                <a:cxnSpLocks/>
              </p:cNvCxnSpPr>
              <p:nvPr/>
            </p:nvCxnSpPr>
            <p:spPr>
              <a:xfrm>
                <a:off x="849527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0FA31E9E-A1D6-4A1F-A31B-8155BD763933}"/>
                  </a:ext>
                </a:extLst>
              </p:cNvPr>
              <p:cNvCxnSpPr>
                <a:cxnSpLocks/>
              </p:cNvCxnSpPr>
              <p:nvPr/>
            </p:nvCxnSpPr>
            <p:spPr>
              <a:xfrm>
                <a:off x="945498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0ADD4CF6-2B17-408C-B1A2-571FACF84D99}"/>
                  </a:ext>
                </a:extLst>
              </p:cNvPr>
              <p:cNvCxnSpPr>
                <a:cxnSpLocks/>
              </p:cNvCxnSpPr>
              <p:nvPr/>
            </p:nvCxnSpPr>
            <p:spPr>
              <a:xfrm>
                <a:off x="1041469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B1F99D05-254F-46BB-9DB1-7A8273EE2D01}"/>
                  </a:ext>
                </a:extLst>
              </p:cNvPr>
              <p:cNvCxnSpPr>
                <a:cxnSpLocks/>
              </p:cNvCxnSpPr>
              <p:nvPr/>
            </p:nvCxnSpPr>
            <p:spPr>
              <a:xfrm>
                <a:off x="11374406"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93" name="Minor-Baselines">
              <a:extLst>
                <a:ext uri="{FF2B5EF4-FFF2-40B4-BE49-F238E27FC236}">
                  <a16:creationId xmlns:a16="http://schemas.microsoft.com/office/drawing/2014/main" id="{98E6344D-0E97-46AD-8557-F3655F4C668A}"/>
                </a:ext>
              </a:extLst>
            </p:cNvPr>
            <p:cNvGrpSpPr/>
            <p:nvPr userDrawn="1"/>
          </p:nvGrpSpPr>
          <p:grpSpPr>
            <a:xfrm>
              <a:off x="0" y="594635"/>
              <a:ext cx="12192000" cy="5523360"/>
              <a:chOff x="0" y="594635"/>
              <a:chExt cx="12192000" cy="5523360"/>
            </a:xfrm>
          </p:grpSpPr>
          <p:cxnSp>
            <p:nvCxnSpPr>
              <p:cNvPr id="121" name="Straight Connector 120">
                <a:extLst>
                  <a:ext uri="{FF2B5EF4-FFF2-40B4-BE49-F238E27FC236}">
                    <a16:creationId xmlns:a16="http://schemas.microsoft.com/office/drawing/2014/main" id="{43988CC1-B2D8-45F6-99EB-F0C991951B5A}"/>
                  </a:ext>
                </a:extLst>
              </p:cNvPr>
              <p:cNvCxnSpPr/>
              <p:nvPr userDrawn="1"/>
            </p:nvCxnSpPr>
            <p:spPr>
              <a:xfrm flipH="1">
                <a:off x="0" y="128505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FDC16D86-ECC2-46A0-98AD-FF37E7984488}"/>
                  </a:ext>
                </a:extLst>
              </p:cNvPr>
              <p:cNvCxnSpPr/>
              <p:nvPr userDrawn="1"/>
            </p:nvCxnSpPr>
            <p:spPr>
              <a:xfrm flipH="1">
                <a:off x="0" y="163026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73384F88-CFC2-485A-85E5-BC9A387E70FA}"/>
                  </a:ext>
                </a:extLst>
              </p:cNvPr>
              <p:cNvCxnSpPr/>
              <p:nvPr userDrawn="1"/>
            </p:nvCxnSpPr>
            <p:spPr>
              <a:xfrm flipH="1">
                <a:off x="0" y="197547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A7C0AFBD-D26D-4ADF-A7A4-2C3FA6041EFE}"/>
                  </a:ext>
                </a:extLst>
              </p:cNvPr>
              <p:cNvCxnSpPr/>
              <p:nvPr userDrawn="1"/>
            </p:nvCxnSpPr>
            <p:spPr>
              <a:xfrm flipH="1">
                <a:off x="0" y="232068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DB0F5EF3-3B04-4F24-AAF0-42DB116656FA}"/>
                  </a:ext>
                </a:extLst>
              </p:cNvPr>
              <p:cNvCxnSpPr/>
              <p:nvPr userDrawn="1"/>
            </p:nvCxnSpPr>
            <p:spPr>
              <a:xfrm flipH="1">
                <a:off x="0" y="266589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CEB7FB8-D33A-40E7-837C-1FA51F98C0D6}"/>
                  </a:ext>
                </a:extLst>
              </p:cNvPr>
              <p:cNvCxnSpPr/>
              <p:nvPr userDrawn="1"/>
            </p:nvCxnSpPr>
            <p:spPr>
              <a:xfrm flipH="1">
                <a:off x="0" y="301110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16B25582-EDFD-47F5-ADFD-07688165CA6C}"/>
                  </a:ext>
                </a:extLst>
              </p:cNvPr>
              <p:cNvCxnSpPr/>
              <p:nvPr userDrawn="1"/>
            </p:nvCxnSpPr>
            <p:spPr>
              <a:xfrm flipH="1">
                <a:off x="0" y="335631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D8EBB482-69CF-40F9-8E45-C88546A14A6E}"/>
                  </a:ext>
                </a:extLst>
              </p:cNvPr>
              <p:cNvCxnSpPr/>
              <p:nvPr userDrawn="1"/>
            </p:nvCxnSpPr>
            <p:spPr>
              <a:xfrm flipH="1">
                <a:off x="0" y="370152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CE2B10BC-DCC9-40B3-82C4-86EB18E49EEC}"/>
                  </a:ext>
                </a:extLst>
              </p:cNvPr>
              <p:cNvCxnSpPr/>
              <p:nvPr userDrawn="1"/>
            </p:nvCxnSpPr>
            <p:spPr>
              <a:xfrm flipH="1">
                <a:off x="0" y="404673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2E5809F8-35AA-4D63-B6C8-44DAA8666405}"/>
                  </a:ext>
                </a:extLst>
              </p:cNvPr>
              <p:cNvCxnSpPr/>
              <p:nvPr userDrawn="1"/>
            </p:nvCxnSpPr>
            <p:spPr>
              <a:xfrm flipH="1">
                <a:off x="0" y="439194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3A46BE4C-4471-46C7-A09E-442332E02E5B}"/>
                  </a:ext>
                </a:extLst>
              </p:cNvPr>
              <p:cNvCxnSpPr/>
              <p:nvPr userDrawn="1"/>
            </p:nvCxnSpPr>
            <p:spPr>
              <a:xfrm flipH="1">
                <a:off x="0" y="473715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52072814-59AF-4554-A7A1-BB6D9C0EED50}"/>
                  </a:ext>
                </a:extLst>
              </p:cNvPr>
              <p:cNvCxnSpPr/>
              <p:nvPr userDrawn="1"/>
            </p:nvCxnSpPr>
            <p:spPr>
              <a:xfrm flipH="1">
                <a:off x="0" y="508236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C32D6D8F-072E-4B53-B77E-DC633C5DA123}"/>
                  </a:ext>
                </a:extLst>
              </p:cNvPr>
              <p:cNvCxnSpPr/>
              <p:nvPr userDrawn="1"/>
            </p:nvCxnSpPr>
            <p:spPr>
              <a:xfrm flipH="1">
                <a:off x="0" y="542757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C36E0E73-A5E6-4E43-A3EA-1688EAC87F2E}"/>
                  </a:ext>
                </a:extLst>
              </p:cNvPr>
              <p:cNvCxnSpPr/>
              <p:nvPr userDrawn="1"/>
            </p:nvCxnSpPr>
            <p:spPr>
              <a:xfrm flipH="1">
                <a:off x="0" y="577278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364620E0-5F0B-419B-9A61-2736EE017C27}"/>
                  </a:ext>
                </a:extLst>
              </p:cNvPr>
              <p:cNvCxnSpPr/>
              <p:nvPr userDrawn="1"/>
            </p:nvCxnSpPr>
            <p:spPr>
              <a:xfrm flipH="1">
                <a:off x="0" y="93984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3600B6D8-8A6B-4BA6-9922-580E6EF2B022}"/>
                  </a:ext>
                </a:extLst>
              </p:cNvPr>
              <p:cNvCxnSpPr/>
              <p:nvPr userDrawn="1"/>
            </p:nvCxnSpPr>
            <p:spPr>
              <a:xfrm flipH="1">
                <a:off x="0" y="59463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779A02F2-15A0-4404-89EA-FD88F74D3901}"/>
                  </a:ext>
                </a:extLst>
              </p:cNvPr>
              <p:cNvCxnSpPr/>
              <p:nvPr userDrawn="1"/>
            </p:nvCxnSpPr>
            <p:spPr>
              <a:xfrm flipH="1">
                <a:off x="0" y="611799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94" name="Major-Baselines">
              <a:extLst>
                <a:ext uri="{FF2B5EF4-FFF2-40B4-BE49-F238E27FC236}">
                  <a16:creationId xmlns:a16="http://schemas.microsoft.com/office/drawing/2014/main" id="{6BF42672-DF70-44F3-B7CA-14A6979B434F}"/>
                </a:ext>
              </a:extLst>
            </p:cNvPr>
            <p:cNvGrpSpPr/>
            <p:nvPr userDrawn="1"/>
          </p:nvGrpSpPr>
          <p:grpSpPr>
            <a:xfrm>
              <a:off x="0" y="767240"/>
              <a:ext cx="12192000" cy="5178150"/>
              <a:chOff x="0" y="767240"/>
              <a:chExt cx="12192000" cy="5178150"/>
            </a:xfrm>
          </p:grpSpPr>
          <p:cxnSp>
            <p:nvCxnSpPr>
              <p:cNvPr id="105" name="Straight Connector 104">
                <a:extLst>
                  <a:ext uri="{FF2B5EF4-FFF2-40B4-BE49-F238E27FC236}">
                    <a16:creationId xmlns:a16="http://schemas.microsoft.com/office/drawing/2014/main" id="{F9CF9ECB-458C-47D9-B4BC-21087E05A585}"/>
                  </a:ext>
                </a:extLst>
              </p:cNvPr>
              <p:cNvCxnSpPr/>
              <p:nvPr/>
            </p:nvCxnSpPr>
            <p:spPr>
              <a:xfrm flipH="1">
                <a:off x="0" y="145766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36C496AA-6375-48D7-856A-D734E8E4CC99}"/>
                  </a:ext>
                </a:extLst>
              </p:cNvPr>
              <p:cNvCxnSpPr/>
              <p:nvPr/>
            </p:nvCxnSpPr>
            <p:spPr>
              <a:xfrm flipH="1">
                <a:off x="0" y="180287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08EA394B-F758-47C2-8E09-4C30FE4E9810}"/>
                  </a:ext>
                </a:extLst>
              </p:cNvPr>
              <p:cNvCxnSpPr/>
              <p:nvPr/>
            </p:nvCxnSpPr>
            <p:spPr>
              <a:xfrm flipH="1">
                <a:off x="0" y="214808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12C99AEE-DED4-4917-B2D7-796AEC3A484F}"/>
                  </a:ext>
                </a:extLst>
              </p:cNvPr>
              <p:cNvCxnSpPr/>
              <p:nvPr/>
            </p:nvCxnSpPr>
            <p:spPr>
              <a:xfrm flipH="1">
                <a:off x="0" y="249329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9C5D77AD-8508-45AD-834F-CE4F2430EA20}"/>
                  </a:ext>
                </a:extLst>
              </p:cNvPr>
              <p:cNvCxnSpPr/>
              <p:nvPr/>
            </p:nvCxnSpPr>
            <p:spPr>
              <a:xfrm flipH="1">
                <a:off x="0" y="283850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04E9F12A-A21A-40D7-AC40-55C2530CAAF2}"/>
                  </a:ext>
                </a:extLst>
              </p:cNvPr>
              <p:cNvCxnSpPr/>
              <p:nvPr/>
            </p:nvCxnSpPr>
            <p:spPr>
              <a:xfrm flipH="1">
                <a:off x="0" y="318371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E75DAFB1-56AC-4F65-BCF8-63F8201D42F1}"/>
                  </a:ext>
                </a:extLst>
              </p:cNvPr>
              <p:cNvCxnSpPr/>
              <p:nvPr/>
            </p:nvCxnSpPr>
            <p:spPr>
              <a:xfrm flipH="1">
                <a:off x="0" y="352892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57C01E0A-93E3-4ED0-B575-9CCBF85B5EB0}"/>
                  </a:ext>
                </a:extLst>
              </p:cNvPr>
              <p:cNvCxnSpPr/>
              <p:nvPr/>
            </p:nvCxnSpPr>
            <p:spPr>
              <a:xfrm flipH="1">
                <a:off x="0" y="387413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D5EB4A7E-05D6-4483-9749-137062ABB64E}"/>
                  </a:ext>
                </a:extLst>
              </p:cNvPr>
              <p:cNvCxnSpPr/>
              <p:nvPr/>
            </p:nvCxnSpPr>
            <p:spPr>
              <a:xfrm flipH="1">
                <a:off x="0" y="421934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0185FF42-7436-456C-B038-DF7FCC9B86C4}"/>
                  </a:ext>
                </a:extLst>
              </p:cNvPr>
              <p:cNvCxnSpPr/>
              <p:nvPr/>
            </p:nvCxnSpPr>
            <p:spPr>
              <a:xfrm flipH="1">
                <a:off x="0" y="456455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F71B5F2E-D126-4777-9BB0-A0FAB3F2CAFD}"/>
                  </a:ext>
                </a:extLst>
              </p:cNvPr>
              <p:cNvCxnSpPr/>
              <p:nvPr/>
            </p:nvCxnSpPr>
            <p:spPr>
              <a:xfrm flipH="1">
                <a:off x="0" y="490976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00090F01-D3B0-4CC1-B868-3834E45B2BEF}"/>
                  </a:ext>
                </a:extLst>
              </p:cNvPr>
              <p:cNvCxnSpPr/>
              <p:nvPr/>
            </p:nvCxnSpPr>
            <p:spPr>
              <a:xfrm flipH="1">
                <a:off x="0" y="525497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B49511C0-4CC6-4C57-BD16-06DFA68C5177}"/>
                  </a:ext>
                </a:extLst>
              </p:cNvPr>
              <p:cNvCxnSpPr/>
              <p:nvPr/>
            </p:nvCxnSpPr>
            <p:spPr>
              <a:xfrm flipH="1">
                <a:off x="0" y="560018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823DBF0E-1AA8-4FBC-BFCF-C35A665C6AAD}"/>
                  </a:ext>
                </a:extLst>
              </p:cNvPr>
              <p:cNvCxnSpPr/>
              <p:nvPr/>
            </p:nvCxnSpPr>
            <p:spPr>
              <a:xfrm flipH="1">
                <a:off x="0" y="594539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16F927AE-A157-4A95-BD1F-5D4003848AE5}"/>
                  </a:ext>
                </a:extLst>
              </p:cNvPr>
              <p:cNvCxnSpPr/>
              <p:nvPr/>
            </p:nvCxnSpPr>
            <p:spPr>
              <a:xfrm flipH="1">
                <a:off x="0" y="111245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AF1893BF-3A5C-45A7-80A6-F95888D2C2E9}"/>
                  </a:ext>
                </a:extLst>
              </p:cNvPr>
              <p:cNvCxnSpPr/>
              <p:nvPr/>
            </p:nvCxnSpPr>
            <p:spPr>
              <a:xfrm flipH="1">
                <a:off x="0" y="76724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95" name="Margins">
              <a:extLst>
                <a:ext uri="{FF2B5EF4-FFF2-40B4-BE49-F238E27FC236}">
                  <a16:creationId xmlns:a16="http://schemas.microsoft.com/office/drawing/2014/main" id="{1987983C-C65D-47F1-8B52-9BB74C6156DF}"/>
                </a:ext>
              </a:extLst>
            </p:cNvPr>
            <p:cNvGrpSpPr/>
            <p:nvPr userDrawn="1"/>
          </p:nvGrpSpPr>
          <p:grpSpPr>
            <a:xfrm>
              <a:off x="0" y="-1"/>
              <a:ext cx="12192000" cy="6858001"/>
              <a:chOff x="0" y="-1"/>
              <a:chExt cx="12192000" cy="6858001"/>
            </a:xfrm>
          </p:grpSpPr>
          <p:grpSp>
            <p:nvGrpSpPr>
              <p:cNvPr id="96" name="Group 95">
                <a:extLst>
                  <a:ext uri="{FF2B5EF4-FFF2-40B4-BE49-F238E27FC236}">
                    <a16:creationId xmlns:a16="http://schemas.microsoft.com/office/drawing/2014/main" id="{2D64F71A-57E0-44C6-B31D-7B42B82DD2CE}"/>
                  </a:ext>
                </a:extLst>
              </p:cNvPr>
              <p:cNvGrpSpPr/>
              <p:nvPr userDrawn="1"/>
            </p:nvGrpSpPr>
            <p:grpSpPr>
              <a:xfrm>
                <a:off x="450166" y="-1"/>
                <a:ext cx="11291668" cy="6858001"/>
                <a:chOff x="450166" y="-295422"/>
                <a:chExt cx="11291668" cy="7491047"/>
              </a:xfrm>
            </p:grpSpPr>
            <p:cxnSp>
              <p:nvCxnSpPr>
                <p:cNvPr id="103" name="Straight Connector 102">
                  <a:extLst>
                    <a:ext uri="{FF2B5EF4-FFF2-40B4-BE49-F238E27FC236}">
                      <a16:creationId xmlns:a16="http://schemas.microsoft.com/office/drawing/2014/main" id="{7D8CFD01-2438-4217-AA3E-AC3BA160D143}"/>
                    </a:ext>
                  </a:extLst>
                </p:cNvPr>
                <p:cNvCxnSpPr/>
                <p:nvPr/>
              </p:nvCxnSpPr>
              <p:spPr>
                <a:xfrm>
                  <a:off x="450166" y="-295422"/>
                  <a:ext cx="0" cy="7491047"/>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9FDB0BB-10D1-469E-A843-451C93653F0B}"/>
                    </a:ext>
                  </a:extLst>
                </p:cNvPr>
                <p:cNvCxnSpPr/>
                <p:nvPr/>
              </p:nvCxnSpPr>
              <p:spPr>
                <a:xfrm>
                  <a:off x="11741834" y="-295422"/>
                  <a:ext cx="0" cy="7491047"/>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97" name="Group 96">
                <a:extLst>
                  <a:ext uri="{FF2B5EF4-FFF2-40B4-BE49-F238E27FC236}">
                    <a16:creationId xmlns:a16="http://schemas.microsoft.com/office/drawing/2014/main" id="{23DA59C4-54B1-44E7-8615-E9D3B756CD6D}"/>
                  </a:ext>
                </a:extLst>
              </p:cNvPr>
              <p:cNvGrpSpPr/>
              <p:nvPr userDrawn="1"/>
            </p:nvGrpSpPr>
            <p:grpSpPr>
              <a:xfrm>
                <a:off x="0" y="422030"/>
                <a:ext cx="12192000" cy="5868573"/>
                <a:chOff x="0" y="422030"/>
                <a:chExt cx="12192000" cy="5868573"/>
              </a:xfrm>
            </p:grpSpPr>
            <p:cxnSp>
              <p:nvCxnSpPr>
                <p:cNvPr id="101" name="Straight Connector 100">
                  <a:extLst>
                    <a:ext uri="{FF2B5EF4-FFF2-40B4-BE49-F238E27FC236}">
                      <a16:creationId xmlns:a16="http://schemas.microsoft.com/office/drawing/2014/main" id="{25110C17-BFAC-419F-917B-35541EA792AD}"/>
                    </a:ext>
                  </a:extLst>
                </p:cNvPr>
                <p:cNvCxnSpPr>
                  <a:cxnSpLocks/>
                </p:cNvCxnSpPr>
                <p:nvPr userDrawn="1"/>
              </p:nvCxnSpPr>
              <p:spPr>
                <a:xfrm>
                  <a:off x="0" y="422030"/>
                  <a:ext cx="12192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9E58F6F-92A5-473B-9FED-3D90ECE09E5D}"/>
                    </a:ext>
                  </a:extLst>
                </p:cNvPr>
                <p:cNvCxnSpPr/>
                <p:nvPr userDrawn="1"/>
              </p:nvCxnSpPr>
              <p:spPr>
                <a:xfrm>
                  <a:off x="0" y="6290603"/>
                  <a:ext cx="12192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D0BD5319-1193-4438-BF01-B64CF6D0D212}"/>
                  </a:ext>
                </a:extLst>
              </p:cNvPr>
              <p:cNvGrpSpPr/>
              <p:nvPr userDrawn="1"/>
            </p:nvGrpSpPr>
            <p:grpSpPr>
              <a:xfrm>
                <a:off x="0" y="1457660"/>
                <a:ext cx="12192000" cy="345210"/>
                <a:chOff x="0" y="1457660"/>
                <a:chExt cx="12192000" cy="345210"/>
              </a:xfrm>
            </p:grpSpPr>
            <p:cxnSp>
              <p:nvCxnSpPr>
                <p:cNvPr id="99" name="Straight Connector 98">
                  <a:extLst>
                    <a:ext uri="{FF2B5EF4-FFF2-40B4-BE49-F238E27FC236}">
                      <a16:creationId xmlns:a16="http://schemas.microsoft.com/office/drawing/2014/main" id="{ED443DF1-4231-4D92-8DA5-C1F4B954AFC4}"/>
                    </a:ext>
                  </a:extLst>
                </p:cNvPr>
                <p:cNvCxnSpPr>
                  <a:cxnSpLocks/>
                </p:cNvCxnSpPr>
                <p:nvPr userDrawn="1"/>
              </p:nvCxnSpPr>
              <p:spPr>
                <a:xfrm>
                  <a:off x="0" y="1457660"/>
                  <a:ext cx="12192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14C68D45-D4C2-497B-A9FF-6ADE11C36C5D}"/>
                    </a:ext>
                  </a:extLst>
                </p:cNvPr>
                <p:cNvCxnSpPr>
                  <a:cxnSpLocks/>
                </p:cNvCxnSpPr>
                <p:nvPr userDrawn="1"/>
              </p:nvCxnSpPr>
              <p:spPr>
                <a:xfrm>
                  <a:off x="0" y="1802870"/>
                  <a:ext cx="12192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12471491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ith Subtitle">
    <p:spTree>
      <p:nvGrpSpPr>
        <p:cNvPr id="1" name=""/>
        <p:cNvGrpSpPr/>
        <p:nvPr/>
      </p:nvGrpSpPr>
      <p:grpSpPr>
        <a:xfrm>
          <a:off x="0" y="0"/>
          <a:ext cx="0" cy="0"/>
          <a:chOff x="0" y="0"/>
          <a:chExt cx="0" cy="0"/>
        </a:xfrm>
      </p:grpSpPr>
      <p:sp>
        <p:nvSpPr>
          <p:cNvPr id="32" name="Texture">
            <a:extLst>
              <a:ext uri="{FF2B5EF4-FFF2-40B4-BE49-F238E27FC236}">
                <a16:creationId xmlns:a16="http://schemas.microsoft.com/office/drawing/2014/main" id="{B43DC9BF-B86E-41C3-9025-257603C6C46F}"/>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57" name="Oval 56">
            <a:extLst>
              <a:ext uri="{FF2B5EF4-FFF2-40B4-BE49-F238E27FC236}">
                <a16:creationId xmlns:a16="http://schemas.microsoft.com/office/drawing/2014/main" id="{03C20BBD-F2FD-4A4D-B556-572D7207BCE8}"/>
              </a:ext>
            </a:extLst>
          </p:cNvPr>
          <p:cNvSpPr/>
          <p:nvPr userDrawn="1"/>
        </p:nvSpPr>
        <p:spPr>
          <a:xfrm>
            <a:off x="3555406" y="4109059"/>
            <a:ext cx="5169494" cy="1434491"/>
          </a:xfrm>
          <a:prstGeom prst="ellipse">
            <a:avLst/>
          </a:prstGeom>
          <a:gradFill flip="none" rotWithShape="1">
            <a:gsLst>
              <a:gs pos="55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a:p>
        </p:txBody>
      </p:sp>
      <p:grpSp>
        <p:nvGrpSpPr>
          <p:cNvPr id="34" name="Logo">
            <a:extLst>
              <a:ext uri="{FF2B5EF4-FFF2-40B4-BE49-F238E27FC236}">
                <a16:creationId xmlns:a16="http://schemas.microsoft.com/office/drawing/2014/main" id="{E3F269C9-4FA8-4772-AD37-31EE93FFE599}"/>
              </a:ext>
            </a:extLst>
          </p:cNvPr>
          <p:cNvGrpSpPr>
            <a:grpSpLocks noChangeAspect="1"/>
          </p:cNvGrpSpPr>
          <p:nvPr userDrawn="1"/>
        </p:nvGrpSpPr>
        <p:grpSpPr bwMode="black">
          <a:xfrm>
            <a:off x="5258125" y="4703638"/>
            <a:ext cx="1675750" cy="393192"/>
            <a:chOff x="1231901" y="5359401"/>
            <a:chExt cx="11210925" cy="2630487"/>
          </a:xfrm>
        </p:grpSpPr>
        <p:sp>
          <p:nvSpPr>
            <p:cNvPr id="35" name="Freeform 5">
              <a:extLst>
                <a:ext uri="{FF2B5EF4-FFF2-40B4-BE49-F238E27FC236}">
                  <a16:creationId xmlns:a16="http://schemas.microsoft.com/office/drawing/2014/main" id="{09D9C9E1-25E5-483A-B7BC-660D3D3BFE4F}"/>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6">
              <a:extLst>
                <a:ext uri="{FF2B5EF4-FFF2-40B4-BE49-F238E27FC236}">
                  <a16:creationId xmlns:a16="http://schemas.microsoft.com/office/drawing/2014/main" id="{98453535-0FA3-4BC2-896D-B75809B1977B}"/>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7" name="Ruler">
            <a:extLst>
              <a:ext uri="{FF2B5EF4-FFF2-40B4-BE49-F238E27FC236}">
                <a16:creationId xmlns:a16="http://schemas.microsoft.com/office/drawing/2014/main" id="{70E5BD5C-60C7-4101-99EB-CFC9224AD7B1}"/>
              </a:ext>
            </a:extLst>
          </p:cNvPr>
          <p:cNvGrpSpPr/>
          <p:nvPr userDrawn="1"/>
        </p:nvGrpSpPr>
        <p:grpSpPr>
          <a:xfrm>
            <a:off x="5273041" y="4219340"/>
            <a:ext cx="1645920" cy="339946"/>
            <a:chOff x="5273041" y="4219340"/>
            <a:chExt cx="1645920" cy="339946"/>
          </a:xfrm>
        </p:grpSpPr>
        <p:cxnSp>
          <p:nvCxnSpPr>
            <p:cNvPr id="38" name="Straight Connector 37">
              <a:extLst>
                <a:ext uri="{FF2B5EF4-FFF2-40B4-BE49-F238E27FC236}">
                  <a16:creationId xmlns:a16="http://schemas.microsoft.com/office/drawing/2014/main" id="{2B101E02-F838-4187-B559-8AAE85AB8E2C}"/>
                </a:ext>
              </a:extLst>
            </p:cNvPr>
            <p:cNvCxnSpPr>
              <a:cxnSpLocks/>
            </p:cNvCxnSpPr>
            <p:nvPr/>
          </p:nvCxnSpPr>
          <p:spPr>
            <a:xfrm>
              <a:off x="6096003" y="4219340"/>
              <a:ext cx="0" cy="33994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704FBA9-913D-4B32-AC77-21FE53C07630}"/>
                </a:ext>
              </a:extLst>
            </p:cNvPr>
            <p:cNvCxnSpPr/>
            <p:nvPr/>
          </p:nvCxnSpPr>
          <p:spPr>
            <a:xfrm>
              <a:off x="527304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7620BDF-DEE5-4359-9427-F80C2D3B2F2A}"/>
                </a:ext>
              </a:extLst>
            </p:cNvPr>
            <p:cNvCxnSpPr/>
            <p:nvPr/>
          </p:nvCxnSpPr>
          <p:spPr>
            <a:xfrm>
              <a:off x="5364485"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09FFEF8-C551-442A-BFBE-82B27BAA70D4}"/>
                </a:ext>
              </a:extLst>
            </p:cNvPr>
            <p:cNvCxnSpPr/>
            <p:nvPr/>
          </p:nvCxnSpPr>
          <p:spPr>
            <a:xfrm>
              <a:off x="545592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30E7191-0FEE-4B6B-AAE0-7E6505AAFF96}"/>
                </a:ext>
              </a:extLst>
            </p:cNvPr>
            <p:cNvCxnSpPr/>
            <p:nvPr/>
          </p:nvCxnSpPr>
          <p:spPr>
            <a:xfrm>
              <a:off x="5547364"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0B20760-2C74-490B-8779-0A3CEC331376}"/>
                </a:ext>
              </a:extLst>
            </p:cNvPr>
            <p:cNvCxnSpPr/>
            <p:nvPr/>
          </p:nvCxnSpPr>
          <p:spPr>
            <a:xfrm>
              <a:off x="563880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2C7CD8C-10E9-4C4D-AF46-8EAA7E7B84D7}"/>
                </a:ext>
              </a:extLst>
            </p:cNvPr>
            <p:cNvCxnSpPr/>
            <p:nvPr/>
          </p:nvCxnSpPr>
          <p:spPr>
            <a:xfrm>
              <a:off x="5730244"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A9DBD41-B998-4B1C-A2AD-746277984ECF}"/>
                </a:ext>
              </a:extLst>
            </p:cNvPr>
            <p:cNvCxnSpPr/>
            <p:nvPr/>
          </p:nvCxnSpPr>
          <p:spPr>
            <a:xfrm>
              <a:off x="582168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0011DFB-F9A6-4F90-A169-06A40F2D4491}"/>
                </a:ext>
              </a:extLst>
            </p:cNvPr>
            <p:cNvCxnSpPr/>
            <p:nvPr/>
          </p:nvCxnSpPr>
          <p:spPr>
            <a:xfrm>
              <a:off x="5913123"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FCB742D-4AAE-446A-95AF-D86CE705B38D}"/>
                </a:ext>
              </a:extLst>
            </p:cNvPr>
            <p:cNvCxnSpPr/>
            <p:nvPr/>
          </p:nvCxnSpPr>
          <p:spPr>
            <a:xfrm>
              <a:off x="6004563"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3622024-A6FB-4862-AAA9-378E17CB2F65}"/>
                </a:ext>
              </a:extLst>
            </p:cNvPr>
            <p:cNvCxnSpPr/>
            <p:nvPr/>
          </p:nvCxnSpPr>
          <p:spPr>
            <a:xfrm>
              <a:off x="6187443"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DDF8BE4-F228-4207-9F16-38714201F036}"/>
                </a:ext>
              </a:extLst>
            </p:cNvPr>
            <p:cNvCxnSpPr/>
            <p:nvPr/>
          </p:nvCxnSpPr>
          <p:spPr>
            <a:xfrm>
              <a:off x="6278882"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0F0D7718-987E-4A31-88D8-257BD9D16439}"/>
                </a:ext>
              </a:extLst>
            </p:cNvPr>
            <p:cNvCxnSpPr/>
            <p:nvPr/>
          </p:nvCxnSpPr>
          <p:spPr>
            <a:xfrm>
              <a:off x="6370322"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1895AC8-2DE9-4C57-9175-D6619461AA6A}"/>
                </a:ext>
              </a:extLst>
            </p:cNvPr>
            <p:cNvCxnSpPr/>
            <p:nvPr/>
          </p:nvCxnSpPr>
          <p:spPr>
            <a:xfrm>
              <a:off x="6461762"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15B7B8D-36D9-46DB-BDD6-8D7FCA31766A}"/>
                </a:ext>
              </a:extLst>
            </p:cNvPr>
            <p:cNvCxnSpPr/>
            <p:nvPr/>
          </p:nvCxnSpPr>
          <p:spPr>
            <a:xfrm>
              <a:off x="6553202"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81AF8FD-CBB7-47C3-92D4-68F412B850C3}"/>
                </a:ext>
              </a:extLst>
            </p:cNvPr>
            <p:cNvCxnSpPr/>
            <p:nvPr/>
          </p:nvCxnSpPr>
          <p:spPr>
            <a:xfrm>
              <a:off x="6644642"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075397F3-9A79-4A57-9C34-2D06B47E2F34}"/>
                </a:ext>
              </a:extLst>
            </p:cNvPr>
            <p:cNvCxnSpPr/>
            <p:nvPr/>
          </p:nvCxnSpPr>
          <p:spPr>
            <a:xfrm>
              <a:off x="673608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17F042D-D6EC-49C7-8409-4FB587063A25}"/>
                </a:ext>
              </a:extLst>
            </p:cNvPr>
            <p:cNvCxnSpPr/>
            <p:nvPr/>
          </p:nvCxnSpPr>
          <p:spPr>
            <a:xfrm>
              <a:off x="6827521"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7F47560C-6D83-4B1E-A656-E798CCE71DB3}"/>
                </a:ext>
              </a:extLst>
            </p:cNvPr>
            <p:cNvCxnSpPr/>
            <p:nvPr/>
          </p:nvCxnSpPr>
          <p:spPr>
            <a:xfrm>
              <a:off x="691896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grpSp>
      <p:sp>
        <p:nvSpPr>
          <p:cNvPr id="33" name="Speaker Name">
            <a:extLst>
              <a:ext uri="{FF2B5EF4-FFF2-40B4-BE49-F238E27FC236}">
                <a16:creationId xmlns:a16="http://schemas.microsoft.com/office/drawing/2014/main" id="{0D03EEEE-B07B-48F4-B55F-C322BA4FCCF0}"/>
              </a:ext>
            </a:extLst>
          </p:cNvPr>
          <p:cNvSpPr>
            <a:spLocks noGrp="1"/>
          </p:cNvSpPr>
          <p:nvPr>
            <p:ph type="body" sz="quarter" idx="17" hasCustomPrompt="1"/>
          </p:nvPr>
        </p:nvSpPr>
        <p:spPr>
          <a:xfrm>
            <a:off x="3329295" y="2953512"/>
            <a:ext cx="4020340" cy="402336"/>
          </a:xfrm>
          <a:noFill/>
          <a:ln w="19050">
            <a:solidFill>
              <a:schemeClr val="tx1">
                <a:lumMod val="75000"/>
                <a:lumOff val="25000"/>
              </a:schemeClr>
            </a:solidFill>
            <a:miter lim="800000"/>
          </a:ln>
        </p:spPr>
        <p:txBody>
          <a:bodyPr vert="horz" wrap="square" lIns="182880" tIns="0" rIns="182880" bIns="0" rtlCol="0" anchor="ctr">
            <a:noAutofit/>
          </a:bodyPr>
          <a:lstStyle>
            <a:lvl1pPr marL="0" indent="0">
              <a:buFont typeface="Arial" panose="020B0604020202020204" pitchFamily="34" charset="0"/>
              <a:buNone/>
              <a:defRPr lang="en-US" sz="1600" b="0" i="1" cap="none" spc="60" baseline="0" dirty="0">
                <a:solidFill>
                  <a:schemeClr val="tx1">
                    <a:lumMod val="85000"/>
                    <a:lumOff val="15000"/>
                  </a:schemeClr>
                </a:solidFill>
                <a:latin typeface="+mj-lt"/>
                <a:ea typeface="+mj-ea"/>
                <a:cs typeface="+mj-cs"/>
              </a:defRPr>
            </a:lvl1pPr>
          </a:lstStyle>
          <a:p>
            <a:pPr marL="182880" lvl="0" indent="-182880">
              <a:spcBef>
                <a:spcPct val="0"/>
              </a:spcBef>
            </a:pPr>
            <a:r>
              <a:rPr lang="en-US"/>
              <a:t>Speaker Name</a:t>
            </a:r>
          </a:p>
        </p:txBody>
      </p:sp>
      <p:sp>
        <p:nvSpPr>
          <p:cNvPr id="58" name="Text Placeholder 128">
            <a:extLst>
              <a:ext uri="{FF2B5EF4-FFF2-40B4-BE49-F238E27FC236}">
                <a16:creationId xmlns:a16="http://schemas.microsoft.com/office/drawing/2014/main" id="{02F3F674-6E3E-4B4F-A461-192B2E1A3EA4}"/>
              </a:ext>
            </a:extLst>
          </p:cNvPr>
          <p:cNvSpPr>
            <a:spLocks noGrp="1"/>
          </p:cNvSpPr>
          <p:nvPr>
            <p:ph type="body" sz="quarter" idx="18" hasCustomPrompt="1"/>
          </p:nvPr>
        </p:nvSpPr>
        <p:spPr>
          <a:xfrm>
            <a:off x="7349638" y="2953512"/>
            <a:ext cx="1513062" cy="402336"/>
          </a:xfrm>
          <a:solidFill>
            <a:schemeClr val="tx1">
              <a:lumMod val="85000"/>
              <a:lumOff val="15000"/>
            </a:schemeClr>
          </a:solidFill>
          <a:ln w="19050">
            <a:solidFill>
              <a:schemeClr val="tx1">
                <a:lumMod val="75000"/>
                <a:lumOff val="25000"/>
              </a:schemeClr>
            </a:solidFill>
            <a:miter lim="800000"/>
          </a:ln>
        </p:spPr>
        <p:txBody>
          <a:bodyPr vert="horz" wrap="square" lIns="0" tIns="0" rIns="0" bIns="0" rtlCol="0" anchor="ctr">
            <a:noAutofit/>
          </a:bodyPr>
          <a:lstStyle>
            <a:lvl1pPr marL="0" indent="0" algn="ctr">
              <a:buFont typeface="Arial" panose="020B0604020202020204" pitchFamily="34" charset="0"/>
              <a:buNone/>
              <a:defRPr lang="en-US" sz="1600" b="1" i="1" cap="all" spc="60" baseline="0" dirty="0">
                <a:solidFill>
                  <a:schemeClr val="bg1"/>
                </a:solidFill>
                <a:latin typeface="+mj-lt"/>
                <a:ea typeface="+mj-ea"/>
                <a:cs typeface="+mj-cs"/>
              </a:defRPr>
            </a:lvl1pPr>
          </a:lstStyle>
          <a:p>
            <a:pPr marL="182880" lvl="0" indent="-182880" algn="ctr">
              <a:spcBef>
                <a:spcPct val="0"/>
              </a:spcBef>
            </a:pPr>
            <a:r>
              <a:rPr lang="en-US"/>
              <a:t>YYYY.MM.DD</a:t>
            </a:r>
          </a:p>
        </p:txBody>
      </p:sp>
      <p:sp>
        <p:nvSpPr>
          <p:cNvPr id="59" name="Speaker Title">
            <a:extLst>
              <a:ext uri="{FF2B5EF4-FFF2-40B4-BE49-F238E27FC236}">
                <a16:creationId xmlns:a16="http://schemas.microsoft.com/office/drawing/2014/main" id="{058F1415-E1D6-47DA-A185-76C3FC2257D8}"/>
              </a:ext>
            </a:extLst>
          </p:cNvPr>
          <p:cNvSpPr>
            <a:spLocks noGrp="1"/>
          </p:cNvSpPr>
          <p:nvPr>
            <p:ph type="body" sz="quarter" idx="19" hasCustomPrompt="1"/>
          </p:nvPr>
        </p:nvSpPr>
        <p:spPr>
          <a:xfrm>
            <a:off x="3329295" y="3355848"/>
            <a:ext cx="5533405" cy="402336"/>
          </a:xfrm>
          <a:noFill/>
          <a:ln w="19050">
            <a:solidFill>
              <a:schemeClr val="tx1">
                <a:lumMod val="75000"/>
                <a:lumOff val="25000"/>
              </a:schemeClr>
            </a:solidFill>
            <a:miter lim="800000"/>
          </a:ln>
        </p:spPr>
        <p:txBody>
          <a:bodyPr vert="horz" wrap="square" lIns="182880" tIns="0" rIns="182880" bIns="0" rtlCol="0" anchor="ctr">
            <a:noAutofit/>
          </a:bodyPr>
          <a:lstStyle>
            <a:lvl1pPr marL="0" indent="0">
              <a:buFont typeface="Arial" panose="020B0604020202020204" pitchFamily="34" charset="0"/>
              <a:buNone/>
              <a:defRPr lang="en-US" sz="16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a:t>Speaker Title / Company Name</a:t>
            </a:r>
          </a:p>
        </p:txBody>
      </p:sp>
      <p:sp>
        <p:nvSpPr>
          <p:cNvPr id="11" name="Subtitle">
            <a:extLst>
              <a:ext uri="{FF2B5EF4-FFF2-40B4-BE49-F238E27FC236}">
                <a16:creationId xmlns:a16="http://schemas.microsoft.com/office/drawing/2014/main" id="{5B3A83E2-FA5C-4BC9-8B76-2DE81BEB6132}"/>
              </a:ext>
            </a:extLst>
          </p:cNvPr>
          <p:cNvSpPr>
            <a:spLocks noGrp="1"/>
          </p:cNvSpPr>
          <p:nvPr>
            <p:ph type="body" sz="quarter" idx="13" hasCustomPrompt="1"/>
          </p:nvPr>
        </p:nvSpPr>
        <p:spPr bwMode="ltGray">
          <a:xfrm>
            <a:off x="3329295" y="2440333"/>
            <a:ext cx="5533406"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lgn="ctr">
              <a:buNone/>
              <a:defRPr lang="en-US" sz="1600" b="1" cap="all" spc="300" baseline="0" dirty="0">
                <a:solidFill>
                  <a:schemeClr val="bg1"/>
                </a:solidFill>
              </a:defRPr>
            </a:lvl1pPr>
          </a:lstStyle>
          <a:p>
            <a:pPr marL="182880" lvl="0" indent="-182880"/>
            <a:r>
              <a:rPr lang="en-US"/>
              <a:t>subtitle</a:t>
            </a:r>
          </a:p>
        </p:txBody>
      </p:sp>
      <p:sp>
        <p:nvSpPr>
          <p:cNvPr id="2" name="Title">
            <a:extLst>
              <a:ext uri="{FF2B5EF4-FFF2-40B4-BE49-F238E27FC236}">
                <a16:creationId xmlns:a16="http://schemas.microsoft.com/office/drawing/2014/main" id="{14F1EC20-D177-4F9A-AF02-5ABB483C640C}"/>
              </a:ext>
            </a:extLst>
          </p:cNvPr>
          <p:cNvSpPr>
            <a:spLocks noGrp="1"/>
          </p:cNvSpPr>
          <p:nvPr>
            <p:ph type="title" hasCustomPrompt="1"/>
          </p:nvPr>
        </p:nvSpPr>
        <p:spPr>
          <a:xfrm>
            <a:off x="1409700" y="935570"/>
            <a:ext cx="9372600" cy="1335024"/>
          </a:xfrm>
        </p:spPr>
        <p:txBody>
          <a:bodyPr anchor="b"/>
          <a:lstStyle>
            <a:lvl1pPr algn="ctr">
              <a:lnSpc>
                <a:spcPct val="90000"/>
              </a:lnSpc>
              <a:defRPr sz="4400"/>
            </a:lvl1pPr>
          </a:lstStyle>
          <a:p>
            <a:r>
              <a:rPr lang="en-US"/>
              <a:t>Title Slide</a:t>
            </a:r>
            <a:br>
              <a:rPr lang="en-US"/>
            </a:br>
            <a:r>
              <a:rPr lang="en-US"/>
              <a:t>with Subtitle Layout</a:t>
            </a:r>
          </a:p>
        </p:txBody>
      </p:sp>
      <p:sp>
        <p:nvSpPr>
          <p:cNvPr id="3" name="Rectangle 2">
            <a:extLst>
              <a:ext uri="{FF2B5EF4-FFF2-40B4-BE49-F238E27FC236}">
                <a16:creationId xmlns:a16="http://schemas.microsoft.com/office/drawing/2014/main" id="{0F0DA467-6522-4105-A238-D69A42AC0280}"/>
              </a:ext>
            </a:extLst>
          </p:cNvPr>
          <p:cNvSpPr/>
          <p:nvPr userDrawn="1"/>
        </p:nvSpPr>
        <p:spPr>
          <a:xfrm>
            <a:off x="0" y="0"/>
            <a:ext cx="12192000" cy="141619"/>
          </a:xfrm>
          <a:prstGeom prst="rect">
            <a:avLst/>
          </a:prstGeom>
          <a:gradFill flip="none" rotWithShape="1">
            <a:gsLst>
              <a:gs pos="0">
                <a:schemeClr val="accent1"/>
              </a:gs>
              <a:gs pos="100000">
                <a:schemeClr val="accent1">
                  <a:lumMod val="50000"/>
                </a:schemeClr>
              </a:gs>
            </a:gsLst>
            <a:path path="circle">
              <a:fillToRect l="50000" t="50000" r="50000" b="50000"/>
            </a:path>
            <a:tileRect/>
          </a:gradFill>
        </p:spPr>
        <p:txBody>
          <a:bodyPr vert="horz" lIns="137160" tIns="73152" rIns="137160" bIns="73152" rtlCol="0" anchor="ctr">
            <a:noAutofit/>
          </a:bodyPr>
          <a:lstStyle/>
          <a:p>
            <a:pPr marL="182880" lvl="0" indent="-182880" algn="ctr" defTabSz="914400">
              <a:lnSpc>
                <a:spcPct val="100000"/>
              </a:lnSpc>
              <a:spcBef>
                <a:spcPts val="1000"/>
              </a:spcBef>
              <a:buClr>
                <a:schemeClr val="accent1"/>
              </a:buClr>
              <a:buFont typeface="Arial" panose="020B0604020202020204" pitchFamily="34" charset="0"/>
              <a:buNone/>
            </a:pPr>
            <a:endParaRPr lang="en-US" sz="1600" b="1" cap="all" spc="300" baseline="0" dirty="0">
              <a:solidFill>
                <a:schemeClr val="bg1"/>
              </a:solidFill>
            </a:endParaRPr>
          </a:p>
        </p:txBody>
      </p:sp>
    </p:spTree>
    <p:extLst>
      <p:ext uri="{BB962C8B-B14F-4D97-AF65-F5344CB8AC3E}">
        <p14:creationId xmlns:p14="http://schemas.microsoft.com/office/powerpoint/2010/main" val="27758351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15" name="Texture">
            <a:extLst>
              <a:ext uri="{FF2B5EF4-FFF2-40B4-BE49-F238E27FC236}">
                <a16:creationId xmlns:a16="http://schemas.microsoft.com/office/drawing/2014/main" id="{8069FB3F-2D73-4C3F-A7A8-E6A22F71C3AB}"/>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pic>
        <p:nvPicPr>
          <p:cNvPr id="14" name="Picture 13">
            <a:extLst>
              <a:ext uri="{FF2B5EF4-FFF2-40B4-BE49-F238E27FC236}">
                <a16:creationId xmlns:a16="http://schemas.microsoft.com/office/drawing/2014/main" id="{4544ECD5-A100-4CBB-BE85-5E2DB9399658}"/>
              </a:ext>
            </a:extLst>
          </p:cNvPr>
          <p:cNvPicPr>
            <a:picLocks noChangeAspect="1"/>
          </p:cNvPicPr>
          <p:nvPr userDrawn="1"/>
        </p:nvPicPr>
        <p:blipFill rotWithShape="1">
          <a:blip r:embed="rId3"/>
          <a:srcRect l="21034" b="37183"/>
          <a:stretch/>
        </p:blipFill>
        <p:spPr>
          <a:xfrm>
            <a:off x="0" y="5372101"/>
            <a:ext cx="2354138" cy="1485900"/>
          </a:xfrm>
          <a:prstGeom prst="rect">
            <a:avLst/>
          </a:prstGeom>
        </p:spPr>
      </p:pic>
      <p:sp>
        <p:nvSpPr>
          <p:cNvPr id="5" name="Subtitle">
            <a:extLst>
              <a:ext uri="{FF2B5EF4-FFF2-40B4-BE49-F238E27FC236}">
                <a16:creationId xmlns:a16="http://schemas.microsoft.com/office/drawing/2014/main" id="{1C588A51-7159-4E94-9856-B64483B8F966}"/>
              </a:ext>
            </a:extLst>
          </p:cNvPr>
          <p:cNvSpPr>
            <a:spLocks noGrp="1"/>
          </p:cNvSpPr>
          <p:nvPr>
            <p:ph type="body" sz="quarter" idx="13" hasCustomPrompt="1"/>
          </p:nvPr>
        </p:nvSpPr>
        <p:spPr bwMode="ltGray">
          <a:xfrm>
            <a:off x="449201" y="479908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cap="all" spc="300" baseline="0" dirty="0">
                <a:solidFill>
                  <a:schemeClr val="bg1"/>
                </a:solidFill>
              </a:defRPr>
            </a:lvl1pPr>
          </a:lstStyle>
          <a:p>
            <a:pPr marL="182880" lvl="0" indent="-182880"/>
            <a:r>
              <a:rPr lang="en-US"/>
              <a:t>Subtitle (Delete if not used)</a:t>
            </a:r>
          </a:p>
        </p:txBody>
      </p:sp>
      <p:sp>
        <p:nvSpPr>
          <p:cNvPr id="2" name="Title">
            <a:extLst>
              <a:ext uri="{FF2B5EF4-FFF2-40B4-BE49-F238E27FC236}">
                <a16:creationId xmlns:a16="http://schemas.microsoft.com/office/drawing/2014/main" id="{CDB11C21-4702-4664-8D59-793314F8EA10}"/>
              </a:ext>
            </a:extLst>
          </p:cNvPr>
          <p:cNvSpPr>
            <a:spLocks noGrp="1"/>
          </p:cNvSpPr>
          <p:nvPr>
            <p:ph type="title" hasCustomPrompt="1"/>
          </p:nvPr>
        </p:nvSpPr>
        <p:spPr>
          <a:xfrm>
            <a:off x="449202" y="3528919"/>
            <a:ext cx="9372600" cy="1214393"/>
          </a:xfrm>
        </p:spPr>
        <p:txBody>
          <a:bodyPr anchor="b">
            <a:noAutofit/>
          </a:bodyPr>
          <a:lstStyle>
            <a:lvl1pPr>
              <a:lnSpc>
                <a:spcPct val="100000"/>
              </a:lnSpc>
              <a:defRPr/>
            </a:lvl1pPr>
          </a:lstStyle>
          <a:p>
            <a:r>
              <a:rPr lang="en-US"/>
              <a:t>Segue Layout</a:t>
            </a:r>
          </a:p>
        </p:txBody>
      </p:sp>
      <p:sp>
        <p:nvSpPr>
          <p:cNvPr id="3" name="Footer Placeholder 2">
            <a:extLst>
              <a:ext uri="{FF2B5EF4-FFF2-40B4-BE49-F238E27FC236}">
                <a16:creationId xmlns:a16="http://schemas.microsoft.com/office/drawing/2014/main" id="{72052D0D-2EA4-4CCE-90FA-A02A78C35856}"/>
              </a:ext>
            </a:extLst>
          </p:cNvPr>
          <p:cNvSpPr>
            <a:spLocks noGrp="1"/>
          </p:cNvSpPr>
          <p:nvPr>
            <p:ph type="ftr" sz="quarter" idx="14"/>
          </p:nvPr>
        </p:nvSpPr>
        <p:spPr/>
        <p:txBody>
          <a:bodyPr/>
          <a:lstStyle/>
          <a:p>
            <a:endParaRPr lang="en-US" dirty="0"/>
          </a:p>
        </p:txBody>
      </p:sp>
      <p:sp>
        <p:nvSpPr>
          <p:cNvPr id="17" name="Slide Number">
            <a:extLst>
              <a:ext uri="{FF2B5EF4-FFF2-40B4-BE49-F238E27FC236}">
                <a16:creationId xmlns:a16="http://schemas.microsoft.com/office/drawing/2014/main" id="{C761C9BF-9222-4B2A-A19A-B5A2710D93B3}"/>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18" name="Logo">
            <a:extLst>
              <a:ext uri="{FF2B5EF4-FFF2-40B4-BE49-F238E27FC236}">
                <a16:creationId xmlns:a16="http://schemas.microsoft.com/office/drawing/2014/main" id="{507CC42B-659C-4CD4-9F20-358BBD7B0A6B}"/>
              </a:ext>
            </a:extLst>
          </p:cNvPr>
          <p:cNvGrpSpPr>
            <a:grpSpLocks noChangeAspect="1"/>
          </p:cNvGrpSpPr>
          <p:nvPr userDrawn="1"/>
        </p:nvGrpSpPr>
        <p:grpSpPr bwMode="black">
          <a:xfrm>
            <a:off x="428653" y="6447297"/>
            <a:ext cx="914400" cy="214552"/>
            <a:chOff x="1231901" y="5359401"/>
            <a:chExt cx="11210925" cy="2630487"/>
          </a:xfrm>
        </p:grpSpPr>
        <p:sp>
          <p:nvSpPr>
            <p:cNvPr id="19" name="Freeform 5">
              <a:extLst>
                <a:ext uri="{FF2B5EF4-FFF2-40B4-BE49-F238E27FC236}">
                  <a16:creationId xmlns:a16="http://schemas.microsoft.com/office/drawing/2014/main" id="{648801B8-52B3-47AC-9853-2375E256E3A9}"/>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6">
              <a:extLst>
                <a:ext uri="{FF2B5EF4-FFF2-40B4-BE49-F238E27FC236}">
                  <a16:creationId xmlns:a16="http://schemas.microsoft.com/office/drawing/2014/main" id="{64F20CB9-4127-4672-B9D3-714FA916023D}"/>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9420317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Font typeface="Arial" panose="020B0604020202020204" pitchFamily="34" charset="0"/>
              <a:buNone/>
              <a:defRPr lang="en-US" sz="1600" b="1" cap="all" spc="300" baseline="0" dirty="0">
                <a:solidFill>
                  <a:schemeClr val="bg1"/>
                </a:solidFill>
              </a:defRPr>
            </a:lvl1pPr>
          </a:lstStyle>
          <a:p>
            <a:pPr marL="182880" lvl="0" indent="-182880"/>
            <a:r>
              <a:rPr lang="en-US"/>
              <a:t>Subtitle (Delete if not used)</a:t>
            </a:r>
          </a:p>
        </p:txBody>
      </p:sp>
      <p:sp>
        <p:nvSpPr>
          <p:cNvPr id="3" name="Footer Placeholder 2">
            <a:extLst>
              <a:ext uri="{FF2B5EF4-FFF2-40B4-BE49-F238E27FC236}">
                <a16:creationId xmlns:a16="http://schemas.microsoft.com/office/drawing/2014/main" id="{F4ADC8EF-0ABA-4B52-AEA2-7A3943163EAA}"/>
              </a:ext>
            </a:extLst>
          </p:cNvPr>
          <p:cNvSpPr>
            <a:spLocks noGrp="1"/>
          </p:cNvSpPr>
          <p:nvPr>
            <p:ph type="ftr" sz="quarter" idx="14"/>
          </p:nvPr>
        </p:nvSpPr>
        <p:spPr/>
        <p:txBody>
          <a:bodyPr/>
          <a:lstStyle/>
          <a:p>
            <a:endParaRPr lang="en-US" dirty="0"/>
          </a:p>
        </p:txBody>
      </p:sp>
      <p:sp>
        <p:nvSpPr>
          <p:cNvPr id="5" name="Title 4">
            <a:extLst>
              <a:ext uri="{FF2B5EF4-FFF2-40B4-BE49-F238E27FC236}">
                <a16:creationId xmlns:a16="http://schemas.microsoft.com/office/drawing/2014/main" id="{72B8CEC4-B0CD-4400-A6AD-DD3E12310A92}"/>
              </a:ext>
            </a:extLst>
          </p:cNvPr>
          <p:cNvSpPr>
            <a:spLocks noGrp="1"/>
          </p:cNvSpPr>
          <p:nvPr>
            <p:ph type="title" hasCustomPrompt="1"/>
          </p:nvPr>
        </p:nvSpPr>
        <p:spPr/>
        <p:txBody>
          <a:bodyPr/>
          <a:lstStyle>
            <a:lvl1pPr>
              <a:defRPr/>
            </a:lvl1pPr>
          </a:lstStyle>
          <a:p>
            <a:r>
              <a:rPr lang="en-US"/>
              <a:t>Title Only Layout</a:t>
            </a:r>
          </a:p>
        </p:txBody>
      </p:sp>
    </p:spTree>
    <p:extLst>
      <p:ext uri="{BB962C8B-B14F-4D97-AF65-F5344CB8AC3E}">
        <p14:creationId xmlns:p14="http://schemas.microsoft.com/office/powerpoint/2010/main" val="13761822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2869"/>
            <a:ext cx="11292840" cy="4479059"/>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a:t>Subtitle (Delete if not used)</a:t>
            </a:r>
          </a:p>
        </p:txBody>
      </p:sp>
      <p:sp>
        <p:nvSpPr>
          <p:cNvPr id="3" name="Footer Placeholder 2">
            <a:extLst>
              <a:ext uri="{FF2B5EF4-FFF2-40B4-BE49-F238E27FC236}">
                <a16:creationId xmlns:a16="http://schemas.microsoft.com/office/drawing/2014/main" id="{9EF94C0C-A1DE-4B4E-81B9-17917168456C}"/>
              </a:ext>
            </a:extLst>
          </p:cNvPr>
          <p:cNvSpPr>
            <a:spLocks noGrp="1"/>
          </p:cNvSpPr>
          <p:nvPr>
            <p:ph type="ftr" sz="quarter" idx="15"/>
          </p:nvPr>
        </p:nvSpPr>
        <p:spPr/>
        <p:txBody>
          <a:bodyPr/>
          <a:lstStyle/>
          <a:p>
            <a:endParaRPr lang="en-US" dirty="0"/>
          </a:p>
        </p:txBody>
      </p:sp>
      <p:sp>
        <p:nvSpPr>
          <p:cNvPr id="4" name="Title 3">
            <a:extLst>
              <a:ext uri="{FF2B5EF4-FFF2-40B4-BE49-F238E27FC236}">
                <a16:creationId xmlns:a16="http://schemas.microsoft.com/office/drawing/2014/main" id="{856CA66E-0730-4548-BD28-48477B0C3CAB}"/>
              </a:ext>
            </a:extLst>
          </p:cNvPr>
          <p:cNvSpPr>
            <a:spLocks noGrp="1"/>
          </p:cNvSpPr>
          <p:nvPr>
            <p:ph type="title" hasCustomPrompt="1"/>
          </p:nvPr>
        </p:nvSpPr>
        <p:spPr/>
        <p:txBody>
          <a:bodyPr/>
          <a:lstStyle>
            <a:lvl1pPr>
              <a:defRPr/>
            </a:lvl1pPr>
          </a:lstStyle>
          <a:p>
            <a:r>
              <a:rPr lang="en-US"/>
              <a:t>One Column Layout</a:t>
            </a:r>
          </a:p>
        </p:txBody>
      </p:sp>
    </p:spTree>
    <p:extLst>
      <p:ext uri="{BB962C8B-B14F-4D97-AF65-F5344CB8AC3E}">
        <p14:creationId xmlns:p14="http://schemas.microsoft.com/office/powerpoint/2010/main" val="4500251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4419DE35-D0AB-4348-89C4-2714CF5EEDE7}"/>
              </a:ext>
            </a:extLst>
          </p:cNvPr>
          <p:cNvSpPr>
            <a:spLocks noGrp="1"/>
          </p:cNvSpPr>
          <p:nvPr>
            <p:ph sz="quarter" idx="15"/>
          </p:nvPr>
        </p:nvSpPr>
        <p:spPr>
          <a:xfrm>
            <a:off x="6208776" y="1802869"/>
            <a:ext cx="5532120" cy="4479059"/>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2869"/>
            <a:ext cx="5532120" cy="4479059"/>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a:t>Subtitle (Delete if not used)</a:t>
            </a:r>
          </a:p>
        </p:txBody>
      </p:sp>
      <p:sp>
        <p:nvSpPr>
          <p:cNvPr id="3" name="Footer Placeholder 2">
            <a:extLst>
              <a:ext uri="{FF2B5EF4-FFF2-40B4-BE49-F238E27FC236}">
                <a16:creationId xmlns:a16="http://schemas.microsoft.com/office/drawing/2014/main" id="{3208BA35-76C2-4ED8-B770-6CBDC27C821F}"/>
              </a:ext>
            </a:extLst>
          </p:cNvPr>
          <p:cNvSpPr>
            <a:spLocks noGrp="1"/>
          </p:cNvSpPr>
          <p:nvPr>
            <p:ph type="ftr" sz="quarter" idx="16"/>
          </p:nvPr>
        </p:nvSpPr>
        <p:spPr/>
        <p:txBody>
          <a:bodyPr/>
          <a:lstStyle/>
          <a:p>
            <a:endParaRPr lang="en-US" dirty="0"/>
          </a:p>
        </p:txBody>
      </p:sp>
      <p:sp>
        <p:nvSpPr>
          <p:cNvPr id="4" name="Title 3">
            <a:extLst>
              <a:ext uri="{FF2B5EF4-FFF2-40B4-BE49-F238E27FC236}">
                <a16:creationId xmlns:a16="http://schemas.microsoft.com/office/drawing/2014/main" id="{A0187FFC-2B63-49CE-B2BC-B238E1BC79DB}"/>
              </a:ext>
            </a:extLst>
          </p:cNvPr>
          <p:cNvSpPr>
            <a:spLocks noGrp="1"/>
          </p:cNvSpPr>
          <p:nvPr>
            <p:ph type="title" hasCustomPrompt="1"/>
          </p:nvPr>
        </p:nvSpPr>
        <p:spPr/>
        <p:txBody>
          <a:bodyPr/>
          <a:lstStyle>
            <a:lvl1pPr>
              <a:defRPr/>
            </a:lvl1pPr>
          </a:lstStyle>
          <a:p>
            <a:r>
              <a:rPr lang="en-US"/>
              <a:t>Two Column Layout</a:t>
            </a:r>
          </a:p>
        </p:txBody>
      </p:sp>
    </p:spTree>
    <p:extLst>
      <p:ext uri="{BB962C8B-B14F-4D97-AF65-F5344CB8AC3E}">
        <p14:creationId xmlns:p14="http://schemas.microsoft.com/office/powerpoint/2010/main" val="1645166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4E7D5292-8D24-405D-9E5D-79D2DD40F684}"/>
              </a:ext>
            </a:extLst>
          </p:cNvPr>
          <p:cNvSpPr>
            <a:spLocks noGrp="1"/>
          </p:cNvSpPr>
          <p:nvPr>
            <p:ph sz="quarter" idx="16"/>
          </p:nvPr>
        </p:nvSpPr>
        <p:spPr>
          <a:xfrm>
            <a:off x="8129016" y="1802869"/>
            <a:ext cx="3611880" cy="4479504"/>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a:extLst>
              <a:ext uri="{FF2B5EF4-FFF2-40B4-BE49-F238E27FC236}">
                <a16:creationId xmlns:a16="http://schemas.microsoft.com/office/drawing/2014/main" id="{4419DE35-D0AB-4348-89C4-2714CF5EEDE7}"/>
              </a:ext>
            </a:extLst>
          </p:cNvPr>
          <p:cNvSpPr>
            <a:spLocks noGrp="1"/>
          </p:cNvSpPr>
          <p:nvPr>
            <p:ph sz="quarter" idx="15"/>
          </p:nvPr>
        </p:nvSpPr>
        <p:spPr>
          <a:xfrm>
            <a:off x="4289298" y="1802424"/>
            <a:ext cx="3611880" cy="4479504"/>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2424"/>
            <a:ext cx="3611880" cy="4479504"/>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a:t>Subtitle (Delete if not used)</a:t>
            </a:r>
          </a:p>
        </p:txBody>
      </p:sp>
      <p:sp>
        <p:nvSpPr>
          <p:cNvPr id="3" name="Footer Placeholder 2">
            <a:extLst>
              <a:ext uri="{FF2B5EF4-FFF2-40B4-BE49-F238E27FC236}">
                <a16:creationId xmlns:a16="http://schemas.microsoft.com/office/drawing/2014/main" id="{6504F64A-6956-41D3-B0E4-CCC3453A7F77}"/>
              </a:ext>
            </a:extLst>
          </p:cNvPr>
          <p:cNvSpPr>
            <a:spLocks noGrp="1"/>
          </p:cNvSpPr>
          <p:nvPr>
            <p:ph type="ftr" sz="quarter" idx="17"/>
          </p:nvPr>
        </p:nvSpPr>
        <p:spPr/>
        <p:txBody>
          <a:bodyPr/>
          <a:lstStyle/>
          <a:p>
            <a:endParaRPr lang="en-US" dirty="0"/>
          </a:p>
        </p:txBody>
      </p:sp>
      <p:sp>
        <p:nvSpPr>
          <p:cNvPr id="4" name="Title 3">
            <a:extLst>
              <a:ext uri="{FF2B5EF4-FFF2-40B4-BE49-F238E27FC236}">
                <a16:creationId xmlns:a16="http://schemas.microsoft.com/office/drawing/2014/main" id="{D9030608-2773-46C2-905B-B17C3B831C19}"/>
              </a:ext>
            </a:extLst>
          </p:cNvPr>
          <p:cNvSpPr>
            <a:spLocks noGrp="1"/>
          </p:cNvSpPr>
          <p:nvPr>
            <p:ph type="title" hasCustomPrompt="1"/>
          </p:nvPr>
        </p:nvSpPr>
        <p:spPr/>
        <p:txBody>
          <a:bodyPr/>
          <a:lstStyle>
            <a:lvl1pPr>
              <a:defRPr/>
            </a:lvl1pPr>
          </a:lstStyle>
          <a:p>
            <a:r>
              <a:rPr lang="en-US"/>
              <a:t>Three Column Layout</a:t>
            </a:r>
          </a:p>
        </p:txBody>
      </p:sp>
    </p:spTree>
    <p:extLst>
      <p:ext uri="{BB962C8B-B14F-4D97-AF65-F5344CB8AC3E}">
        <p14:creationId xmlns:p14="http://schemas.microsoft.com/office/powerpoint/2010/main" val="31144571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999E3BF3-DA31-48DD-AC45-91FC2DBAAD4C}"/>
              </a:ext>
            </a:extLst>
          </p:cNvPr>
          <p:cNvSpPr>
            <a:spLocks noGrp="1"/>
          </p:cNvSpPr>
          <p:nvPr>
            <p:ph type="pic" sz="quarter" idx="15" hasCustomPrompt="1"/>
          </p:nvPr>
        </p:nvSpPr>
        <p:spPr>
          <a:xfrm>
            <a:off x="5251704" y="0"/>
            <a:ext cx="6940296" cy="6858000"/>
          </a:xfrm>
          <a:solidFill>
            <a:schemeClr val="bg1">
              <a:lumMod val="85000"/>
            </a:schemeClr>
          </a:solidFill>
        </p:spPr>
        <p:txBody>
          <a:bodyPr vert="horz" lIns="0" tIns="0" rIns="0" bIns="822960" rtlCol="0" anchor="ctr">
            <a:noAutofit/>
          </a:bodyPr>
          <a:lstStyle>
            <a:lvl1pPr marL="0" indent="0" algn="ctr">
              <a:buFont typeface="Arial" panose="020B0604020202020204" pitchFamily="34" charset="0"/>
              <a:buNone/>
              <a:defRPr lang="en-US" sz="1800">
                <a:solidFill>
                  <a:schemeClr val="tx1"/>
                </a:solidFill>
              </a:defRPr>
            </a:lvl1pPr>
          </a:lstStyle>
          <a:p>
            <a:pPr lvl="0" algn="ctr"/>
            <a:r>
              <a:rPr lang="en-US" dirty="0"/>
              <a:t>Click icon below to insert picture</a:t>
            </a:r>
          </a:p>
        </p:txBody>
      </p:sp>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1368"/>
            <a:ext cx="4206240" cy="4480560"/>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420624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a:t>Subtitle (D.I.N.U.)</a:t>
            </a:r>
          </a:p>
        </p:txBody>
      </p:sp>
      <p:sp>
        <p:nvSpPr>
          <p:cNvPr id="2" name="Title">
            <a:extLst>
              <a:ext uri="{FF2B5EF4-FFF2-40B4-BE49-F238E27FC236}">
                <a16:creationId xmlns:a16="http://schemas.microsoft.com/office/drawing/2014/main" id="{AD051183-1C65-4067-A80F-CAB4F09E82D7}"/>
              </a:ext>
            </a:extLst>
          </p:cNvPr>
          <p:cNvSpPr>
            <a:spLocks noGrp="1"/>
          </p:cNvSpPr>
          <p:nvPr>
            <p:ph type="title" hasCustomPrompt="1"/>
          </p:nvPr>
        </p:nvSpPr>
        <p:spPr>
          <a:xfrm>
            <a:off x="449202" y="372339"/>
            <a:ext cx="4206240" cy="492443"/>
          </a:xfrm>
        </p:spPr>
        <p:txBody>
          <a:bodyPr>
            <a:noAutofit/>
          </a:bodyPr>
          <a:lstStyle>
            <a:lvl1pPr>
              <a:defRPr/>
            </a:lvl1pPr>
          </a:lstStyle>
          <a:p>
            <a:r>
              <a:rPr lang="en-US"/>
              <a:t>Photo Right Layout</a:t>
            </a:r>
          </a:p>
        </p:txBody>
      </p:sp>
    </p:spTree>
    <p:extLst>
      <p:ext uri="{BB962C8B-B14F-4D97-AF65-F5344CB8AC3E}">
        <p14:creationId xmlns:p14="http://schemas.microsoft.com/office/powerpoint/2010/main" val="31414188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umbered One Column">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a:t>Subtitle (Delete if not used)</a:t>
            </a:r>
          </a:p>
        </p:txBody>
      </p:sp>
      <p:sp>
        <p:nvSpPr>
          <p:cNvPr id="3" name="Footer Placeholder 2">
            <a:extLst>
              <a:ext uri="{FF2B5EF4-FFF2-40B4-BE49-F238E27FC236}">
                <a16:creationId xmlns:a16="http://schemas.microsoft.com/office/drawing/2014/main" id="{9EF94C0C-A1DE-4B4E-81B9-17917168456C}"/>
              </a:ext>
            </a:extLst>
          </p:cNvPr>
          <p:cNvSpPr>
            <a:spLocks noGrp="1"/>
          </p:cNvSpPr>
          <p:nvPr>
            <p:ph type="ftr" sz="quarter" idx="15"/>
          </p:nvPr>
        </p:nvSpPr>
        <p:spPr/>
        <p:txBody>
          <a:bodyPr/>
          <a:lstStyle/>
          <a:p>
            <a:endParaRPr lang="en-US" dirty="0"/>
          </a:p>
        </p:txBody>
      </p:sp>
      <p:sp>
        <p:nvSpPr>
          <p:cNvPr id="4" name="Title 3">
            <a:extLst>
              <a:ext uri="{FF2B5EF4-FFF2-40B4-BE49-F238E27FC236}">
                <a16:creationId xmlns:a16="http://schemas.microsoft.com/office/drawing/2014/main" id="{856CA66E-0730-4548-BD28-48477B0C3CAB}"/>
              </a:ext>
            </a:extLst>
          </p:cNvPr>
          <p:cNvSpPr>
            <a:spLocks noGrp="1"/>
          </p:cNvSpPr>
          <p:nvPr>
            <p:ph type="title" hasCustomPrompt="1"/>
          </p:nvPr>
        </p:nvSpPr>
        <p:spPr/>
        <p:txBody>
          <a:bodyPr/>
          <a:lstStyle>
            <a:lvl1pPr>
              <a:defRPr/>
            </a:lvl1pPr>
          </a:lstStyle>
          <a:p>
            <a:r>
              <a:rPr lang="en-US"/>
              <a:t>Numbered One Column Layout</a:t>
            </a:r>
          </a:p>
        </p:txBody>
      </p:sp>
      <p:sp>
        <p:nvSpPr>
          <p:cNvPr id="10" name="Content Placeholder 11">
            <a:extLst>
              <a:ext uri="{FF2B5EF4-FFF2-40B4-BE49-F238E27FC236}">
                <a16:creationId xmlns:a16="http://schemas.microsoft.com/office/drawing/2014/main" id="{4DE42E10-C02B-493C-892E-5A8A326E7885}"/>
              </a:ext>
            </a:extLst>
          </p:cNvPr>
          <p:cNvSpPr>
            <a:spLocks noGrp="1"/>
          </p:cNvSpPr>
          <p:nvPr>
            <p:ph sz="quarter" idx="14"/>
          </p:nvPr>
        </p:nvSpPr>
        <p:spPr>
          <a:xfrm>
            <a:off x="449580" y="1802869"/>
            <a:ext cx="11292840" cy="4479059"/>
          </a:xfrm>
        </p:spPr>
        <p:txBody>
          <a:bodyPr/>
          <a:lstStyle>
            <a:lvl1pPr marL="344488" indent="-344488">
              <a:buFont typeface="+mj-lt"/>
              <a:buAutoNum type="arabicPeriod"/>
              <a:tabLst>
                <a:tab pos="288925" algn="l"/>
              </a:tabLst>
              <a:defRPr>
                <a:solidFill>
                  <a:schemeClr val="tx1">
                    <a:lumMod val="85000"/>
                    <a:lumOff val="15000"/>
                  </a:schemeClr>
                </a:solidFill>
              </a:defRPr>
            </a:lvl1pPr>
            <a:lvl2pPr marL="515938" indent="-163513">
              <a:defRPr>
                <a:solidFill>
                  <a:schemeClr val="tx1">
                    <a:lumMod val="85000"/>
                    <a:lumOff val="15000"/>
                  </a:schemeClr>
                </a:solidFill>
              </a:defRPr>
            </a:lvl2pPr>
            <a:lvl3pPr marL="687388" indent="-163513">
              <a:defRPr>
                <a:solidFill>
                  <a:schemeClr val="tx1">
                    <a:lumMod val="85000"/>
                    <a:lumOff val="15000"/>
                  </a:schemeClr>
                </a:solidFill>
              </a:defRPr>
            </a:lvl3pPr>
            <a:lvl4pPr marL="860425" indent="-171450">
              <a:defRPr/>
            </a:lvl4pPr>
            <a:lvl5pPr marL="1031875" indent="-171450">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4145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Slide Number">
            <a:extLst>
              <a:ext uri="{FF2B5EF4-FFF2-40B4-BE49-F238E27FC236}">
                <a16:creationId xmlns:a16="http://schemas.microsoft.com/office/drawing/2014/main" id="{9773789E-1482-4DF2-AC34-ED595BC86F6F}"/>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sp>
        <p:nvSpPr>
          <p:cNvPr id="71" name="Text Placeholder 70">
            <a:extLst>
              <a:ext uri="{FF2B5EF4-FFF2-40B4-BE49-F238E27FC236}">
                <a16:creationId xmlns:a16="http://schemas.microsoft.com/office/drawing/2014/main" id="{14A8E363-B738-48A5-915F-96EF63027B46}"/>
              </a:ext>
            </a:extLst>
          </p:cNvPr>
          <p:cNvSpPr>
            <a:spLocks noGrp="1"/>
          </p:cNvSpPr>
          <p:nvPr>
            <p:ph type="body" idx="1"/>
          </p:nvPr>
        </p:nvSpPr>
        <p:spPr>
          <a:xfrm>
            <a:off x="449201" y="1802870"/>
            <a:ext cx="11293597" cy="4475704"/>
          </a:xfrm>
          <a:prstGeom prst="rect">
            <a:avLst/>
          </a:prstGeom>
        </p:spPr>
        <p:txBody>
          <a:bodyPr vert="horz" lIns="0" tIns="0" rIns="0" bIns="0" rtlCol="0">
            <a:noAutofit/>
          </a:bodyPr>
          <a:lstStyle/>
          <a:p>
            <a:pPr lvl="0"/>
            <a:r>
              <a:rPr lang="en-US"/>
              <a:t>First level: Bullet, 20pt</a:t>
            </a:r>
          </a:p>
          <a:p>
            <a:pPr lvl="1"/>
            <a:r>
              <a:rPr lang="en-US"/>
              <a:t>Second level: Sub-bullet 1, 18pt</a:t>
            </a:r>
          </a:p>
          <a:p>
            <a:pPr lvl="2"/>
            <a:r>
              <a:rPr lang="en-US"/>
              <a:t>Third level: Sub-bullet 2, 16pt</a:t>
            </a:r>
          </a:p>
          <a:p>
            <a:pPr lvl="3"/>
            <a:r>
              <a:rPr lang="en-US"/>
              <a:t>Fourth level: Sub-bullet 3, 14pt</a:t>
            </a:r>
          </a:p>
          <a:p>
            <a:pPr lvl="4"/>
            <a:r>
              <a:rPr lang="en-US"/>
              <a:t>Fifth level: Sub-bullet 4, 12pt</a:t>
            </a:r>
          </a:p>
        </p:txBody>
      </p:sp>
      <p:sp>
        <p:nvSpPr>
          <p:cNvPr id="2" name="Title"/>
          <p:cNvSpPr>
            <a:spLocks noGrp="1"/>
          </p:cNvSpPr>
          <p:nvPr>
            <p:ph type="title"/>
          </p:nvPr>
        </p:nvSpPr>
        <p:spPr>
          <a:xfrm>
            <a:off x="449202" y="372339"/>
            <a:ext cx="11293597" cy="492443"/>
          </a:xfrm>
          <a:prstGeom prst="rect">
            <a:avLst/>
          </a:prstGeom>
        </p:spPr>
        <p:txBody>
          <a:bodyPr vert="horz" lIns="0" tIns="0" rIns="0" bIns="0" rtlCol="0" anchor="t">
            <a:noAutofit/>
          </a:bodyPr>
          <a:lstStyle/>
          <a:p>
            <a:r>
              <a:rPr lang="en-US"/>
              <a:t>Title, 32pt</a:t>
            </a:r>
          </a:p>
        </p:txBody>
      </p:sp>
      <p:grpSp>
        <p:nvGrpSpPr>
          <p:cNvPr id="8" name="Logo">
            <a:extLst>
              <a:ext uri="{FF2B5EF4-FFF2-40B4-BE49-F238E27FC236}">
                <a16:creationId xmlns:a16="http://schemas.microsoft.com/office/drawing/2014/main" id="{CBB5A743-284E-4F77-9C07-20F6113DB3BD}"/>
              </a:ext>
            </a:extLst>
          </p:cNvPr>
          <p:cNvGrpSpPr>
            <a:grpSpLocks noChangeAspect="1"/>
          </p:cNvGrpSpPr>
          <p:nvPr userDrawn="1"/>
        </p:nvGrpSpPr>
        <p:grpSpPr bwMode="black">
          <a:xfrm>
            <a:off x="428653" y="6447297"/>
            <a:ext cx="914400" cy="214552"/>
            <a:chOff x="1231901" y="5359401"/>
            <a:chExt cx="11210925" cy="2630487"/>
          </a:xfrm>
        </p:grpSpPr>
        <p:sp>
          <p:nvSpPr>
            <p:cNvPr id="9" name="Freeform 5">
              <a:extLst>
                <a:ext uri="{FF2B5EF4-FFF2-40B4-BE49-F238E27FC236}">
                  <a16:creationId xmlns:a16="http://schemas.microsoft.com/office/drawing/2014/main" id="{BB597971-37D3-4BC0-93F4-2E4A0C596B82}"/>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6">
              <a:extLst>
                <a:ext uri="{FF2B5EF4-FFF2-40B4-BE49-F238E27FC236}">
                  <a16:creationId xmlns:a16="http://schemas.microsoft.com/office/drawing/2014/main" id="{710CFBDD-008A-42F6-B152-7F57EF7924FE}"/>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Footer Placeholder 2">
            <a:extLst>
              <a:ext uri="{FF2B5EF4-FFF2-40B4-BE49-F238E27FC236}">
                <a16:creationId xmlns:a16="http://schemas.microsoft.com/office/drawing/2014/main" id="{23B7BE8C-9254-49C6-B935-75CCECC5C171}"/>
              </a:ext>
            </a:extLst>
          </p:cNvPr>
          <p:cNvSpPr>
            <a:spLocks noGrp="1"/>
          </p:cNvSpPr>
          <p:nvPr>
            <p:ph type="ftr" sz="quarter" idx="3"/>
          </p:nvPr>
        </p:nvSpPr>
        <p:spPr>
          <a:xfrm>
            <a:off x="4038600" y="6447297"/>
            <a:ext cx="4114800" cy="153888"/>
          </a:xfrm>
          <a:prstGeom prst="rect">
            <a:avLst/>
          </a:prstGeom>
        </p:spPr>
        <p:txBody>
          <a:bodyPr vert="horz" lIns="0" tIns="0" rIns="0" bIns="0" rtlCol="0" anchor="ctr">
            <a:spAutoFit/>
          </a:bodyPr>
          <a:lstStyle>
            <a:lvl1pPr algn="ctr">
              <a:defRPr sz="1000">
                <a:solidFill>
                  <a:schemeClr val="bg1">
                    <a:lumMod val="65000"/>
                  </a:schemeClr>
                </a:solidFill>
              </a:defRPr>
            </a:lvl1pPr>
          </a:lstStyle>
          <a:p>
            <a:endParaRPr lang="en-US" dirty="0"/>
          </a:p>
        </p:txBody>
      </p:sp>
    </p:spTree>
    <p:extLst>
      <p:ext uri="{BB962C8B-B14F-4D97-AF65-F5344CB8AC3E}">
        <p14:creationId xmlns:p14="http://schemas.microsoft.com/office/powerpoint/2010/main" val="3362308916"/>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20" r:id="rId3"/>
    <p:sldLayoutId id="2147483723" r:id="rId4"/>
    <p:sldLayoutId id="2147483724" r:id="rId5"/>
    <p:sldLayoutId id="2147483725" r:id="rId6"/>
    <p:sldLayoutId id="2147483726" r:id="rId7"/>
    <p:sldLayoutId id="2147483727" r:id="rId8"/>
    <p:sldLayoutId id="2147483741" r:id="rId9"/>
    <p:sldLayoutId id="2147483698" r:id="rId10"/>
    <p:sldLayoutId id="2147483740" r:id="rId11"/>
    <p:sldLayoutId id="2147483735" r:id="rId12"/>
    <p:sldLayoutId id="2147483738" r:id="rId13"/>
    <p:sldLayoutId id="2147483737" r:id="rId14"/>
    <p:sldLayoutId id="2147483732" r:id="rId15"/>
    <p:sldLayoutId id="2147483728" r:id="rId16"/>
    <p:sldLayoutId id="2147483729" r:id="rId17"/>
    <p:sldLayoutId id="2147483702" r:id="rId18"/>
  </p:sldLayoutIdLst>
  <p:hf sldNum="0" hdr="0" ftr="0" dt="0"/>
  <p:txStyles>
    <p:titleStyle>
      <a:lvl1pPr algn="l" defTabSz="914400" rtl="0" eaLnBrk="1" latinLnBrk="0" hangingPunct="1">
        <a:lnSpc>
          <a:spcPct val="100000"/>
        </a:lnSpc>
        <a:spcBef>
          <a:spcPct val="0"/>
        </a:spcBef>
        <a:buNone/>
        <a:defRPr sz="3200" b="1" kern="1200">
          <a:gradFill>
            <a:gsLst>
              <a:gs pos="0">
                <a:schemeClr val="accent1"/>
              </a:gs>
              <a:gs pos="100000">
                <a:schemeClr val="accent1">
                  <a:lumMod val="50000"/>
                </a:schemeClr>
              </a:gs>
            </a:gsLst>
            <a:lin ang="5400000" scaled="1"/>
          </a:gradFill>
          <a:latin typeface="+mj-lt"/>
          <a:ea typeface="+mj-ea"/>
          <a:cs typeface="+mj-cs"/>
        </a:defRPr>
      </a:lvl1pPr>
    </p:titleStyle>
    <p:body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dirty="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4a"/><Relationship Id="rId1" Type="http://schemas.microsoft.com/office/2007/relationships/media" Target="../media/media1.m4a"/><Relationship Id="rId5" Type="http://schemas.openxmlformats.org/officeDocument/2006/relationships/image" Target="../media/image7.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audio" Target="../media/media10.m4a"/><Relationship Id="rId1" Type="http://schemas.microsoft.com/office/2007/relationships/media" Target="../media/media10.m4a"/><Relationship Id="rId6" Type="http://schemas.openxmlformats.org/officeDocument/2006/relationships/image" Target="../media/image7.png"/><Relationship Id="rId5" Type="http://schemas.openxmlformats.org/officeDocument/2006/relationships/image" Target="../media/image44.pn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7.png"/><Relationship Id="rId2" Type="http://schemas.openxmlformats.org/officeDocument/2006/relationships/audio" Target="../media/media11.m4a"/><Relationship Id="rId1" Type="http://schemas.microsoft.com/office/2007/relationships/media" Target="../media/media11.m4a"/><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5.xml"/><Relationship Id="rId7" Type="http://schemas.openxmlformats.org/officeDocument/2006/relationships/image" Target="../media/image49.png"/><Relationship Id="rId2" Type="http://schemas.openxmlformats.org/officeDocument/2006/relationships/audio" Target="../media/media12.m4a"/><Relationship Id="rId1" Type="http://schemas.microsoft.com/office/2007/relationships/media" Target="../media/media12.m4a"/><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7.png"/><Relationship Id="rId2" Type="http://schemas.openxmlformats.org/officeDocument/2006/relationships/audio" Target="../media/media13.m4a"/><Relationship Id="rId1" Type="http://schemas.microsoft.com/office/2007/relationships/media" Target="../media/media13.m4a"/><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7.png"/><Relationship Id="rId2" Type="http://schemas.openxmlformats.org/officeDocument/2006/relationships/audio" Target="../media/media14.m4a"/><Relationship Id="rId1" Type="http://schemas.microsoft.com/office/2007/relationships/media" Target="../media/media14.m4a"/><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15.m4a"/><Relationship Id="rId1" Type="http://schemas.microsoft.com/office/2007/relationships/media" Target="../media/media15.m4a"/><Relationship Id="rId5" Type="http://schemas.openxmlformats.org/officeDocument/2006/relationships/image" Target="../media/image7.pn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image" Target="../media/image57.svg"/><Relationship Id="rId3" Type="http://schemas.openxmlformats.org/officeDocument/2006/relationships/slideLayout" Target="../slideLayouts/slideLayout5.xml"/><Relationship Id="rId7" Type="http://schemas.openxmlformats.org/officeDocument/2006/relationships/image" Target="../media/image56.png"/><Relationship Id="rId2" Type="http://schemas.openxmlformats.org/officeDocument/2006/relationships/audio" Target="../media/media16.m4a"/><Relationship Id="rId1" Type="http://schemas.microsoft.com/office/2007/relationships/media" Target="../media/media16.m4a"/><Relationship Id="rId6" Type="http://schemas.openxmlformats.org/officeDocument/2006/relationships/image" Target="../media/image55.emf"/><Relationship Id="rId11" Type="http://schemas.openxmlformats.org/officeDocument/2006/relationships/image" Target="../media/image7.png"/><Relationship Id="rId5" Type="http://schemas.openxmlformats.org/officeDocument/2006/relationships/image" Target="../media/image54.png"/><Relationship Id="rId10" Type="http://schemas.openxmlformats.org/officeDocument/2006/relationships/image" Target="../media/image59.svg"/><Relationship Id="rId4" Type="http://schemas.openxmlformats.org/officeDocument/2006/relationships/notesSlide" Target="../notesSlides/notesSlide16.xml"/><Relationship Id="rId9" Type="http://schemas.openxmlformats.org/officeDocument/2006/relationships/image" Target="../media/image58.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17.m4a"/><Relationship Id="rId1" Type="http://schemas.microsoft.com/office/2007/relationships/media" Target="../media/media17.m4a"/><Relationship Id="rId5" Type="http://schemas.openxmlformats.org/officeDocument/2006/relationships/image" Target="../media/image7.png"/><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audio" Target="../media/media18.m4a"/><Relationship Id="rId1" Type="http://schemas.microsoft.com/office/2007/relationships/media" Target="../media/media18.m4a"/><Relationship Id="rId5" Type="http://schemas.openxmlformats.org/officeDocument/2006/relationships/image" Target="../media/image7.png"/><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2.m4a"/><Relationship Id="rId1" Type="http://schemas.microsoft.com/office/2007/relationships/media" Target="../media/media2.m4a"/><Relationship Id="rId5" Type="http://schemas.openxmlformats.org/officeDocument/2006/relationships/image" Target="../media/image7.pn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svg"/><Relationship Id="rId18" Type="http://schemas.openxmlformats.org/officeDocument/2006/relationships/image" Target="../media/image21.png"/><Relationship Id="rId3" Type="http://schemas.openxmlformats.org/officeDocument/2006/relationships/slideLayout" Target="../slideLayouts/slideLayout4.xml"/><Relationship Id="rId21" Type="http://schemas.openxmlformats.org/officeDocument/2006/relationships/image" Target="../media/image24.svg"/><Relationship Id="rId7" Type="http://schemas.openxmlformats.org/officeDocument/2006/relationships/image" Target="../media/image10.svg"/><Relationship Id="rId12" Type="http://schemas.openxmlformats.org/officeDocument/2006/relationships/image" Target="../media/image15.png"/><Relationship Id="rId17" Type="http://schemas.openxmlformats.org/officeDocument/2006/relationships/image" Target="../media/image20.svg"/><Relationship Id="rId2" Type="http://schemas.openxmlformats.org/officeDocument/2006/relationships/audio" Target="../media/media3.m4a"/><Relationship Id="rId16" Type="http://schemas.openxmlformats.org/officeDocument/2006/relationships/image" Target="../media/image19.png"/><Relationship Id="rId20" Type="http://schemas.openxmlformats.org/officeDocument/2006/relationships/image" Target="../media/image23.png"/><Relationship Id="rId1" Type="http://schemas.microsoft.com/office/2007/relationships/media" Target="../media/media3.m4a"/><Relationship Id="rId6" Type="http://schemas.openxmlformats.org/officeDocument/2006/relationships/image" Target="../media/image9.png"/><Relationship Id="rId11" Type="http://schemas.openxmlformats.org/officeDocument/2006/relationships/image" Target="../media/image14.svg"/><Relationship Id="rId24" Type="http://schemas.openxmlformats.org/officeDocument/2006/relationships/image" Target="../media/image7.png"/><Relationship Id="rId5" Type="http://schemas.openxmlformats.org/officeDocument/2006/relationships/image" Target="../media/image8.jpeg"/><Relationship Id="rId15" Type="http://schemas.openxmlformats.org/officeDocument/2006/relationships/image" Target="../media/image18.svg"/><Relationship Id="rId23" Type="http://schemas.openxmlformats.org/officeDocument/2006/relationships/image" Target="../media/image26.svg"/><Relationship Id="rId10" Type="http://schemas.openxmlformats.org/officeDocument/2006/relationships/image" Target="../media/image13.png"/><Relationship Id="rId19" Type="http://schemas.openxmlformats.org/officeDocument/2006/relationships/image" Target="../media/image22.svg"/><Relationship Id="rId4" Type="http://schemas.openxmlformats.org/officeDocument/2006/relationships/notesSlide" Target="../notesSlides/notesSlide3.xml"/><Relationship Id="rId9" Type="http://schemas.openxmlformats.org/officeDocument/2006/relationships/image" Target="../media/image12.svg"/><Relationship Id="rId14" Type="http://schemas.openxmlformats.org/officeDocument/2006/relationships/image" Target="../media/image17.png"/><Relationship Id="rId22" Type="http://schemas.openxmlformats.org/officeDocument/2006/relationships/image" Target="../media/image25.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audio" Target="../media/media4.m4a"/><Relationship Id="rId1" Type="http://schemas.microsoft.com/office/2007/relationships/media" Target="../media/media4.m4a"/><Relationship Id="rId5" Type="http://schemas.openxmlformats.org/officeDocument/2006/relationships/image" Target="../media/image7.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5.m4a"/><Relationship Id="rId1" Type="http://schemas.microsoft.com/office/2007/relationships/media" Target="../media/media5.m4a"/><Relationship Id="rId5" Type="http://schemas.openxmlformats.org/officeDocument/2006/relationships/image" Target="../media/image7.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audio" Target="../media/media6.m4a"/><Relationship Id="rId1" Type="http://schemas.microsoft.com/office/2007/relationships/media" Target="../media/media6.m4a"/><Relationship Id="rId6" Type="http://schemas.openxmlformats.org/officeDocument/2006/relationships/image" Target="../media/image7.png"/><Relationship Id="rId5" Type="http://schemas.openxmlformats.org/officeDocument/2006/relationships/image" Target="../media/image27.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5.xml"/><Relationship Id="rId7" Type="http://schemas.openxmlformats.org/officeDocument/2006/relationships/image" Target="../media/image30.png"/><Relationship Id="rId2" Type="http://schemas.openxmlformats.org/officeDocument/2006/relationships/audio" Target="../media/media7.m4a"/><Relationship Id="rId1" Type="http://schemas.microsoft.com/office/2007/relationships/media" Target="../media/media7.m4a"/><Relationship Id="rId6" Type="http://schemas.openxmlformats.org/officeDocument/2006/relationships/image" Target="../media/image29.png"/><Relationship Id="rId5" Type="http://schemas.openxmlformats.org/officeDocument/2006/relationships/image" Target="../media/image28.png"/><Relationship Id="rId10" Type="http://schemas.openxmlformats.org/officeDocument/2006/relationships/image" Target="../media/image7.png"/><Relationship Id="rId4" Type="http://schemas.openxmlformats.org/officeDocument/2006/relationships/notesSlide" Target="../notesSlides/notesSlide7.xml"/><Relationship Id="rId9" Type="http://schemas.openxmlformats.org/officeDocument/2006/relationships/image" Target="../media/image32.png"/></Relationships>
</file>

<file path=ppt/slides/_rels/slide8.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7.svg"/><Relationship Id="rId18" Type="http://schemas.openxmlformats.org/officeDocument/2006/relationships/image" Target="../media/image7.png"/><Relationship Id="rId3" Type="http://schemas.openxmlformats.org/officeDocument/2006/relationships/slideLayout" Target="../slideLayouts/slideLayout5.xml"/><Relationship Id="rId7" Type="http://schemas.openxmlformats.org/officeDocument/2006/relationships/image" Target="../media/image10.svg"/><Relationship Id="rId12" Type="http://schemas.openxmlformats.org/officeDocument/2006/relationships/image" Target="../media/image36.png"/><Relationship Id="rId17" Type="http://schemas.openxmlformats.org/officeDocument/2006/relationships/image" Target="../media/image41.svg"/><Relationship Id="rId2" Type="http://schemas.openxmlformats.org/officeDocument/2006/relationships/audio" Target="../media/media8.m4a"/><Relationship Id="rId16" Type="http://schemas.openxmlformats.org/officeDocument/2006/relationships/image" Target="../media/image40.png"/><Relationship Id="rId1" Type="http://schemas.microsoft.com/office/2007/relationships/media" Target="../media/media8.m4a"/><Relationship Id="rId6" Type="http://schemas.openxmlformats.org/officeDocument/2006/relationships/image" Target="../media/image9.png"/><Relationship Id="rId11" Type="http://schemas.openxmlformats.org/officeDocument/2006/relationships/image" Target="../media/image18.svg"/><Relationship Id="rId5" Type="http://schemas.openxmlformats.org/officeDocument/2006/relationships/image" Target="../media/image33.png"/><Relationship Id="rId15" Type="http://schemas.openxmlformats.org/officeDocument/2006/relationships/image" Target="../media/image39.svg"/><Relationship Id="rId10" Type="http://schemas.openxmlformats.org/officeDocument/2006/relationships/image" Target="../media/image17.png"/><Relationship Id="rId4" Type="http://schemas.openxmlformats.org/officeDocument/2006/relationships/notesSlide" Target="../notesSlides/notesSlide8.xml"/><Relationship Id="rId9" Type="http://schemas.openxmlformats.org/officeDocument/2006/relationships/image" Target="../media/image35.svg"/><Relationship Id="rId14" Type="http://schemas.openxmlformats.org/officeDocument/2006/relationships/image" Target="../media/image38.png"/></Relationships>
</file>

<file path=ppt/slides/_rels/slide9.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7.svg"/><Relationship Id="rId3" Type="http://schemas.openxmlformats.org/officeDocument/2006/relationships/slideLayout" Target="../slideLayouts/slideLayout5.xml"/><Relationship Id="rId7" Type="http://schemas.openxmlformats.org/officeDocument/2006/relationships/image" Target="../media/image10.svg"/><Relationship Id="rId12" Type="http://schemas.openxmlformats.org/officeDocument/2006/relationships/image" Target="../media/image36.png"/><Relationship Id="rId2" Type="http://schemas.openxmlformats.org/officeDocument/2006/relationships/audio" Target="../media/media9.m4a"/><Relationship Id="rId16" Type="http://schemas.openxmlformats.org/officeDocument/2006/relationships/image" Target="../media/image7.png"/><Relationship Id="rId1" Type="http://schemas.microsoft.com/office/2007/relationships/media" Target="../media/media9.m4a"/><Relationship Id="rId6" Type="http://schemas.openxmlformats.org/officeDocument/2006/relationships/image" Target="../media/image9.png"/><Relationship Id="rId11" Type="http://schemas.openxmlformats.org/officeDocument/2006/relationships/image" Target="../media/image43.svg"/><Relationship Id="rId5" Type="http://schemas.openxmlformats.org/officeDocument/2006/relationships/image" Target="../media/image33.png"/><Relationship Id="rId15" Type="http://schemas.openxmlformats.org/officeDocument/2006/relationships/image" Target="../media/image39.svg"/><Relationship Id="rId10" Type="http://schemas.openxmlformats.org/officeDocument/2006/relationships/image" Target="../media/image42.png"/><Relationship Id="rId4" Type="http://schemas.openxmlformats.org/officeDocument/2006/relationships/notesSlide" Target="../notesSlides/notesSlide9.xml"/><Relationship Id="rId9" Type="http://schemas.openxmlformats.org/officeDocument/2006/relationships/image" Target="../media/image35.svg"/><Relationship Id="rId1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E2354EF-88AF-4F94-A95E-F46279720F9F}"/>
              </a:ext>
            </a:extLst>
          </p:cNvPr>
          <p:cNvSpPr>
            <a:spLocks noGrp="1"/>
          </p:cNvSpPr>
          <p:nvPr>
            <p:ph type="body" sz="quarter" idx="17"/>
          </p:nvPr>
        </p:nvSpPr>
        <p:spPr>
          <a:xfrm>
            <a:off x="3329295" y="2953511"/>
            <a:ext cx="4020340" cy="836677"/>
          </a:xfrm>
        </p:spPr>
        <p:txBody>
          <a:bodyPr/>
          <a:lstStyle/>
          <a:p>
            <a:pPr>
              <a:spcBef>
                <a:spcPts val="0"/>
              </a:spcBef>
            </a:pPr>
            <a:r>
              <a:rPr lang="en-US" dirty="0"/>
              <a:t>Dan Pleasant</a:t>
            </a:r>
          </a:p>
          <a:p>
            <a:pPr>
              <a:spcBef>
                <a:spcPts val="0"/>
              </a:spcBef>
            </a:pPr>
            <a:r>
              <a:rPr lang="en-US" dirty="0"/>
              <a:t>Jarrod Tsukada</a:t>
            </a:r>
          </a:p>
          <a:p>
            <a:pPr>
              <a:spcBef>
                <a:spcPts val="0"/>
              </a:spcBef>
            </a:pPr>
            <a:r>
              <a:rPr lang="en-US" dirty="0"/>
              <a:t>Kelly Caulk</a:t>
            </a:r>
          </a:p>
        </p:txBody>
      </p:sp>
      <p:sp>
        <p:nvSpPr>
          <p:cNvPr id="4" name="Text Placeholder 3">
            <a:extLst>
              <a:ext uri="{FF2B5EF4-FFF2-40B4-BE49-F238E27FC236}">
                <a16:creationId xmlns:a16="http://schemas.microsoft.com/office/drawing/2014/main" id="{1A9264F6-154F-4FCD-BBB3-C459A3ADE645}"/>
              </a:ext>
            </a:extLst>
          </p:cNvPr>
          <p:cNvSpPr>
            <a:spLocks noGrp="1"/>
          </p:cNvSpPr>
          <p:nvPr>
            <p:ph type="body" sz="quarter" idx="18"/>
          </p:nvPr>
        </p:nvSpPr>
        <p:spPr>
          <a:xfrm>
            <a:off x="7349638" y="2953512"/>
            <a:ext cx="1513062" cy="836676"/>
          </a:xfrm>
        </p:spPr>
        <p:txBody>
          <a:bodyPr/>
          <a:lstStyle/>
          <a:p>
            <a:r>
              <a:rPr lang="en-US" dirty="0"/>
              <a:t>September 2021</a:t>
            </a:r>
          </a:p>
        </p:txBody>
      </p:sp>
      <p:sp>
        <p:nvSpPr>
          <p:cNvPr id="5" name="Text Placeholder 4">
            <a:extLst>
              <a:ext uri="{FF2B5EF4-FFF2-40B4-BE49-F238E27FC236}">
                <a16:creationId xmlns:a16="http://schemas.microsoft.com/office/drawing/2014/main" id="{6F045F46-8A88-4D88-B390-270E330FCB85}"/>
              </a:ext>
            </a:extLst>
          </p:cNvPr>
          <p:cNvSpPr>
            <a:spLocks noGrp="1"/>
          </p:cNvSpPr>
          <p:nvPr>
            <p:ph type="body" sz="quarter" idx="19"/>
          </p:nvPr>
        </p:nvSpPr>
        <p:spPr>
          <a:xfrm>
            <a:off x="3329295" y="3790188"/>
            <a:ext cx="5533405" cy="402336"/>
          </a:xfrm>
        </p:spPr>
        <p:txBody>
          <a:bodyPr/>
          <a:lstStyle/>
          <a:p>
            <a:r>
              <a:rPr lang="en-US" dirty="0"/>
              <a:t>Keysight Technologies, Inc.</a:t>
            </a:r>
          </a:p>
        </p:txBody>
      </p:sp>
      <p:sp>
        <p:nvSpPr>
          <p:cNvPr id="2" name="Title 1">
            <a:extLst>
              <a:ext uri="{FF2B5EF4-FFF2-40B4-BE49-F238E27FC236}">
                <a16:creationId xmlns:a16="http://schemas.microsoft.com/office/drawing/2014/main" id="{0A514E67-E40F-41CB-9B53-C634BFE3E6D9}"/>
              </a:ext>
            </a:extLst>
          </p:cNvPr>
          <p:cNvSpPr>
            <a:spLocks noGrp="1"/>
          </p:cNvSpPr>
          <p:nvPr>
            <p:ph type="title"/>
          </p:nvPr>
        </p:nvSpPr>
        <p:spPr>
          <a:xfrm>
            <a:off x="1032507" y="1415416"/>
            <a:ext cx="10126980" cy="1336928"/>
          </a:xfrm>
        </p:spPr>
        <p:txBody>
          <a:bodyPr/>
          <a:lstStyle/>
          <a:p>
            <a:r>
              <a:rPr lang="en-US" dirty="0"/>
              <a:t>Testing Mixed-Use Networks – Insights into a Complex Test Process</a:t>
            </a:r>
          </a:p>
        </p:txBody>
      </p:sp>
      <p:pic>
        <p:nvPicPr>
          <p:cNvPr id="3" name="Audio 2">
            <a:hlinkClick r:id="" action="ppaction://media"/>
            <a:extLst>
              <a:ext uri="{FF2B5EF4-FFF2-40B4-BE49-F238E27FC236}">
                <a16:creationId xmlns:a16="http://schemas.microsoft.com/office/drawing/2014/main" id="{FF036798-5E95-48D4-B001-5D523841B64C}"/>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3797425574"/>
      </p:ext>
    </p:extLst>
  </p:cSld>
  <p:clrMapOvr>
    <a:masterClrMapping/>
  </p:clrMapOvr>
  <mc:AlternateContent xmlns:mc="http://schemas.openxmlformats.org/markup-compatibility/2006" xmlns:p14="http://schemas.microsoft.com/office/powerpoint/2010/main">
    <mc:Choice Requires="p14">
      <p:transition spd="med" p14:dur="700" advTm="30722">
        <p:fade/>
      </p:transition>
    </mc:Choice>
    <mc:Fallback xmlns="">
      <p:transition spd="med" advTm="3072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 name="Picture 70" descr="Graphical user interface&#10;&#10;Description automatically generated">
            <a:extLst>
              <a:ext uri="{FF2B5EF4-FFF2-40B4-BE49-F238E27FC236}">
                <a16:creationId xmlns:a16="http://schemas.microsoft.com/office/drawing/2014/main" id="{15C46869-B2F7-4362-A3EB-77839915B1E8}"/>
              </a:ext>
            </a:extLst>
          </p:cNvPr>
          <p:cNvPicPr>
            <a:picLocks noChangeAspect="1"/>
          </p:cNvPicPr>
          <p:nvPr/>
        </p:nvPicPr>
        <p:blipFill>
          <a:blip r:embed="rId5"/>
          <a:stretch>
            <a:fillRect/>
          </a:stretch>
        </p:blipFill>
        <p:spPr>
          <a:xfrm>
            <a:off x="4464263" y="2069024"/>
            <a:ext cx="7276633" cy="3183525"/>
          </a:xfrm>
          <a:prstGeom prst="rect">
            <a:avLst/>
          </a:prstGeom>
          <a:noFill/>
        </p:spPr>
      </p:pic>
      <p:sp>
        <p:nvSpPr>
          <p:cNvPr id="76" name="Content Placeholder 2">
            <a:extLst>
              <a:ext uri="{FF2B5EF4-FFF2-40B4-BE49-F238E27FC236}">
                <a16:creationId xmlns:a16="http://schemas.microsoft.com/office/drawing/2014/main" id="{20494FFB-F266-40E3-91E1-CB936088470F}"/>
              </a:ext>
            </a:extLst>
          </p:cNvPr>
          <p:cNvSpPr>
            <a:spLocks noGrp="1"/>
          </p:cNvSpPr>
          <p:nvPr>
            <p:ph sz="quarter" idx="14"/>
          </p:nvPr>
        </p:nvSpPr>
        <p:spPr>
          <a:xfrm>
            <a:off x="449580" y="1802869"/>
            <a:ext cx="3897695" cy="4479059"/>
          </a:xfrm>
        </p:spPr>
        <p:txBody>
          <a:bodyPr/>
          <a:lstStyle/>
          <a:p>
            <a:r>
              <a:rPr lang="en-US" dirty="0"/>
              <a:t>Autonomous devices can do wherever they want to</a:t>
            </a:r>
          </a:p>
          <a:p>
            <a:pPr lvl="1"/>
            <a:r>
              <a:rPr lang="en-US" dirty="0"/>
              <a:t>Test system must follow the DUT’s intended path</a:t>
            </a:r>
          </a:p>
          <a:p>
            <a:pPr lvl="1"/>
            <a:r>
              <a:rPr lang="en-US" dirty="0"/>
              <a:t>DUT may create signals at will without warning</a:t>
            </a:r>
          </a:p>
          <a:p>
            <a:r>
              <a:rPr lang="en-US" dirty="0"/>
              <a:t>Test system and DUT must have two-way communication and coordination</a:t>
            </a:r>
          </a:p>
          <a:p>
            <a:pPr lvl="1"/>
            <a:r>
              <a:rPr lang="en-US" dirty="0"/>
              <a:t>Requires test-specific hardware and software interfaces in both the test system and DUT</a:t>
            </a:r>
          </a:p>
          <a:p>
            <a:pPr lvl="1"/>
            <a:r>
              <a:rPr lang="en-US" dirty="0"/>
              <a:t>Must be designed and built in from the beginning of the project</a:t>
            </a:r>
          </a:p>
        </p:txBody>
      </p:sp>
      <p:sp>
        <p:nvSpPr>
          <p:cNvPr id="3" name="Text Placeholder 2">
            <a:extLst>
              <a:ext uri="{FF2B5EF4-FFF2-40B4-BE49-F238E27FC236}">
                <a16:creationId xmlns:a16="http://schemas.microsoft.com/office/drawing/2014/main" id="{1779A26C-D8AB-45D8-AC7C-7BF5D4DB31D6}"/>
              </a:ext>
            </a:extLst>
          </p:cNvPr>
          <p:cNvSpPr>
            <a:spLocks noGrp="1"/>
          </p:cNvSpPr>
          <p:nvPr>
            <p:ph type="body" sz="quarter" idx="13"/>
          </p:nvPr>
        </p:nvSpPr>
        <p:spPr>
          <a:xfrm>
            <a:off x="449201" y="920555"/>
            <a:ext cx="7453790" cy="393954"/>
          </a:xfrm>
        </p:spPr>
        <p:txBody>
          <a:bodyPr anchor="ctr">
            <a:normAutofit/>
          </a:bodyPr>
          <a:lstStyle/>
          <a:p>
            <a:r>
              <a:rPr lang="en-US" dirty="0"/>
              <a:t>…if devices are autonomous</a:t>
            </a:r>
          </a:p>
        </p:txBody>
      </p:sp>
      <p:sp>
        <p:nvSpPr>
          <p:cNvPr id="5" name="Title 4">
            <a:extLst>
              <a:ext uri="{FF2B5EF4-FFF2-40B4-BE49-F238E27FC236}">
                <a16:creationId xmlns:a16="http://schemas.microsoft.com/office/drawing/2014/main" id="{28B51311-A127-4B7C-94E1-AB4701822780}"/>
              </a:ext>
            </a:extLst>
          </p:cNvPr>
          <p:cNvSpPr>
            <a:spLocks noGrp="1"/>
          </p:cNvSpPr>
          <p:nvPr>
            <p:ph type="title"/>
          </p:nvPr>
        </p:nvSpPr>
        <p:spPr>
          <a:xfrm>
            <a:off x="449202" y="372339"/>
            <a:ext cx="11293597" cy="492443"/>
          </a:xfrm>
        </p:spPr>
        <p:txBody>
          <a:bodyPr anchor="t">
            <a:normAutofit/>
          </a:bodyPr>
          <a:lstStyle/>
          <a:p>
            <a:r>
              <a:rPr lang="en-US" dirty="0"/>
              <a:t>Testing RF</a:t>
            </a:r>
          </a:p>
        </p:txBody>
      </p:sp>
      <p:pic>
        <p:nvPicPr>
          <p:cNvPr id="4" name="Audio 3">
            <a:hlinkClick r:id="" action="ppaction://media"/>
            <a:extLst>
              <a:ext uri="{FF2B5EF4-FFF2-40B4-BE49-F238E27FC236}">
                <a16:creationId xmlns:a16="http://schemas.microsoft.com/office/drawing/2014/main" id="{8DAC2DD3-A86A-4D66-B47F-09340323EF97}"/>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1350704006"/>
      </p:ext>
    </p:extLst>
  </p:cSld>
  <p:clrMapOvr>
    <a:masterClrMapping/>
  </p:clrMapOvr>
  <mc:AlternateContent xmlns:mc="http://schemas.openxmlformats.org/markup-compatibility/2006" xmlns:p14="http://schemas.microsoft.com/office/powerpoint/2010/main">
    <mc:Choice Requires="p14">
      <p:transition spd="slow" p14:dur="2000" advTm="67761"/>
    </mc:Choice>
    <mc:Fallback xmlns="">
      <p:transition spd="slow" advTm="6776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extLst>
    <p:ext uri="{3A86A75C-4F4B-4683-9AE1-C65F6400EC91}">
      <p14:laserTraceLst xmlns:p14="http://schemas.microsoft.com/office/powerpoint/2010/main">
        <p14:tracePtLst>
          <p14:tracePt t="59328" x="314325" y="1216025"/>
          <p14:tracePt t="59336" x="441325" y="1231900"/>
          <p14:tracePt t="59344" x="569913" y="1257300"/>
          <p14:tracePt t="59352" x="646113" y="1266825"/>
          <p14:tracePt t="59360" x="714375" y="1266825"/>
          <p14:tracePt t="59368" x="773113" y="1266825"/>
          <p14:tracePt t="59376" x="790575" y="1266825"/>
          <p14:tracePt t="59384" x="815975" y="1266825"/>
          <p14:tracePt t="59425" x="815975" y="1257300"/>
          <p14:tracePt t="59433" x="798513" y="1257300"/>
          <p14:tracePt t="59441" x="765175" y="1241425"/>
          <p14:tracePt t="59449" x="730250" y="1231900"/>
          <p14:tracePt t="59458" x="671513" y="1231900"/>
          <p14:tracePt t="59465" x="646113" y="1223963"/>
          <p14:tracePt t="59473" x="595313" y="1223963"/>
          <p14:tracePt t="59481" x="577850" y="1223963"/>
          <p14:tracePt t="59489" x="552450" y="1223963"/>
          <p14:tracePt t="59497" x="534988" y="1223963"/>
          <p14:tracePt t="59505" x="527050" y="1223963"/>
          <p14:tracePt t="59513" x="509588" y="1223963"/>
          <p14:tracePt t="59585" x="509588" y="1216025"/>
          <p14:tracePt t="59593" x="492125" y="1206500"/>
          <p14:tracePt t="59601" x="476250" y="1181100"/>
          <p14:tracePt t="59609" x="458788" y="1163638"/>
          <p14:tracePt t="59617" x="441325" y="1147763"/>
          <p14:tracePt t="59628" x="433388" y="1130300"/>
          <p14:tracePt t="59633" x="407988" y="1112838"/>
          <p14:tracePt t="59643" x="382588" y="1104900"/>
          <p14:tracePt t="59649" x="365125" y="1087438"/>
          <p14:tracePt t="59658" x="347663" y="1079500"/>
          <p14:tracePt t="59666" x="339725" y="1079500"/>
          <p14:tracePt t="59673" x="331788" y="1069975"/>
          <p14:tracePt t="59696" x="322263" y="1069975"/>
          <p14:tracePt t="59842" x="314325" y="1062038"/>
          <p14:tracePt t="59849" x="296863" y="1062038"/>
          <p14:tracePt t="59858" x="246063" y="1054100"/>
          <p14:tracePt t="59865" x="203200" y="1044575"/>
          <p14:tracePt t="59874" x="119063" y="1036638"/>
          <p14:tracePt t="59881" x="50800" y="993775"/>
          <p14:tracePt t="67761" x="4298950" y="203200"/>
          <p14:tracePt t="67761" x="4392613" y="306388"/>
          <p14:tracePt t="67761" x="4519613" y="433388"/>
          <p14:tracePt t="67761" x="4587875" y="544513"/>
          <p14:tracePt t="67761" x="4638675" y="671513"/>
          <p14:tracePt t="67761" x="4673600" y="798513"/>
          <p14:tracePt t="67761" x="4681538" y="942975"/>
          <p14:tracePt t="67761" x="4740275" y="1189038"/>
          <p14:tracePt t="67761" x="4765675" y="1350963"/>
          <p14:tracePt t="67761" x="4818063" y="1631950"/>
          <p14:tracePt t="67761" x="4843463" y="1751013"/>
          <p14:tracePt t="67761" x="4859338" y="1878013"/>
          <p14:tracePt t="67761" x="4868863" y="1938338"/>
          <p14:tracePt t="67761" x="4868863" y="1979613"/>
          <p14:tracePt t="67761" x="4876800" y="1989138"/>
          <p14:tracePt t="67761" x="4876800" y="1971675"/>
          <p14:tracePt t="67761" x="4876800" y="1928813"/>
          <p14:tracePt t="67761" x="4868863" y="1852613"/>
          <p14:tracePt t="67761" x="4859338" y="1776413"/>
          <p14:tracePt t="67761" x="4859338" y="1690688"/>
          <p14:tracePt t="67761" x="4859338" y="1639888"/>
          <p14:tracePt t="67761" x="4859338" y="1589088"/>
          <p14:tracePt t="67761" x="4876800" y="1555750"/>
          <p14:tracePt t="67761" x="4884738" y="1555750"/>
          <p14:tracePt t="67761" x="4894263" y="1555750"/>
          <p14:tracePt t="67761" x="4902200" y="1555750"/>
          <p14:tracePt t="67761" x="4910138" y="1555750"/>
          <p14:tracePt t="67761" x="4902200" y="1555750"/>
          <p14:tracePt t="67761" x="4894263" y="1555750"/>
          <p14:tracePt t="67761" x="4884738" y="1555750"/>
          <p14:tracePt t="67761" x="4868863" y="1555750"/>
          <p14:tracePt t="67761" x="4851400" y="1555750"/>
          <p14:tracePt t="67761" x="4843463" y="1555750"/>
          <p14:tracePt t="67761" x="4826000" y="1563688"/>
          <p14:tracePt t="67761" x="4818063" y="1563688"/>
          <p14:tracePt t="67761" x="4808538" y="1563688"/>
          <p14:tracePt t="67761" x="4800600" y="1563688"/>
          <p14:tracePt t="67761" x="4791075" y="1563688"/>
          <p14:tracePt t="67761" x="4791075" y="1571625"/>
          <p14:tracePt t="67761" x="4783138" y="1571625"/>
          <p14:tracePt t="67761" x="4775200" y="1571625"/>
          <p14:tracePt t="67761" x="4765675" y="1581150"/>
          <p14:tracePt t="67761" x="4749800" y="1589088"/>
          <p14:tracePt t="67761" x="4732338" y="1597025"/>
          <p14:tracePt t="67761" x="4706938" y="1597025"/>
          <p14:tracePt t="67761" x="4673600" y="1631950"/>
          <p14:tracePt t="67761" x="4638675" y="1649413"/>
          <p14:tracePt t="67761" x="4570413" y="1700213"/>
          <p14:tracePt t="67761" x="4519613" y="1741488"/>
          <p14:tracePt t="67761" x="4443413" y="1793875"/>
          <p14:tracePt t="67761" x="4384675" y="1835150"/>
          <p14:tracePt t="67761" x="4316413" y="1895475"/>
          <p14:tracePt t="67761" x="4240213" y="1938338"/>
          <p14:tracePt t="67761" x="4146550" y="1979613"/>
          <p14:tracePt t="67761" x="4095750" y="2022475"/>
          <p14:tracePt t="67761" x="4035425" y="2065338"/>
          <p14:tracePt t="67761" x="3967163" y="2133600"/>
          <p14:tracePt t="67761" x="3890963" y="2174875"/>
          <p14:tracePt t="67761" x="3746500" y="2311400"/>
          <p14:tracePt t="67761" x="3586163" y="2455863"/>
          <p14:tracePt t="67761" x="3355975" y="2701925"/>
          <p14:tracePt t="67761" x="3109913" y="2906713"/>
          <p14:tracePt t="67761" x="2863850" y="3160713"/>
          <p14:tracePt t="67761" x="2557463" y="3467100"/>
          <p14:tracePt t="67761" x="2413000" y="3629025"/>
          <p14:tracePt t="67761" x="2225675" y="3798888"/>
          <p14:tracePt t="67761" x="2157413" y="3867150"/>
          <p14:tracePt t="67761" x="2090738" y="3917950"/>
          <p14:tracePt t="67761" x="2055813" y="3935413"/>
          <p14:tracePt t="67761" x="2047875" y="3935413"/>
          <p14:tracePt t="67761" x="2065338" y="3900488"/>
          <p14:tracePt t="67761" x="2132013" y="3832225"/>
          <p14:tracePt t="67761" x="2217738" y="3748088"/>
          <p14:tracePt t="67761" x="2362200" y="3619500"/>
          <p14:tracePt t="67761" x="2455863" y="3527425"/>
          <p14:tracePt t="67761" x="2582863" y="3398838"/>
          <p14:tracePt t="67761" x="2651125" y="3314700"/>
          <p14:tracePt t="67761" x="2719388" y="3263900"/>
          <p14:tracePt t="67761" x="2625725" y="3263900"/>
          <p14:tracePt t="67761" x="2455863" y="3263900"/>
          <p14:tracePt t="67761" x="2182813" y="3228975"/>
          <p14:tracePt t="67761" x="2012950" y="3203575"/>
          <p14:tracePt t="67761" x="1962150" y="3203575"/>
          <p14:tracePt t="67761" x="1946275" y="3203575"/>
          <p14:tracePt t="67761" x="1946275" y="3221038"/>
          <p14:tracePt t="67761" x="1954213" y="3238500"/>
          <p14:tracePt t="67761" x="1997075" y="3279775"/>
          <p14:tracePt t="67761" x="2090738" y="3314700"/>
          <p14:tracePt t="67761" x="2301875" y="3322638"/>
          <p14:tracePt t="67761" x="2446338" y="3322638"/>
          <p14:tracePt t="67761" x="2786063" y="3322638"/>
          <p14:tracePt t="67761" x="3244850" y="3322638"/>
          <p14:tracePt t="67761" x="3883025" y="3322638"/>
          <p14:tracePt t="67761" x="4851400" y="3322638"/>
          <p14:tracePt t="67761" x="5573713" y="3322638"/>
          <p14:tracePt t="67761" x="6430963" y="3322638"/>
          <p14:tracePt t="67761" x="7145338" y="3322638"/>
          <p14:tracePt t="67761" x="8121650" y="3322638"/>
          <p14:tracePt t="67761" x="8810625" y="3322638"/>
          <p14:tracePt t="67761" x="9532938" y="3289300"/>
          <p14:tracePt t="67761" x="10025063" y="3289300"/>
          <p14:tracePt t="67761" x="10602913" y="3289300"/>
          <p14:tracePt t="67761" x="10891838" y="3289300"/>
          <p14:tracePt t="67761" x="11122025" y="3289300"/>
          <p14:tracePt t="67761" x="11299825" y="3289300"/>
          <p14:tracePt t="67761" x="11385550" y="3289300"/>
          <p14:tracePt t="67761" x="11487150" y="3305175"/>
          <p14:tracePt t="67761" x="11520488" y="3314700"/>
          <p14:tracePt t="67761" x="11537950" y="3322638"/>
          <p14:tracePt t="67761" x="11545888" y="3330575"/>
          <p14:tracePt t="67761" x="11555413" y="3340100"/>
          <p14:tracePt t="67761" x="11563350" y="3355975"/>
          <p14:tracePt t="67761" x="11563350" y="3373438"/>
          <p14:tracePt t="67761" x="11520488" y="3382963"/>
          <p14:tracePt t="67761" x="11461750" y="3365500"/>
          <p14:tracePt t="67761" x="11385550" y="3322638"/>
          <p14:tracePt t="67761" x="11342688" y="3314700"/>
          <p14:tracePt t="67761" x="11299825" y="3314700"/>
          <p14:tracePt t="67761" x="11241088" y="3305175"/>
          <p14:tracePt t="67761" x="11180763" y="3305175"/>
          <p14:tracePt t="67761" x="11137900" y="3305175"/>
          <p14:tracePt t="67761" x="11112500" y="3305175"/>
          <p14:tracePt t="67761" x="11129963" y="3305175"/>
          <p14:tracePt t="67761" x="11163300" y="3305175"/>
          <p14:tracePt t="67761" x="11206163" y="3305175"/>
          <p14:tracePt t="67761" x="11266488" y="3305175"/>
          <p14:tracePt t="67761" x="11333163" y="3305175"/>
          <p14:tracePt t="67761" x="11418888" y="3322638"/>
          <p14:tracePt t="67761" x="11555413" y="3355975"/>
          <p14:tracePt t="67761" x="11664950" y="3390900"/>
          <p14:tracePt t="67761" x="11809413" y="3398838"/>
          <p14:tracePt t="67761" x="11911013" y="3416300"/>
          <p14:tracePt t="67761" x="12022138" y="3424238"/>
          <p14:tracePt t="67761" x="12098338" y="3433763"/>
          <p14:tracePt t="67761" x="12158663" y="3433763"/>
          <p14:tracePt t="67761" x="11393488" y="3382963"/>
          <p14:tracePt t="67761" x="10823575" y="3279775"/>
          <p14:tracePt t="67761" x="9974263" y="3094038"/>
          <p14:tracePt t="67761" x="9286875" y="2889250"/>
          <p14:tracePt t="67761" x="8385175" y="2566988"/>
          <p14:tracePt t="67761" x="7662863" y="2311400"/>
          <p14:tracePt t="67761" x="7043738" y="2184400"/>
          <p14:tracePt t="67761" x="6245225" y="1979613"/>
          <p14:tracePt t="67761" x="5743575" y="1793875"/>
          <p14:tracePt t="67761" x="5191125" y="1555750"/>
          <p14:tracePt t="67761" x="4757738" y="1419225"/>
          <p14:tracePt t="67761" x="4291013" y="1241425"/>
          <p14:tracePt t="67761" x="3976688" y="1163638"/>
          <p14:tracePt t="67761" x="3644900" y="1130300"/>
          <p14:tracePt t="67761" x="3517900" y="1122363"/>
          <p14:tracePt t="67761" x="3406775" y="1122363"/>
          <p14:tracePt t="67761" x="3389313" y="1122363"/>
          <p14:tracePt t="67761" x="3457575" y="1122363"/>
          <p14:tracePt t="67761" x="3467100" y="1122363"/>
          <p14:tracePt t="67761" x="3449638" y="1122363"/>
          <p14:tracePt t="67761" x="3432175" y="1069975"/>
          <p14:tracePt t="67761" x="3381375" y="1069975"/>
          <p14:tracePt t="67761" x="3297238" y="1069975"/>
          <p14:tracePt t="67761" x="3074988" y="1069975"/>
          <p14:tracePt t="67761" x="2863850" y="1036638"/>
          <p14:tracePt t="67761" x="2413000" y="960438"/>
          <p14:tracePt t="67761" x="1979613" y="841375"/>
          <p14:tracePt t="67761" x="1546225" y="704850"/>
          <p14:tracePt t="67761" x="858838" y="527050"/>
          <p14:tracePt t="67761" x="390525" y="322263"/>
        </p14:tracePtLst>
      </p14:laserTraceLst>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913F03C-0150-4B38-A92F-77F6B0E7404C}"/>
              </a:ext>
            </a:extLst>
          </p:cNvPr>
          <p:cNvSpPr>
            <a:spLocks noGrp="1"/>
          </p:cNvSpPr>
          <p:nvPr>
            <p:ph sz="quarter" idx="14"/>
          </p:nvPr>
        </p:nvSpPr>
        <p:spPr>
          <a:xfrm>
            <a:off x="573148" y="1298786"/>
            <a:ext cx="8232866" cy="5277394"/>
          </a:xfrm>
        </p:spPr>
        <p:txBody>
          <a:bodyPr/>
          <a:lstStyle/>
          <a:p>
            <a:r>
              <a:rPr lang="en-US" dirty="0"/>
              <a:t>Control plane network (content delivery management)</a:t>
            </a:r>
          </a:p>
          <a:p>
            <a:pPr lvl="1"/>
            <a:r>
              <a:rPr lang="en-US" dirty="0"/>
              <a:t>Protocol conformance: given input = expected output</a:t>
            </a:r>
          </a:p>
          <a:p>
            <a:pPr lvl="1"/>
            <a:r>
              <a:rPr lang="en-US" dirty="0"/>
              <a:t>Protocol fuzzing: unexpected input = expected output</a:t>
            </a:r>
          </a:p>
          <a:p>
            <a:pPr lvl="1"/>
            <a:r>
              <a:rPr lang="en-US" dirty="0"/>
              <a:t>Scalability baseline: attach rate and concurrent connections</a:t>
            </a:r>
          </a:p>
          <a:p>
            <a:pPr lvl="1"/>
            <a:r>
              <a:rPr lang="en-US" dirty="0"/>
              <a:t>Interoperability: vendor-lock vs open standard</a:t>
            </a:r>
          </a:p>
          <a:p>
            <a:pPr lvl="1"/>
            <a:r>
              <a:rPr lang="en-US" dirty="0"/>
              <a:t>Relevant network architectures: tactical links, software defined networks, zero trust, cross-domain, 5G, satellite, WiFi, multicast, IPv4/IPv6 routing, tunneling techniques</a:t>
            </a:r>
          </a:p>
          <a:p>
            <a:r>
              <a:rPr lang="en-US" dirty="0"/>
              <a:t>Data plane network (content delivery)</a:t>
            </a:r>
          </a:p>
          <a:p>
            <a:pPr lvl="1"/>
            <a:r>
              <a:rPr lang="en-US" dirty="0"/>
              <a:t>Throughput at line-rate</a:t>
            </a:r>
          </a:p>
          <a:p>
            <a:pPr lvl="1"/>
            <a:r>
              <a:rPr lang="en-US" dirty="0"/>
              <a:t>Latency/jitter with nanosecond resolution</a:t>
            </a:r>
          </a:p>
          <a:p>
            <a:pPr lvl="1"/>
            <a:r>
              <a:rPr lang="en-US" dirty="0"/>
              <a:t>Packet loss with acceptable tolerance</a:t>
            </a:r>
          </a:p>
          <a:p>
            <a:pPr lvl="1"/>
            <a:r>
              <a:rPr lang="en-US" dirty="0"/>
              <a:t>Encryption/decryption information assurance</a:t>
            </a:r>
          </a:p>
          <a:p>
            <a:pPr lvl="1"/>
            <a:r>
              <a:rPr lang="en-US" dirty="0"/>
              <a:t>Quality of service adherence</a:t>
            </a:r>
          </a:p>
          <a:p>
            <a:pPr lvl="1"/>
            <a:r>
              <a:rPr lang="en-US" dirty="0"/>
              <a:t>Quality of experience under ideal conditions</a:t>
            </a:r>
          </a:p>
          <a:p>
            <a:pPr marL="182880" lvl="1" indent="0">
              <a:buNone/>
            </a:pPr>
            <a:endParaRPr lang="en-US" sz="1600" dirty="0"/>
          </a:p>
          <a:p>
            <a:pPr marL="182880" lvl="1" indent="0">
              <a:buNone/>
            </a:pPr>
            <a:endParaRPr lang="en-US" sz="1600" dirty="0"/>
          </a:p>
        </p:txBody>
      </p:sp>
      <p:sp>
        <p:nvSpPr>
          <p:cNvPr id="3" name="Text Placeholder 2">
            <a:extLst>
              <a:ext uri="{FF2B5EF4-FFF2-40B4-BE49-F238E27FC236}">
                <a16:creationId xmlns:a16="http://schemas.microsoft.com/office/drawing/2014/main" id="{48756645-6AE2-42D9-A741-1319BAB0A424}"/>
              </a:ext>
            </a:extLst>
          </p:cNvPr>
          <p:cNvSpPr>
            <a:spLocks noGrp="1"/>
          </p:cNvSpPr>
          <p:nvPr>
            <p:ph type="body" sz="quarter" idx="13"/>
          </p:nvPr>
        </p:nvSpPr>
        <p:spPr>
          <a:xfrm>
            <a:off x="449201" y="920555"/>
            <a:ext cx="7453790" cy="322458"/>
          </a:xfrm>
        </p:spPr>
        <p:txBody>
          <a:bodyPr/>
          <a:lstStyle/>
          <a:p>
            <a:r>
              <a:rPr lang="en-US" dirty="0"/>
              <a:t>…in normal operation</a:t>
            </a:r>
          </a:p>
        </p:txBody>
      </p:sp>
      <p:sp>
        <p:nvSpPr>
          <p:cNvPr id="5" name="Title 4">
            <a:extLst>
              <a:ext uri="{FF2B5EF4-FFF2-40B4-BE49-F238E27FC236}">
                <a16:creationId xmlns:a16="http://schemas.microsoft.com/office/drawing/2014/main" id="{3C178E79-870B-40DD-947F-0CA22992E209}"/>
              </a:ext>
            </a:extLst>
          </p:cNvPr>
          <p:cNvSpPr>
            <a:spLocks noGrp="1"/>
          </p:cNvSpPr>
          <p:nvPr>
            <p:ph type="title"/>
          </p:nvPr>
        </p:nvSpPr>
        <p:spPr/>
        <p:txBody>
          <a:bodyPr/>
          <a:lstStyle/>
          <a:p>
            <a:r>
              <a:rPr lang="en-US" dirty="0"/>
              <a:t>Testing</a:t>
            </a:r>
            <a:r>
              <a:rPr lang="en-US" baseline="0" dirty="0"/>
              <a:t> IP</a:t>
            </a:r>
            <a:endParaRPr lang="en-US" dirty="0"/>
          </a:p>
        </p:txBody>
      </p:sp>
      <p:pic>
        <p:nvPicPr>
          <p:cNvPr id="8" name="Picture 7" descr="page8image1126900208">
            <a:extLst>
              <a:ext uri="{FF2B5EF4-FFF2-40B4-BE49-F238E27FC236}">
                <a16:creationId xmlns:a16="http://schemas.microsoft.com/office/drawing/2014/main" id="{5B142371-07AA-B845-A6BB-9D32AF18EBC5}"/>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8682446" y="732276"/>
            <a:ext cx="3524972" cy="174929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page30image1255970384">
            <a:extLst>
              <a:ext uri="{FF2B5EF4-FFF2-40B4-BE49-F238E27FC236}">
                <a16:creationId xmlns:a16="http://schemas.microsoft.com/office/drawing/2014/main" id="{854A336E-A2B1-447D-9890-0B28210119EF}"/>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8682446" y="3734273"/>
            <a:ext cx="3648540" cy="1916344"/>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16FC1F7C-8A81-487F-BD24-73ACDF386124}"/>
              </a:ext>
            </a:extLst>
          </p:cNvPr>
          <p:cNvSpPr/>
          <p:nvPr/>
        </p:nvSpPr>
        <p:spPr>
          <a:xfrm>
            <a:off x="9422733" y="2450080"/>
            <a:ext cx="2167966" cy="646331"/>
          </a:xfrm>
          <a:prstGeom prst="rect">
            <a:avLst/>
          </a:prstGeom>
        </p:spPr>
        <p:txBody>
          <a:bodyPr wrap="square">
            <a:spAutoFit/>
          </a:bodyPr>
          <a:lstStyle/>
          <a:p>
            <a:pPr algn="ctr"/>
            <a:r>
              <a:rPr lang="en-US" dirty="0"/>
              <a:t>Protocol emulation and analysis</a:t>
            </a:r>
          </a:p>
        </p:txBody>
      </p:sp>
      <p:sp>
        <p:nvSpPr>
          <p:cNvPr id="14" name="Rectangle 13">
            <a:extLst>
              <a:ext uri="{FF2B5EF4-FFF2-40B4-BE49-F238E27FC236}">
                <a16:creationId xmlns:a16="http://schemas.microsoft.com/office/drawing/2014/main" id="{DD9FA8D4-3271-4C28-AB69-87BB38F984E6}"/>
              </a:ext>
            </a:extLst>
          </p:cNvPr>
          <p:cNvSpPr/>
          <p:nvPr/>
        </p:nvSpPr>
        <p:spPr>
          <a:xfrm>
            <a:off x="9135116" y="5553548"/>
            <a:ext cx="2743199" cy="646331"/>
          </a:xfrm>
          <a:prstGeom prst="rect">
            <a:avLst/>
          </a:prstGeom>
        </p:spPr>
        <p:txBody>
          <a:bodyPr wrap="square">
            <a:spAutoFit/>
          </a:bodyPr>
          <a:lstStyle/>
          <a:p>
            <a:pPr algn="ctr"/>
            <a:r>
              <a:rPr lang="en-US" dirty="0"/>
              <a:t>IP/multimedia traffic generation and analysis</a:t>
            </a:r>
          </a:p>
        </p:txBody>
      </p:sp>
      <p:pic>
        <p:nvPicPr>
          <p:cNvPr id="10" name="Audio 9">
            <a:hlinkClick r:id="" action="ppaction://media"/>
            <a:extLst>
              <a:ext uri="{FF2B5EF4-FFF2-40B4-BE49-F238E27FC236}">
                <a16:creationId xmlns:a16="http://schemas.microsoft.com/office/drawing/2014/main" id="{F622DC65-C047-42F6-B2E1-7B52E349919D}"/>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1467942697"/>
      </p:ext>
    </p:extLst>
  </p:cSld>
  <p:clrMapOvr>
    <a:masterClrMapping/>
  </p:clrMapOvr>
  <mc:AlternateContent xmlns:mc="http://schemas.openxmlformats.org/markup-compatibility/2006" xmlns:p14="http://schemas.microsoft.com/office/powerpoint/2010/main">
    <mc:Choice Requires="p14">
      <p:transition spd="slow" p14:dur="2000" advTm="157338"/>
    </mc:Choice>
    <mc:Fallback xmlns="">
      <p:transition spd="slow" advTm="15733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0"/>
                </p:tgtEl>
              </p:cMediaNode>
            </p:audio>
          </p:childTnLst>
        </p:cTn>
      </p:par>
    </p:tnLst>
  </p:timing>
  <p:extLst>
    <p:ext uri="{3A86A75C-4F4B-4683-9AE1-C65F6400EC91}">
      <p14:laserTraceLst xmlns:p14="http://schemas.microsoft.com/office/powerpoint/2010/main">
        <p14:tracePtLst>
          <p14:tracePt t="3849" x="50800" y="730250"/>
          <p14:tracePt t="3857" x="85725" y="747713"/>
          <p14:tracePt t="3865" x="119063" y="773113"/>
          <p14:tracePt t="3873" x="136525" y="781050"/>
          <p14:tracePt t="3881" x="152400" y="781050"/>
          <p14:tracePt t="3897" x="169863" y="781050"/>
          <p14:tracePt t="3905" x="187325" y="781050"/>
          <p14:tracePt t="3913" x="203200" y="781050"/>
          <p14:tracePt t="3921" x="238125" y="781050"/>
          <p14:tracePt t="3929" x="280988" y="781050"/>
          <p14:tracePt t="3937" x="382588" y="781050"/>
          <p14:tracePt t="3945" x="466725" y="781050"/>
          <p14:tracePt t="3953" x="585788" y="781050"/>
          <p14:tracePt t="3961" x="688975" y="781050"/>
          <p14:tracePt t="3969" x="815975" y="781050"/>
          <p14:tracePt t="3977" x="900113" y="781050"/>
          <p14:tracePt t="3996" x="1036638" y="773113"/>
          <p14:tracePt t="4001" x="1079500" y="773113"/>
          <p14:tracePt t="4009" x="1138238" y="765175"/>
          <p14:tracePt t="4017" x="1163638" y="755650"/>
          <p14:tracePt t="4025" x="1181100" y="747713"/>
          <p14:tracePt t="4033" x="1198563" y="747713"/>
          <p14:tracePt t="4041" x="1214438" y="747713"/>
          <p14:tracePt t="4057" x="1231900" y="739775"/>
          <p14:tracePt t="4065" x="1239838" y="739775"/>
          <p14:tracePt t="4073" x="1257300" y="739775"/>
          <p14:tracePt t="4081" x="1282700" y="730250"/>
          <p14:tracePt t="4089" x="1308100" y="730250"/>
          <p14:tracePt t="4097" x="1333500" y="730250"/>
          <p14:tracePt t="4105" x="1376363" y="730250"/>
          <p14:tracePt t="4113" x="1435100" y="730250"/>
          <p14:tracePt t="4121" x="1495425" y="730250"/>
          <p14:tracePt t="4129" x="1579563" y="730250"/>
          <p14:tracePt t="4137" x="1639888" y="747713"/>
          <p14:tracePt t="4145" x="1698625" y="755650"/>
          <p14:tracePt t="4153" x="1758950" y="765175"/>
          <p14:tracePt t="4162" x="1792288" y="765175"/>
          <p14:tracePt t="4169" x="1809750" y="765175"/>
          <p14:tracePt t="4177" x="1827213" y="773113"/>
          <p14:tracePt t="4185" x="1843088" y="773113"/>
          <p14:tracePt t="4201" x="1860550" y="773113"/>
          <p14:tracePt t="4209" x="1878013" y="773113"/>
          <p14:tracePt t="4217" x="1885950" y="773113"/>
          <p14:tracePt t="4225" x="1903413" y="773113"/>
          <p14:tracePt t="4233" x="1911350" y="773113"/>
          <p14:tracePt t="4241" x="1928813" y="765175"/>
          <p14:tracePt t="4249" x="1936750" y="765175"/>
          <p14:tracePt t="4809" x="1946275" y="755650"/>
          <p14:tracePt t="4818" x="1962150" y="755650"/>
          <p14:tracePt t="4825" x="1979613" y="755650"/>
          <p14:tracePt t="4833" x="1997075" y="755650"/>
          <p14:tracePt t="4841" x="2022475" y="747713"/>
          <p14:tracePt t="4849" x="2055813" y="747713"/>
          <p14:tracePt t="4858" x="2073275" y="747713"/>
          <p14:tracePt t="4866" x="2090738" y="747713"/>
          <p14:tracePt t="4873" x="2132013" y="747713"/>
          <p14:tracePt t="4882" x="2174875" y="747713"/>
          <p14:tracePt t="4890" x="2235200" y="747713"/>
          <p14:tracePt t="4898" x="2293938" y="747713"/>
          <p14:tracePt t="4906" x="2379663" y="747713"/>
          <p14:tracePt t="4914" x="2446338" y="747713"/>
          <p14:tracePt t="4922" x="2506663" y="747713"/>
          <p14:tracePt t="4931" x="2590800" y="747713"/>
          <p14:tracePt t="4939" x="2676525" y="747713"/>
          <p14:tracePt t="4948" x="2778125" y="747713"/>
          <p14:tracePt t="4954" x="2846388" y="747713"/>
          <p14:tracePt t="4963" x="2930525" y="730250"/>
          <p14:tracePt t="4970" x="3008313" y="730250"/>
          <p14:tracePt t="4978" x="3092450" y="730250"/>
          <p14:tracePt t="4986" x="3152775" y="730250"/>
          <p14:tracePt t="4994" x="3194050" y="730250"/>
          <p14:tracePt t="5001" x="3228975" y="730250"/>
          <p14:tracePt t="5015" x="3236913" y="730250"/>
          <p14:tracePt t="5026" x="3244850" y="730250"/>
          <p14:tracePt t="5602" x="3254375" y="722313"/>
          <p14:tracePt t="5610" x="3262313" y="714375"/>
          <p14:tracePt t="5618" x="3297238" y="714375"/>
          <p14:tracePt t="5626" x="3330575" y="696913"/>
          <p14:tracePt t="5634" x="3348038" y="688975"/>
          <p14:tracePt t="5642" x="3363913" y="671513"/>
          <p14:tracePt t="5650" x="3373438" y="671513"/>
          <p14:tracePt t="5658" x="3389313" y="646113"/>
          <p14:tracePt t="5667" x="3398838" y="611188"/>
          <p14:tracePt t="5674" x="3398838" y="585788"/>
          <p14:tracePt t="5682" x="3398838" y="577850"/>
          <p14:tracePt t="5842" x="3389313" y="560388"/>
          <p14:tracePt t="5850" x="3389313" y="552450"/>
          <p14:tracePt t="5858" x="3381375" y="534988"/>
          <p14:tracePt t="5874" x="3381375" y="527050"/>
          <p14:tracePt t="5898" x="3381375" y="519113"/>
          <p14:tracePt t="5994" x="3373438" y="519113"/>
          <p14:tracePt t="6002" x="3363913" y="519113"/>
          <p14:tracePt t="7170" x="3406775" y="544513"/>
          <p14:tracePt t="7180" x="3525838" y="628650"/>
          <p14:tracePt t="7186" x="3670300" y="747713"/>
          <p14:tracePt t="7195" x="3890963" y="968375"/>
          <p14:tracePt t="7202" x="4103688" y="1147763"/>
          <p14:tracePt t="7210" x="4503738" y="1411288"/>
          <p14:tracePt t="7218" x="4724400" y="1589088"/>
          <p14:tracePt t="7226" x="4876800" y="1716088"/>
          <p14:tracePt t="7234" x="5080000" y="1878013"/>
          <p14:tracePt t="7242" x="5224463" y="1954213"/>
          <p14:tracePt t="7250" x="5446713" y="2065338"/>
          <p14:tracePt t="7258" x="5573713" y="2124075"/>
          <p14:tracePt t="7267" x="5718175" y="2159000"/>
          <p14:tracePt t="7274" x="5827713" y="2174875"/>
          <p14:tracePt t="7282" x="5930900" y="2184400"/>
          <p14:tracePt t="7290" x="5997575" y="2184400"/>
          <p14:tracePt t="7298" x="6049963" y="2184400"/>
          <p14:tracePt t="7306" x="6091238" y="2184400"/>
          <p14:tracePt t="7314" x="6116638" y="2192338"/>
          <p14:tracePt t="7322" x="6126163" y="2192338"/>
          <p14:tracePt t="7330" x="6134100" y="2209800"/>
          <p14:tracePt t="7338" x="6134100" y="2217738"/>
          <p14:tracePt t="7346" x="6134100" y="2227263"/>
          <p14:tracePt t="7354" x="6116638" y="2227263"/>
          <p14:tracePt t="7586" x="6108700" y="2227263"/>
          <p14:tracePt t="7594" x="6108700" y="2235200"/>
          <p14:tracePt t="7610" x="6116638" y="2252663"/>
          <p14:tracePt t="7618" x="6116638" y="2260600"/>
          <p14:tracePt t="7626" x="6126163" y="2268538"/>
          <p14:tracePt t="7634" x="6142038" y="2286000"/>
          <p14:tracePt t="7642" x="6167438" y="2303463"/>
          <p14:tracePt t="7650" x="6184900" y="2311400"/>
          <p14:tracePt t="7658" x="6219825" y="2336800"/>
          <p14:tracePt t="7666" x="6270625" y="2379663"/>
          <p14:tracePt t="7673" x="6329363" y="2405063"/>
          <p14:tracePt t="7683" x="6430963" y="2455863"/>
          <p14:tracePt t="7690" x="6550025" y="2489200"/>
          <p14:tracePt t="7698" x="6719888" y="2541588"/>
          <p14:tracePt t="7706" x="6881813" y="2566988"/>
          <p14:tracePt t="7713" x="7119938" y="2557463"/>
          <p14:tracePt t="7722" x="7340600" y="2516188"/>
          <p14:tracePt t="7730" x="7545388" y="2455863"/>
          <p14:tracePt t="7738" x="7781925" y="2379663"/>
          <p14:tracePt t="7746" x="7926388" y="2336800"/>
          <p14:tracePt t="7754" x="8096250" y="2278063"/>
          <p14:tracePt t="7766" x="8189913" y="2227263"/>
          <p14:tracePt t="7770" x="8291513" y="2184400"/>
          <p14:tracePt t="7780" x="8351838" y="2149475"/>
          <p14:tracePt t="7786" x="8410575" y="2124075"/>
          <p14:tracePt t="7794" x="8453438" y="2090738"/>
          <p14:tracePt t="7801" x="8462963" y="2082800"/>
          <p14:tracePt t="7809" x="8470900" y="2073275"/>
          <p14:tracePt t="7818" x="8478838" y="2065338"/>
          <p14:tracePt t="7826" x="8478838" y="2055813"/>
          <p14:tracePt t="7882" x="8488363" y="2055813"/>
          <p14:tracePt t="7890" x="8496300" y="2030413"/>
          <p14:tracePt t="7899" x="8539163" y="1989138"/>
          <p14:tracePt t="7909" x="8589963" y="1938338"/>
          <p14:tracePt t="7916" x="8683625" y="1844675"/>
          <p14:tracePt t="7921" x="8759825" y="1776413"/>
          <p14:tracePt t="7929" x="8828088" y="1690688"/>
          <p14:tracePt t="7937" x="8878888" y="1639888"/>
          <p14:tracePt t="7946" x="8921750" y="1606550"/>
          <p14:tracePt t="7953" x="8955088" y="1563688"/>
          <p14:tracePt t="7962" x="8980488" y="1546225"/>
          <p14:tracePt t="7969" x="9005888" y="1530350"/>
          <p14:tracePt t="7978" x="9013825" y="1530350"/>
          <p14:tracePt t="7995" x="9023350" y="1520825"/>
          <p14:tracePt t="8009" x="9031288" y="1520825"/>
          <p14:tracePt t="8050" x="9031288" y="1530350"/>
          <p14:tracePt t="8058" x="9048750" y="1520825"/>
          <p14:tracePt t="8258" x="9031288" y="1520825"/>
          <p14:tracePt t="8266" x="9013825" y="1520825"/>
          <p14:tracePt t="8274" x="9005888" y="1520825"/>
          <p14:tracePt t="8307" x="9005888" y="1530350"/>
          <p14:tracePt t="8314" x="9013825" y="1530350"/>
          <p14:tracePt t="8323" x="9031288" y="1530350"/>
          <p14:tracePt t="8339" x="9023350" y="1520825"/>
          <p14:tracePt t="8363" x="9013825" y="1520825"/>
          <p14:tracePt t="8370" x="9031288" y="1520825"/>
          <p14:tracePt t="8418" x="9023350" y="1520825"/>
          <p14:tracePt t="8426" x="9013825" y="1520825"/>
          <p14:tracePt t="8434" x="8997950" y="1512888"/>
          <p14:tracePt t="8442" x="8988425" y="1504950"/>
          <p14:tracePt t="8450" x="8988425" y="1495425"/>
          <p14:tracePt t="8465" x="8980488" y="1495425"/>
          <p14:tracePt t="8474" x="8980488" y="1487488"/>
          <p14:tracePt t="9539" x="8972550" y="1487488"/>
          <p14:tracePt t="9546" x="8963025" y="1487488"/>
          <p14:tracePt t="9554" x="8937625" y="1487488"/>
          <p14:tracePt t="9562" x="8904288" y="1477963"/>
          <p14:tracePt t="9570" x="8843963" y="1470025"/>
          <p14:tracePt t="9579" x="8802688" y="1444625"/>
          <p14:tracePt t="9585" x="8724900" y="1427163"/>
          <p14:tracePt t="9594" x="8666163" y="1401763"/>
          <p14:tracePt t="9602" x="8615363" y="1393825"/>
          <p14:tracePt t="9611" x="8547100" y="1385888"/>
          <p14:tracePt t="9619" x="8513763" y="1385888"/>
          <p14:tracePt t="9626" x="8478838" y="1385888"/>
          <p14:tracePt t="9633" x="8470900" y="1385888"/>
          <p14:tracePt t="9642" x="8445500" y="1385888"/>
          <p14:tracePt t="9649" x="8435975" y="1385888"/>
          <p14:tracePt t="9665" x="8428038" y="1385888"/>
          <p14:tracePt t="9713" x="8435975" y="1385888"/>
          <p14:tracePt t="9722" x="8445500" y="1385888"/>
          <p14:tracePt t="9729" x="8445500" y="1376363"/>
          <p14:tracePt t="9737" x="8462963" y="1360488"/>
          <p14:tracePt t="9745" x="8470900" y="1333500"/>
          <p14:tracePt t="9752" x="8478838" y="1333500"/>
          <p14:tracePt t="9906" x="8496300" y="1333500"/>
          <p14:tracePt t="9913" x="8513763" y="1343025"/>
          <p14:tracePt t="9922" x="8513763" y="1350963"/>
          <p14:tracePt t="9929" x="8521700" y="1360488"/>
          <p14:tracePt t="9937" x="8521700" y="1368425"/>
          <p14:tracePt t="9946" x="8529638" y="1376363"/>
          <p14:tracePt t="9954" x="8529638" y="1385888"/>
          <p14:tracePt t="9986" x="8521700" y="1385888"/>
          <p14:tracePt t="10009" x="8504238" y="1385888"/>
          <p14:tracePt t="10017" x="8478838" y="1393825"/>
          <p14:tracePt t="10025" x="8462963" y="1393825"/>
          <p14:tracePt t="10033" x="8435975" y="1401763"/>
          <p14:tracePt t="10041" x="8377238" y="1411288"/>
          <p14:tracePt t="10049" x="8334375" y="1411288"/>
          <p14:tracePt t="10057" x="8275638" y="1436688"/>
          <p14:tracePt t="10065" x="8232775" y="1444625"/>
          <p14:tracePt t="10073" x="8174038" y="1444625"/>
          <p14:tracePt t="10081" x="8121650" y="1452563"/>
          <p14:tracePt t="10089" x="8096250" y="1462088"/>
          <p14:tracePt t="10097" x="8045450" y="1470025"/>
          <p14:tracePt t="10106" x="8029575" y="1477963"/>
          <p14:tracePt t="10113" x="8004175" y="1487488"/>
          <p14:tracePt t="10122" x="7977188" y="1487488"/>
          <p14:tracePt t="10129" x="7951788" y="1495425"/>
          <p14:tracePt t="10137" x="7943850" y="1495425"/>
          <p14:tracePt t="10145" x="7918450" y="1495425"/>
          <p14:tracePt t="10153" x="7900988" y="1495425"/>
          <p14:tracePt t="10161" x="7885113" y="1495425"/>
          <p14:tracePt t="10170" x="7875588" y="1495425"/>
          <p14:tracePt t="10178" x="7867650" y="1495425"/>
          <p14:tracePt t="10498" x="7875588" y="1495425"/>
          <p14:tracePt t="10507" x="7893050" y="1504950"/>
          <p14:tracePt t="10514" x="7900988" y="1512888"/>
          <p14:tracePt t="10523" x="7918450" y="1520825"/>
          <p14:tracePt t="10531" x="7918450" y="1530350"/>
          <p14:tracePt t="10538" x="7926388" y="1538288"/>
          <p14:tracePt t="10548" x="7943850" y="1538288"/>
          <p14:tracePt t="10554" x="7961313" y="1546225"/>
          <p14:tracePt t="10564" x="7969250" y="1555750"/>
          <p14:tracePt t="10570" x="7986713" y="1555750"/>
          <p14:tracePt t="10580" x="7994650" y="1555750"/>
          <p14:tracePt t="10586" x="7994650" y="1546225"/>
          <p14:tracePt t="10594" x="8004175" y="1530350"/>
          <p14:tracePt t="10761" x="8020050" y="1530350"/>
          <p14:tracePt t="10769" x="8054975" y="1538288"/>
          <p14:tracePt t="10778" x="8088313" y="1555750"/>
          <p14:tracePt t="10786" x="8105775" y="1555750"/>
          <p14:tracePt t="10794" x="8121650" y="1555750"/>
          <p14:tracePt t="10802" x="8131175" y="1555750"/>
          <p14:tracePt t="10810" x="8139113" y="1555750"/>
          <p14:tracePt t="10826" x="8147050" y="1555750"/>
          <p14:tracePt t="10834" x="8156575" y="1555750"/>
          <p14:tracePt t="10881" x="8121650" y="1563688"/>
          <p14:tracePt t="10890" x="8096250" y="1563688"/>
          <p14:tracePt t="10897" x="8070850" y="1563688"/>
          <p14:tracePt t="10905" x="8029575" y="1563688"/>
          <p14:tracePt t="10913" x="8004175" y="1563688"/>
          <p14:tracePt t="10921" x="7969250" y="1563688"/>
          <p14:tracePt t="10929" x="7926388" y="1571625"/>
          <p14:tracePt t="10937" x="7859713" y="1581150"/>
          <p14:tracePt t="10945" x="7799388" y="1589088"/>
          <p14:tracePt t="10953" x="7680325" y="1614488"/>
          <p14:tracePt t="10961" x="7578725" y="1622425"/>
          <p14:tracePt t="10969" x="7451725" y="1649413"/>
          <p14:tracePt t="10979" x="7204075" y="1690688"/>
          <p14:tracePt t="10985" x="6975475" y="1751013"/>
          <p14:tracePt t="10993" x="6694488" y="1801813"/>
          <p14:tracePt t="11001" x="6483350" y="1819275"/>
          <p14:tracePt t="11009" x="6253163" y="1819275"/>
          <p14:tracePt t="11017" x="6100763" y="1819275"/>
          <p14:tracePt t="11025" x="5905500" y="1819275"/>
          <p14:tracePt t="11033" x="5751513" y="1819275"/>
          <p14:tracePt t="11041" x="5599113" y="1819275"/>
          <p14:tracePt t="11049" x="5386388" y="1819275"/>
          <p14:tracePt t="11059" x="5233988" y="1819275"/>
          <p14:tracePt t="11065" x="5013325" y="1819275"/>
          <p14:tracePt t="11073" x="4833938" y="1827213"/>
          <p14:tracePt t="11081" x="4468813" y="1878013"/>
          <p14:tracePt t="11090" x="4187825" y="1946275"/>
          <p14:tracePt t="11097" x="3763963" y="2022475"/>
          <p14:tracePt t="11108" x="3457575" y="2073275"/>
          <p14:tracePt t="11113" x="3203575" y="2124075"/>
          <p14:tracePt t="11121" x="2871788" y="2174875"/>
          <p14:tracePt t="11129" x="2668588" y="2235200"/>
          <p14:tracePt t="11136" x="2387600" y="2286000"/>
          <p14:tracePt t="11145" x="2260600" y="2293938"/>
          <p14:tracePt t="11153" x="2132013" y="2311400"/>
          <p14:tracePt t="11161" x="2047875" y="2311400"/>
          <p14:tracePt t="11169" x="1946275" y="2311400"/>
          <p14:tracePt t="11178" x="1878013" y="2311400"/>
          <p14:tracePt t="11185" x="1817688" y="2311400"/>
          <p14:tracePt t="11193" x="1776413" y="2293938"/>
          <p14:tracePt t="11201" x="1749425" y="2278063"/>
          <p14:tracePt t="11209" x="1733550" y="2260600"/>
          <p14:tracePt t="11217" x="1733550" y="2227263"/>
          <p14:tracePt t="11225" x="1733550" y="2166938"/>
          <p14:tracePt t="11233" x="1741488" y="2141538"/>
          <p14:tracePt t="11426" x="1749425" y="2141538"/>
          <p14:tracePt t="11466" x="1749425" y="2149475"/>
          <p14:tracePt t="11474" x="1741488" y="2159000"/>
          <p14:tracePt t="11482" x="1733550" y="2159000"/>
          <p14:tracePt t="11491" x="1724025" y="2159000"/>
          <p14:tracePt t="11498" x="1698625" y="2166938"/>
          <p14:tracePt t="11507" x="1673225" y="2174875"/>
          <p14:tracePt t="11514" x="1639888" y="2184400"/>
          <p14:tracePt t="11523" x="1597025" y="2192338"/>
          <p14:tracePt t="11530" x="1554163" y="2200275"/>
          <p14:tracePt t="11539" x="1503363" y="2209800"/>
          <p14:tracePt t="11547" x="1462088" y="2209800"/>
          <p14:tracePt t="11554" x="1401763" y="2227263"/>
          <p14:tracePt t="11563" x="1368425" y="2227263"/>
          <p14:tracePt t="11570" x="1317625" y="2227263"/>
          <p14:tracePt t="11580" x="1274763" y="2217738"/>
          <p14:tracePt t="11586" x="1214438" y="2209800"/>
          <p14:tracePt t="11594" x="1163638" y="2200275"/>
          <p14:tracePt t="11602" x="1104900" y="2174875"/>
          <p14:tracePt t="11610" x="1054100" y="2159000"/>
          <p14:tracePt t="11618" x="1019175" y="2133600"/>
          <p14:tracePt t="11626" x="942975" y="2098675"/>
          <p14:tracePt t="11634" x="892175" y="2082800"/>
          <p14:tracePt t="11642" x="831850" y="2039938"/>
          <p14:tracePt t="11650" x="781050" y="1997075"/>
          <p14:tracePt t="11657" x="714375" y="1946275"/>
          <p14:tracePt t="11664" x="679450" y="1903413"/>
          <p14:tracePt t="11673" x="628650" y="1870075"/>
          <p14:tracePt t="11680" x="585788" y="1835150"/>
          <p14:tracePt t="11689" x="569913" y="1819275"/>
          <p14:tracePt t="11697" x="544513" y="1819275"/>
          <p14:tracePt t="11706" x="544513" y="1801813"/>
          <p14:tracePt t="11713" x="534988" y="1793875"/>
          <p14:tracePt t="11728" x="534988" y="1784350"/>
          <p14:tracePt t="11737" x="527050" y="1784350"/>
          <p14:tracePt t="11745" x="527050" y="1776413"/>
          <p14:tracePt t="11753" x="527050" y="1766888"/>
          <p14:tracePt t="11762" x="527050" y="1758950"/>
          <p14:tracePt t="11769" x="517525" y="1751013"/>
          <p14:tracePt t="11786" x="509588" y="1741488"/>
          <p14:tracePt t="11802" x="509588" y="1733550"/>
          <p14:tracePt t="11810" x="509588" y="1725613"/>
          <p14:tracePt t="11825" x="509588" y="1716088"/>
          <p14:tracePt t="11833" x="509588" y="1708150"/>
          <p14:tracePt t="11842" x="509588" y="1700213"/>
          <p14:tracePt t="11850" x="509588" y="1690688"/>
          <p14:tracePt t="11858" x="501650" y="1682750"/>
          <p14:tracePt t="11874" x="501650" y="1674813"/>
          <p14:tracePt t="11882" x="492125" y="1665288"/>
          <p14:tracePt t="11907" x="492125" y="1657350"/>
          <p14:tracePt t="11939" x="492125" y="1649413"/>
          <p14:tracePt t="11954" x="492125" y="1639888"/>
          <p14:tracePt t="13097" x="492125" y="1631950"/>
          <p14:tracePt t="13113" x="492125" y="1622425"/>
          <p14:tracePt t="13145" x="492125" y="1614488"/>
          <p14:tracePt t="13162" x="501650" y="1606550"/>
          <p14:tracePt t="13170" x="501650" y="1589088"/>
          <p14:tracePt t="13186" x="509588" y="1589088"/>
          <p14:tracePt t="13194" x="509588" y="1581150"/>
          <p14:tracePt t="13201" x="517525" y="1571625"/>
          <p14:tracePt t="13225" x="527050" y="1571625"/>
          <p14:tracePt t="13233" x="534988" y="1563688"/>
          <p14:tracePt t="13241" x="534988" y="1555750"/>
          <p14:tracePt t="13249" x="544513" y="1546225"/>
          <p14:tracePt t="13281" x="544513" y="1538288"/>
          <p14:tracePt t="13291" x="552450" y="1538288"/>
          <p14:tracePt t="13314" x="560388" y="1538288"/>
          <p14:tracePt t="13339" x="569913" y="1530350"/>
          <p14:tracePt t="13345" x="577850" y="1530350"/>
          <p14:tracePt t="13362" x="585788" y="1530350"/>
          <p14:tracePt t="13394" x="595313" y="1530350"/>
          <p14:tracePt t="13401" x="603250" y="1530350"/>
          <p14:tracePt t="14282" x="595313" y="1530350"/>
          <p14:tracePt t="14291" x="585788" y="1530350"/>
          <p14:tracePt t="14298" x="569913" y="1555750"/>
          <p14:tracePt t="14307" x="527050" y="1597025"/>
          <p14:tracePt t="14314" x="509588" y="1639888"/>
          <p14:tracePt t="14323" x="466725" y="1741488"/>
          <p14:tracePt t="14330" x="433388" y="1844675"/>
          <p14:tracePt t="14339" x="407988" y="1954213"/>
          <p14:tracePt t="14347" x="390525" y="2073275"/>
          <p14:tracePt t="14354" x="365125" y="2184400"/>
          <p14:tracePt t="14363" x="339725" y="2371725"/>
          <p14:tracePt t="14370" x="314325" y="2498725"/>
          <p14:tracePt t="14380" x="314325" y="2711450"/>
          <p14:tracePt t="14386" x="314325" y="2863850"/>
          <p14:tracePt t="14396" x="365125" y="3109913"/>
          <p14:tracePt t="14402" x="382588" y="3238500"/>
          <p14:tracePt t="14411" x="407988" y="3416300"/>
          <p14:tracePt t="14418" x="433388" y="3517900"/>
          <p14:tracePt t="14426" x="441325" y="3619500"/>
          <p14:tracePt t="14435" x="476250" y="3748088"/>
          <p14:tracePt t="14442" x="501650" y="3816350"/>
          <p14:tracePt t="14450" x="534988" y="3900488"/>
          <p14:tracePt t="14458" x="552450" y="3960813"/>
          <p14:tracePt t="14465" x="577850" y="4027488"/>
          <p14:tracePt t="14474" x="585788" y="4052888"/>
          <p14:tracePt t="14481" x="595313" y="4079875"/>
          <p14:tracePt t="14490" x="603250" y="4105275"/>
          <p14:tracePt t="14499" x="620713" y="4130675"/>
          <p14:tracePt t="14506" x="636588" y="4156075"/>
          <p14:tracePt t="14514" x="654050" y="4171950"/>
          <p14:tracePt t="14522" x="671513" y="4189413"/>
          <p14:tracePt t="14529" x="688975" y="4206875"/>
          <p14:tracePt t="14538" x="696913" y="4232275"/>
          <p14:tracePt t="14547" x="704850" y="4232275"/>
          <p14:tracePt t="14554" x="722313" y="4249738"/>
          <p14:tracePt t="14562" x="730250" y="4257675"/>
          <p14:tracePt t="14570" x="747713" y="4265613"/>
          <p14:tracePt t="14579" x="773113" y="4291013"/>
          <p14:tracePt t="14586" x="798513" y="4300538"/>
          <p14:tracePt t="14595" x="823913" y="4333875"/>
          <p14:tracePt t="14601" x="858838" y="4368800"/>
          <p14:tracePt t="14610" x="884238" y="4394200"/>
          <p14:tracePt t="14618" x="950913" y="4445000"/>
          <p14:tracePt t="14626" x="985838" y="4486275"/>
          <p14:tracePt t="14634" x="1054100" y="4554538"/>
          <p14:tracePt t="14642" x="1095375" y="4579938"/>
          <p14:tracePt t="14649" x="1130300" y="4605338"/>
          <p14:tracePt t="14658" x="1147763" y="4622800"/>
          <p14:tracePt t="14665" x="1163638" y="4630738"/>
          <p14:tracePt t="14674" x="1163638" y="4640263"/>
          <p14:tracePt t="14785" x="1155700" y="4630738"/>
          <p14:tracePt t="14793" x="1130300" y="4605338"/>
          <p14:tracePt t="14801" x="1095375" y="4579938"/>
          <p14:tracePt t="14810" x="1044575" y="4538663"/>
          <p14:tracePt t="14818" x="993775" y="4513263"/>
          <p14:tracePt t="14826" x="960438" y="4486275"/>
          <p14:tracePt t="14832" x="884238" y="4435475"/>
          <p14:tracePt t="14841" x="831850" y="4419600"/>
          <p14:tracePt t="14849" x="755650" y="4376738"/>
          <p14:tracePt t="14857" x="696913" y="4351338"/>
          <p14:tracePt t="14865" x="628650" y="4291013"/>
          <p14:tracePt t="14873" x="560388" y="4232275"/>
          <p14:tracePt t="14881" x="466725" y="4138613"/>
          <p14:tracePt t="14890" x="390525" y="4062413"/>
          <p14:tracePt t="14897" x="306388" y="3968750"/>
          <p14:tracePt t="14906" x="203200" y="3824288"/>
          <p14:tracePt t="14913" x="136525" y="3748088"/>
          <p14:tracePt t="14921" x="93663" y="3619500"/>
          <p14:tracePt t="14930" x="42863" y="3502025"/>
          <p14:tracePt t="14937" x="17463" y="3340100"/>
          <p14:tracePt t="14946" x="7938" y="3211513"/>
          <p14:tracePt t="14953" x="7938" y="3059113"/>
          <p14:tracePt t="14962" x="7938" y="2932113"/>
          <p14:tracePt t="14970" x="25400" y="2830513"/>
          <p14:tracePt t="14979" x="33338" y="2701925"/>
          <p14:tracePt t="14985" x="50800" y="2625725"/>
          <p14:tracePt t="14994" x="85725" y="2566988"/>
          <p14:tracePt t="15001" x="119063" y="2506663"/>
          <p14:tracePt t="15010" x="144463" y="2438400"/>
          <p14:tracePt t="15017" x="169863" y="2397125"/>
          <p14:tracePt t="15025" x="212725" y="2328863"/>
          <p14:tracePt t="15033" x="238125" y="2293938"/>
          <p14:tracePt t="15041" x="280988" y="2217738"/>
          <p14:tracePt t="15049" x="322263" y="2166938"/>
          <p14:tracePt t="15057" x="365125" y="2124075"/>
          <p14:tracePt t="15065" x="415925" y="2055813"/>
          <p14:tracePt t="15073" x="450850" y="2022475"/>
          <p14:tracePt t="15081" x="509588" y="1954213"/>
          <p14:tracePt t="15090" x="560388" y="1928813"/>
          <p14:tracePt t="15097" x="611188" y="1878013"/>
          <p14:tracePt t="15105" x="646113" y="1844675"/>
          <p14:tracePt t="15113" x="679450" y="1827213"/>
          <p14:tracePt t="15121" x="722313" y="1793875"/>
          <p14:tracePt t="15129" x="747713" y="1776413"/>
          <p14:tracePt t="15137" x="765175" y="1751013"/>
          <p14:tracePt t="15145" x="798513" y="1716088"/>
          <p14:tracePt t="15153" x="823913" y="1674813"/>
          <p14:tracePt t="15161" x="849313" y="1649413"/>
          <p14:tracePt t="15170" x="866775" y="1614488"/>
          <p14:tracePt t="15178" x="884238" y="1606550"/>
          <p14:tracePt t="15186" x="884238" y="1597025"/>
          <p14:tracePt t="15194" x="892175" y="1589088"/>
          <p14:tracePt t="15201" x="892175" y="1581150"/>
          <p14:tracePt t="15210" x="900113" y="1581150"/>
          <p14:tracePt t="15217" x="900113" y="1571625"/>
          <p14:tracePt t="15226" x="909638" y="1571625"/>
          <p14:tracePt t="15892" x="917575" y="1563688"/>
          <p14:tracePt t="15898" x="942975" y="1563688"/>
          <p14:tracePt t="15907" x="960438" y="1546225"/>
          <p14:tracePt t="15915" x="968375" y="1538288"/>
          <p14:tracePt t="15923" x="968375" y="1520825"/>
          <p14:tracePt t="15930" x="976313" y="1495425"/>
          <p14:tracePt t="15939" x="976313" y="1487488"/>
          <p14:tracePt t="15947" x="976313" y="1470025"/>
          <p14:tracePt t="15954" x="976313" y="1444625"/>
          <p14:tracePt t="15963" x="942975" y="1419225"/>
          <p14:tracePt t="15970" x="900113" y="1411288"/>
          <p14:tracePt t="15981" x="823913" y="1376363"/>
          <p14:tracePt t="15986" x="722313" y="1368425"/>
          <p14:tracePt t="15995" x="636588" y="1368425"/>
          <p14:tracePt t="16002" x="534988" y="1368425"/>
          <p14:tracePt t="16010" x="458788" y="1411288"/>
          <p14:tracePt t="16017" x="365125" y="1495425"/>
          <p14:tracePt t="16026" x="296863" y="1563688"/>
          <p14:tracePt t="16034" x="220663" y="1665288"/>
          <p14:tracePt t="16042" x="169863" y="1758950"/>
          <p14:tracePt t="16049" x="127000" y="1835150"/>
          <p14:tracePt t="16058" x="85725" y="1963738"/>
          <p14:tracePt t="16065" x="68263" y="2055813"/>
          <p14:tracePt t="16074" x="50800" y="2166938"/>
          <p14:tracePt t="16081" x="33338" y="2293938"/>
          <p14:tracePt t="16090" x="25400" y="2489200"/>
          <p14:tracePt t="16097" x="25400" y="2643188"/>
          <p14:tracePt t="16106" x="7938" y="2820988"/>
          <p14:tracePt t="16114" x="7938" y="3051175"/>
          <p14:tracePt t="16121" x="7938" y="3211513"/>
          <p14:tracePt t="16130" x="17463" y="3382963"/>
          <p14:tracePt t="16142" x="33338" y="3484563"/>
          <p14:tracePt t="16148" x="85725" y="3578225"/>
          <p14:tracePt t="16153" x="101600" y="3636963"/>
          <p14:tracePt t="16162" x="119063" y="3687763"/>
          <p14:tracePt t="16170" x="136525" y="3705225"/>
          <p14:tracePt t="16178" x="144463" y="3705225"/>
          <p14:tracePt t="16242" x="144463" y="3713163"/>
          <p14:tracePt t="16250" x="144463" y="3722688"/>
          <p14:tracePt t="16258" x="144463" y="3730625"/>
          <p14:tracePt t="16275" x="144463" y="3738563"/>
          <p14:tracePt t="16291" x="144463" y="3748088"/>
          <p14:tracePt t="16298" x="152400" y="3748088"/>
          <p14:tracePt t="16323" x="161925" y="3748088"/>
          <p14:tracePt t="16330" x="187325" y="3773488"/>
          <p14:tracePt t="16339" x="220663" y="3806825"/>
          <p14:tracePt t="16347" x="288925" y="3867150"/>
          <p14:tracePt t="16354" x="347663" y="3951288"/>
          <p14:tracePt t="16363" x="415925" y="4037013"/>
          <p14:tracePt t="16370" x="458788" y="4087813"/>
          <p14:tracePt t="16381" x="501650" y="4156075"/>
          <p14:tracePt t="16386" x="517525" y="4206875"/>
          <p14:tracePt t="16394" x="534988" y="4240213"/>
          <p14:tracePt t="16402" x="544513" y="4275138"/>
          <p14:tracePt t="16411" x="552450" y="4275138"/>
          <p14:tracePt t="16491" x="552450" y="4257675"/>
          <p14:tracePt t="16498" x="552450" y="4232275"/>
          <p14:tracePt t="16507" x="544513" y="4189413"/>
          <p14:tracePt t="16514" x="534988" y="4146550"/>
          <p14:tracePt t="16523" x="501650" y="4070350"/>
          <p14:tracePt t="16530" x="466725" y="3976688"/>
          <p14:tracePt t="16539" x="415925" y="3849688"/>
          <p14:tracePt t="16546" x="314325" y="3611563"/>
          <p14:tracePt t="16554" x="212725" y="3348038"/>
          <p14:tracePt t="16562" x="25400" y="3008313"/>
          <p14:tracePt t="16715" x="68263" y="1589088"/>
          <p14:tracePt t="16723" x="93663" y="1571625"/>
          <p14:tracePt t="16731" x="119063" y="1555750"/>
          <p14:tracePt t="16739" x="127000" y="1538288"/>
          <p14:tracePt t="16747" x="136525" y="1538288"/>
          <p14:tracePt t="16754" x="144463" y="1530350"/>
          <p14:tracePt t="16794" x="161925" y="1530350"/>
          <p14:tracePt t="16801" x="169863" y="1530350"/>
          <p14:tracePt t="16809" x="177800" y="1530350"/>
          <p14:tracePt t="16818" x="195263" y="1530350"/>
          <p14:tracePt t="16826" x="230188" y="1530350"/>
          <p14:tracePt t="16834" x="271463" y="1520825"/>
          <p14:tracePt t="16841" x="314325" y="1512888"/>
          <p14:tracePt t="16849" x="365125" y="1504950"/>
          <p14:tracePt t="16857" x="390525" y="1495425"/>
          <p14:tracePt t="16865" x="433388" y="1477963"/>
          <p14:tracePt t="16874" x="441325" y="1462088"/>
          <p14:tracePt t="16882" x="458788" y="1452563"/>
          <p14:tracePt t="16890" x="466725" y="1444625"/>
          <p14:tracePt t="16898" x="476250" y="1444625"/>
          <p14:tracePt t="17857" x="476250" y="1452563"/>
          <p14:tracePt t="17866" x="476250" y="1487488"/>
          <p14:tracePt t="17874" x="484188" y="1581150"/>
          <p14:tracePt t="17882" x="501650" y="1674813"/>
          <p14:tracePt t="17891" x="501650" y="1835150"/>
          <p14:tracePt t="17898" x="501650" y="1954213"/>
          <p14:tracePt t="17907" x="501650" y="2133600"/>
          <p14:tracePt t="17914" x="501650" y="2260600"/>
          <p14:tracePt t="17922" x="501650" y="2371725"/>
          <p14:tracePt t="17930" x="501650" y="2506663"/>
          <p14:tracePt t="17939" x="501650" y="2608263"/>
          <p14:tracePt t="17947" x="509588" y="2736850"/>
          <p14:tracePt t="17954" x="517525" y="2820988"/>
          <p14:tracePt t="17963" x="544513" y="2940050"/>
          <p14:tracePt t="17970" x="569913" y="3016250"/>
          <p14:tracePt t="17981" x="577850" y="3101975"/>
          <p14:tracePt t="17996" x="595313" y="3221038"/>
          <p14:tracePt t="18002" x="603250" y="3279775"/>
          <p14:tracePt t="18011" x="620713" y="3305175"/>
          <p14:tracePt t="18018" x="620713" y="3330575"/>
          <p14:tracePt t="18026" x="628650" y="3348038"/>
          <p14:tracePt t="18033" x="628650" y="3373438"/>
          <p14:tracePt t="18042" x="628650" y="3382963"/>
          <p14:tracePt t="18050" x="636588" y="3408363"/>
          <p14:tracePt t="18058" x="636588" y="3433763"/>
          <p14:tracePt t="18066" x="646113" y="3459163"/>
          <p14:tracePt t="18074" x="646113" y="3475038"/>
          <p14:tracePt t="18082" x="654050" y="3502025"/>
          <p14:tracePt t="18091" x="661988" y="3527425"/>
          <p14:tracePt t="18099" x="661988" y="3535363"/>
          <p14:tracePt t="18107" x="671513" y="3560763"/>
          <p14:tracePt t="18115" x="671513" y="3578225"/>
          <p14:tracePt t="18122" x="688975" y="3594100"/>
          <p14:tracePt t="18130" x="688975" y="3611563"/>
          <p14:tracePt t="18138" x="696913" y="3636963"/>
          <p14:tracePt t="18148" x="696913" y="3662363"/>
          <p14:tracePt t="18154" x="696913" y="3679825"/>
          <p14:tracePt t="18161" x="714375" y="3713163"/>
          <p14:tracePt t="18170" x="722313" y="3738563"/>
          <p14:tracePt t="18179" x="747713" y="3806825"/>
          <p14:tracePt t="18186" x="755650" y="3867150"/>
          <p14:tracePt t="18195" x="773113" y="3943350"/>
          <p14:tracePt t="18201" x="781050" y="4002088"/>
          <p14:tracePt t="18209" x="798513" y="4044950"/>
          <p14:tracePt t="18217" x="815975" y="4095750"/>
          <p14:tracePt t="18224" x="823913" y="4130675"/>
          <p14:tracePt t="18233" x="841375" y="4164013"/>
          <p14:tracePt t="18241" x="841375" y="4171950"/>
          <p14:tracePt t="18249" x="858838" y="4181475"/>
          <p14:tracePt t="18256" x="858838" y="4189413"/>
          <p14:tracePt t="18370" x="866775" y="4189413"/>
          <p14:tracePt t="18378" x="874713" y="4189413"/>
          <p14:tracePt t="18386" x="884238" y="4189413"/>
          <p14:tracePt t="18395" x="900113" y="4189413"/>
          <p14:tracePt t="18402" x="909638" y="4189413"/>
          <p14:tracePt t="18523" x="909638" y="4181475"/>
          <p14:tracePt t="18539" x="917575" y="4171950"/>
          <p14:tracePt t="18546" x="917575" y="4164013"/>
          <p14:tracePt t="18554" x="925513" y="4164013"/>
          <p14:tracePt t="18564" x="925513" y="4156075"/>
          <p14:tracePt t="18570" x="935038" y="4146550"/>
          <p14:tracePt t="18580" x="950913" y="4146550"/>
          <p14:tracePt t="18586" x="960438" y="4138613"/>
          <p14:tracePt t="18596" x="1003300" y="4138613"/>
          <p14:tracePt t="18602" x="1036638" y="4138613"/>
          <p14:tracePt t="18613" x="1112838" y="4138613"/>
          <p14:tracePt t="18618" x="1198563" y="4138613"/>
          <p14:tracePt t="18626" x="1325563" y="4146550"/>
          <p14:tracePt t="18634" x="1409700" y="4164013"/>
          <p14:tracePt t="18642" x="1528763" y="4181475"/>
          <p14:tracePt t="18650" x="1631950" y="4189413"/>
          <p14:tracePt t="18658" x="1716088" y="4197350"/>
          <p14:tracePt t="18667" x="1843088" y="4197350"/>
          <p14:tracePt t="18674" x="1954213" y="4197350"/>
          <p14:tracePt t="18682" x="2106613" y="4197350"/>
          <p14:tracePt t="18690" x="2235200" y="4197350"/>
          <p14:tracePt t="18698" x="2413000" y="4197350"/>
          <p14:tracePt t="18706" x="2524125" y="4171950"/>
          <p14:tracePt t="18713" x="2625725" y="4146550"/>
          <p14:tracePt t="18721" x="2752725" y="4138613"/>
          <p14:tracePt t="18730" x="2828925" y="4113213"/>
          <p14:tracePt t="18738" x="2889250" y="4113213"/>
          <p14:tracePt t="18746" x="2922588" y="4113213"/>
          <p14:tracePt t="18754" x="2965450" y="4095750"/>
          <p14:tracePt t="18762" x="2982913" y="4095750"/>
          <p14:tracePt t="18770" x="2990850" y="4095750"/>
          <p14:tracePt t="18780" x="2998788" y="4087813"/>
          <p14:tracePt t="18785" x="2998788" y="4079875"/>
          <p14:tracePt t="18795" x="2998788" y="4070350"/>
          <p14:tracePt t="18810" x="2947988" y="4037013"/>
          <p14:tracePt t="18818" x="2879725" y="4019550"/>
          <p14:tracePt t="18827" x="2863850" y="4002088"/>
          <p14:tracePt t="19018" x="2854325" y="4002088"/>
          <p14:tracePt t="19027" x="2863850" y="3994150"/>
          <p14:tracePt t="19034" x="2846388" y="3994150"/>
          <p14:tracePt t="19042" x="2854325" y="4002088"/>
          <p14:tracePt t="19050" x="2889250" y="4002088"/>
          <p14:tracePt t="19058" x="2914650" y="4027488"/>
          <p14:tracePt t="19066" x="2930525" y="4052888"/>
          <p14:tracePt t="19075" x="2955925" y="4070350"/>
          <p14:tracePt t="19083" x="2982913" y="4079875"/>
          <p14:tracePt t="19091" x="2998788" y="4095750"/>
          <p14:tracePt t="19098" x="3024188" y="4113213"/>
          <p14:tracePt t="19106" x="3041650" y="4121150"/>
          <p14:tracePt t="19114" x="3059113" y="4138613"/>
          <p14:tracePt t="19122" x="3059113" y="4146550"/>
          <p14:tracePt t="19129" x="3074988" y="4146550"/>
          <p14:tracePt t="19138" x="3092450" y="4156075"/>
          <p14:tracePt t="19153" x="3100388" y="4156075"/>
          <p14:tracePt t="19162" x="3109913" y="4156075"/>
          <p14:tracePt t="19226" x="3117850" y="4156075"/>
          <p14:tracePt t="19258" x="3127375" y="4156075"/>
          <p14:tracePt t="19658" x="3143250" y="4146550"/>
          <p14:tracePt t="19666" x="3194050" y="4130675"/>
          <p14:tracePt t="19674" x="3279775" y="4079875"/>
          <p14:tracePt t="19682" x="3348038" y="4037013"/>
          <p14:tracePt t="19691" x="3441700" y="3968750"/>
          <p14:tracePt t="19700" x="3517900" y="3917950"/>
          <p14:tracePt t="19706" x="3611563" y="3832225"/>
          <p14:tracePt t="19714" x="3670300" y="3763963"/>
          <p14:tracePt t="19721" x="3729038" y="3687763"/>
          <p14:tracePt t="19729" x="3763963" y="3611563"/>
          <p14:tracePt t="19737" x="3789363" y="3560763"/>
          <p14:tracePt t="19745" x="3806825" y="3492500"/>
          <p14:tracePt t="19754" x="3822700" y="3459163"/>
          <p14:tracePt t="19761" x="3840163" y="3424238"/>
          <p14:tracePt t="19770" x="3857625" y="3408363"/>
          <p14:tracePt t="19778" x="3857625" y="3390900"/>
          <p14:tracePt t="19785" x="3865563" y="3382963"/>
          <p14:tracePt t="19794" x="3873500" y="3382963"/>
          <p14:tracePt t="20514" x="3883025" y="3365500"/>
          <p14:tracePt t="20523" x="3883025" y="3340100"/>
          <p14:tracePt t="20530" x="3883025" y="3297238"/>
          <p14:tracePt t="20538" x="3883025" y="3170238"/>
          <p14:tracePt t="20546" x="3848100" y="3067050"/>
          <p14:tracePt t="20554" x="3781425" y="2897188"/>
          <p14:tracePt t="20562" x="3721100" y="2770188"/>
          <p14:tracePt t="20570" x="3652838" y="2633663"/>
          <p14:tracePt t="20578" x="3576638" y="2498725"/>
          <p14:tracePt t="20586" x="3517900" y="2413000"/>
          <p14:tracePt t="20595" x="3449638" y="2328863"/>
          <p14:tracePt t="20601" x="3406775" y="2278063"/>
          <p14:tracePt t="20611" x="3389313" y="2209800"/>
          <p14:tracePt t="20617" x="3381375" y="2192338"/>
          <p14:tracePt t="20626" x="3373438" y="2166938"/>
          <p14:tracePt t="20634" x="3373438" y="2141538"/>
          <p14:tracePt t="20641" x="3373438" y="2124075"/>
          <p14:tracePt t="20649" x="3381375" y="2116138"/>
          <p14:tracePt t="20657" x="3398838" y="2098675"/>
          <p14:tracePt t="20665" x="3398838" y="2090738"/>
          <p14:tracePt t="20673" x="3406775" y="2082800"/>
          <p14:tracePt t="20681" x="3414713" y="2082800"/>
          <p14:tracePt t="20690" x="3424238" y="2073275"/>
          <p14:tracePt t="20706" x="3424238" y="2065338"/>
          <p14:tracePt t="20721" x="3432175" y="2055813"/>
          <p14:tracePt t="20729" x="3432175" y="2047875"/>
          <p14:tracePt t="20737" x="3432175" y="2039938"/>
          <p14:tracePt t="20753" x="3432175" y="2030413"/>
          <p14:tracePt t="20962" x="3406775" y="2030413"/>
          <p14:tracePt t="20978" x="3406775" y="2014538"/>
          <p14:tracePt t="20994" x="3414713" y="1971675"/>
          <p14:tracePt t="21026" x="3398838" y="1971675"/>
          <p14:tracePt t="21034" x="3381375" y="1963738"/>
          <p14:tracePt t="21042" x="3381375" y="1954213"/>
          <p14:tracePt t="21049" x="3373438" y="1954213"/>
          <p14:tracePt t="21057" x="3355975" y="1946275"/>
          <p14:tracePt t="21065" x="3355975" y="1938338"/>
          <p14:tracePt t="21074" x="3338513" y="1928813"/>
          <p14:tracePt t="21081" x="3322638" y="1911350"/>
          <p14:tracePt t="21090" x="3313113" y="1903413"/>
          <p14:tracePt t="21097" x="3297238" y="1885950"/>
          <p14:tracePt t="21106" x="3279775" y="1878013"/>
          <p14:tracePt t="21113" x="3262313" y="1870075"/>
          <p14:tracePt t="21130" x="3244850" y="1860550"/>
          <p14:tracePt t="21137" x="3244850" y="1852613"/>
          <p14:tracePt t="21145" x="3236913" y="1852613"/>
          <p14:tracePt t="21177" x="3228975" y="1852613"/>
          <p14:tracePt t="21186" x="3228975" y="1844675"/>
          <p14:tracePt t="21202" x="3219450" y="1844675"/>
          <p14:tracePt t="21562" x="3228975" y="1911350"/>
          <p14:tracePt t="21570" x="3279775" y="2030413"/>
          <p14:tracePt t="21578" x="3398838" y="2311400"/>
          <p14:tracePt t="21586" x="3508375" y="2506663"/>
          <p14:tracePt t="21596" x="3619500" y="2752725"/>
          <p14:tracePt t="21602" x="3883025" y="3152775"/>
          <p14:tracePt t="21612" x="4035425" y="3433763"/>
          <p14:tracePt t="21618" x="4230688" y="3671888"/>
          <p14:tracePt t="21626" x="4349750" y="3824288"/>
          <p14:tracePt t="21634" x="4486275" y="3960813"/>
          <p14:tracePt t="21642" x="4554538" y="4019550"/>
          <p14:tracePt t="21650" x="4621213" y="4070350"/>
          <p14:tracePt t="21658" x="4681538" y="4105275"/>
          <p14:tracePt t="21666" x="4714875" y="4113213"/>
          <p14:tracePt t="21674" x="4724400" y="4113213"/>
          <p14:tracePt t="21690" x="4732338" y="4113213"/>
          <p14:tracePt t="21723" x="4740275" y="4113213"/>
          <p14:tracePt t="21731" x="4749800" y="4113213"/>
          <p14:tracePt t="21737" x="4749800" y="4095750"/>
          <p14:tracePt t="21746" x="4724400" y="4052888"/>
          <p14:tracePt t="21954" x="4732338" y="4052888"/>
          <p14:tracePt t="21961" x="4757738" y="4052888"/>
          <p14:tracePt t="21970" x="4775200" y="4070350"/>
          <p14:tracePt t="21979" x="4800600" y="4079875"/>
          <p14:tracePt t="21986" x="4826000" y="4087813"/>
          <p14:tracePt t="21996" x="4851400" y="4113213"/>
          <p14:tracePt t="22002" x="4868863" y="4121150"/>
          <p14:tracePt t="22011" x="4876800" y="4130675"/>
          <p14:tracePt t="22018" x="4894263" y="4138613"/>
          <p14:tracePt t="22026" x="4894263" y="4146550"/>
          <p14:tracePt t="22034" x="4902200" y="4146550"/>
          <p14:tracePt t="22050" x="4902200" y="4164013"/>
          <p14:tracePt t="22057" x="4902200" y="4171950"/>
          <p14:tracePt t="22065" x="4910138" y="4189413"/>
          <p14:tracePt t="22073" x="4910138" y="4197350"/>
          <p14:tracePt t="22081" x="4910138" y="4206875"/>
          <p14:tracePt t="22090" x="4910138" y="4214813"/>
          <p14:tracePt t="22097" x="4919663" y="4224338"/>
          <p14:tracePt t="22492" x="4935538" y="4224338"/>
          <p14:tracePt t="22497" x="4945063" y="4232275"/>
          <p14:tracePt t="22505" x="4978400" y="4249738"/>
          <p14:tracePt t="22513" x="5013325" y="4265613"/>
          <p14:tracePt t="22520" x="5064125" y="4283075"/>
          <p14:tracePt t="22529" x="5097463" y="4291013"/>
          <p14:tracePt t="22537" x="5122863" y="4308475"/>
          <p14:tracePt t="22545" x="5140325" y="4316413"/>
          <p14:tracePt t="22554" x="5165725" y="4325938"/>
          <p14:tracePt t="22561" x="5173663" y="4333875"/>
          <p14:tracePt t="22569" x="5191125" y="4341813"/>
          <p14:tracePt t="22577" x="5208588" y="4351338"/>
          <p14:tracePt t="22585" x="5233988" y="4359275"/>
          <p14:tracePt t="22593" x="5284788" y="4376738"/>
          <p14:tracePt t="22601" x="5310188" y="4384675"/>
          <p14:tracePt t="22609" x="5353050" y="4402138"/>
          <p14:tracePt t="22618" x="5394325" y="4402138"/>
          <p14:tracePt t="22626" x="5429250" y="4410075"/>
          <p14:tracePt t="22634" x="5446713" y="4419600"/>
          <p14:tracePt t="22642" x="5462588" y="4419600"/>
          <p14:tracePt t="22650" x="5472113" y="4419600"/>
          <p14:tracePt t="22657" x="5480050" y="4419600"/>
          <p14:tracePt t="22666" x="5487988" y="4427538"/>
          <p14:tracePt t="22713" x="5497513" y="4427538"/>
          <p14:tracePt t="22738" x="5505450" y="4427538"/>
          <p14:tracePt t="22745" x="5522913" y="4427538"/>
          <p14:tracePt t="22761" x="5548313" y="4427538"/>
          <p14:tracePt t="22770" x="5565775" y="4427538"/>
          <p14:tracePt t="22779" x="5591175" y="4427538"/>
          <p14:tracePt t="22786" x="5616575" y="4427538"/>
          <p14:tracePt t="22795" x="5624513" y="4427538"/>
          <p14:tracePt t="22802" x="5632450" y="4427538"/>
          <p14:tracePt t="22882" x="5624513" y="4427538"/>
          <p14:tracePt t="22891" x="5607050" y="4427538"/>
          <p14:tracePt t="22898" x="5581650" y="4435475"/>
          <p14:tracePt t="22907" x="5565775" y="4445000"/>
          <p14:tracePt t="22915" x="5548313" y="4445000"/>
          <p14:tracePt t="22922" x="5530850" y="4445000"/>
          <p14:tracePt t="22938" x="5522913" y="4452938"/>
          <p14:tracePt t="22946" x="5513388" y="4452938"/>
          <p14:tracePt t="22962" x="5505450" y="4452938"/>
          <p14:tracePt t="23066" x="5497513" y="4452938"/>
          <p14:tracePt t="23082" x="5487988" y="4452938"/>
          <p14:tracePt t="23114" x="5480050" y="4452938"/>
          <p14:tracePt t="23139" x="5472113" y="4452938"/>
          <p14:tracePt t="23147" x="5472113" y="4460875"/>
          <p14:tracePt t="23153" x="5462588" y="4460875"/>
          <p14:tracePt t="23162" x="5454650" y="4460875"/>
          <p14:tracePt t="23178" x="5446713" y="4460875"/>
          <p14:tracePt t="23195" x="5437188" y="4460875"/>
          <p14:tracePt t="23201" x="5429250" y="4460875"/>
          <p14:tracePt t="23210" x="5421313" y="4460875"/>
          <p14:tracePt t="23218" x="5411788" y="4460875"/>
          <p14:tracePt t="23233" x="5403850" y="4460875"/>
          <p14:tracePt t="23291" x="5394325" y="4460875"/>
          <p14:tracePt t="23314" x="5386388" y="4460875"/>
          <p14:tracePt t="23339" x="5378450" y="4460875"/>
          <p14:tracePt t="23434" x="5368925" y="4460875"/>
          <p14:tracePt t="23442" x="5360988" y="4460875"/>
          <p14:tracePt t="23521" x="5353050" y="4460875"/>
          <p14:tracePt t="30586" x="5360988" y="4460875"/>
          <p14:tracePt t="30594" x="5394325" y="4470400"/>
          <p14:tracePt t="30602" x="5429250" y="4478338"/>
          <p14:tracePt t="30611" x="5472113" y="4486275"/>
          <p14:tracePt t="30618" x="5487988" y="4503738"/>
          <p14:tracePt t="30628" x="5513388" y="4529138"/>
          <p14:tracePt t="30634" x="5522913" y="4546600"/>
          <p14:tracePt t="30642" x="5538788" y="4564063"/>
          <p14:tracePt t="30650" x="5538788" y="4589463"/>
          <p14:tracePt t="30658" x="5538788" y="4605338"/>
          <p14:tracePt t="30666" x="5538788" y="4630738"/>
          <p14:tracePt t="30674" x="5538788" y="4657725"/>
          <p14:tracePt t="30682" x="5530850" y="4683125"/>
          <p14:tracePt t="30690" x="5522913" y="4691063"/>
          <p14:tracePt t="30697" x="5497513" y="4691063"/>
          <p14:tracePt t="30705" x="5487988" y="4691063"/>
          <p14:tracePt t="30713" x="5462588" y="4691063"/>
          <p14:tracePt t="30721" x="5446713" y="4683125"/>
          <p14:tracePt t="30729" x="5429250" y="4683125"/>
          <p14:tracePt t="30891" x="5437188" y="4683125"/>
          <p14:tracePt t="30898" x="5446713" y="4691063"/>
          <p14:tracePt t="30914" x="5454650" y="4699000"/>
          <p14:tracePt t="30930" x="5462588" y="4716463"/>
          <p14:tracePt t="30946" x="5472113" y="4724400"/>
          <p14:tracePt t="30970" x="5480050" y="4724400"/>
          <p14:tracePt t="30986" x="5497513" y="4733925"/>
          <p14:tracePt t="30993" x="5497513" y="4741863"/>
          <p14:tracePt t="31001" x="5505450" y="4749800"/>
          <p14:tracePt t="31010" x="5522913" y="4749800"/>
          <p14:tracePt t="31017" x="5530850" y="4759325"/>
          <p14:tracePt t="31026" x="5548313" y="4775200"/>
          <p14:tracePt t="31033" x="5565775" y="4792663"/>
          <p14:tracePt t="31041" x="5599113" y="4810125"/>
          <p14:tracePt t="31049" x="5624513" y="4827588"/>
          <p14:tracePt t="31065" x="5632450" y="4827588"/>
          <p14:tracePt t="31170" x="5616575" y="4827588"/>
          <p14:tracePt t="31178" x="5591175" y="4827588"/>
          <p14:tracePt t="31186" x="5548313" y="4827588"/>
          <p14:tracePt t="31195" x="5505450" y="4810125"/>
          <p14:tracePt t="31202" x="5429250" y="4802188"/>
          <p14:tracePt t="31212" x="5368925" y="4784725"/>
          <p14:tracePt t="31218" x="5259388" y="4775200"/>
          <p14:tracePt t="31229" x="5165725" y="4759325"/>
          <p14:tracePt t="31234" x="5013325" y="4733925"/>
          <p14:tracePt t="31243" x="4876800" y="4716463"/>
          <p14:tracePt t="31251" x="4714875" y="4673600"/>
          <p14:tracePt t="31258" x="4579938" y="4665663"/>
          <p14:tracePt t="31266" x="4451350" y="4665663"/>
          <p14:tracePt t="31275" x="4273550" y="4665663"/>
          <p14:tracePt t="31281" x="4171950" y="4673600"/>
          <p14:tracePt t="31290" x="4027488" y="4724400"/>
          <p14:tracePt t="31297" x="3925888" y="4775200"/>
          <p14:tracePt t="31306" x="3797300" y="4818063"/>
          <p14:tracePt t="31313" x="3703638" y="4868863"/>
          <p14:tracePt t="31322" x="3627438" y="4911725"/>
          <p14:tracePt t="31330" x="3551238" y="4987925"/>
          <p14:tracePt t="31338" x="3492500" y="5056188"/>
          <p14:tracePt t="31347" x="3441700" y="5132388"/>
          <p14:tracePt t="31354" x="3424238" y="5192713"/>
          <p14:tracePt t="31362" x="3432175" y="5276850"/>
          <p14:tracePt t="31370" x="3475038" y="5345113"/>
          <p14:tracePt t="31378" x="3576638" y="5421313"/>
          <p14:tracePt t="31386" x="3695700" y="5497513"/>
          <p14:tracePt t="31394" x="3832225" y="5565775"/>
          <p14:tracePt t="31402" x="4103688" y="5668963"/>
          <p14:tracePt t="31412" x="4281488" y="5684838"/>
          <p14:tracePt t="31417" x="4579938" y="5702300"/>
          <p14:tracePt t="31427" x="4783138" y="5702300"/>
          <p14:tracePt t="31434" x="5038725" y="5641975"/>
          <p14:tracePt t="31442" x="5191125" y="5591175"/>
          <p14:tracePt t="31450" x="5310188" y="5532438"/>
          <p14:tracePt t="31458" x="5360988" y="5497513"/>
          <p14:tracePt t="31466" x="5386388" y="5446713"/>
          <p14:tracePt t="31477" x="5394325" y="5395913"/>
          <p14:tracePt t="31483" x="5394325" y="5337175"/>
          <p14:tracePt t="31489" x="5335588" y="5243513"/>
          <p14:tracePt t="31497" x="5267325" y="5157788"/>
          <p14:tracePt t="31505" x="5122863" y="5038725"/>
          <p14:tracePt t="31513" x="4995863" y="4919663"/>
          <p14:tracePt t="31521" x="4714875" y="4784725"/>
          <p14:tracePt t="31529" x="4529138" y="4691063"/>
          <p14:tracePt t="31537" x="4332288" y="4648200"/>
          <p14:tracePt t="31545" x="3976688" y="4630738"/>
          <p14:tracePt t="31553" x="3771900" y="4630738"/>
          <p14:tracePt t="31561" x="3508375" y="4640263"/>
          <p14:tracePt t="31569" x="3279775" y="4699000"/>
          <p14:tracePt t="31577" x="3024188" y="4767263"/>
          <p14:tracePt t="31585" x="2854325" y="4852988"/>
          <p14:tracePt t="31593" x="2693988" y="4946650"/>
          <p14:tracePt t="31601" x="2582863" y="5005388"/>
          <p14:tracePt t="31610" x="2514600" y="5073650"/>
          <p14:tracePt t="31617" x="2497138" y="5132388"/>
          <p14:tracePt t="31626" x="2497138" y="5192713"/>
          <p14:tracePt t="31633" x="2574925" y="5311775"/>
          <p14:tracePt t="31642" x="2668588" y="5387975"/>
          <p14:tracePt t="31649" x="2838450" y="5489575"/>
          <p14:tracePt t="31657" x="2973388" y="5549900"/>
          <p14:tracePt t="31665" x="3160713" y="5600700"/>
          <p14:tracePt t="31673" x="3313113" y="5600700"/>
          <p14:tracePt t="31681" x="3467100" y="5600700"/>
          <p14:tracePt t="31690" x="3662363" y="5591175"/>
          <p14:tracePt t="31697" x="3763963" y="5583238"/>
          <p14:tracePt t="31706" x="3840163" y="5540375"/>
          <p14:tracePt t="31713" x="3857625" y="5524500"/>
          <p14:tracePt t="31722" x="3857625" y="5489575"/>
          <p14:tracePt t="31729" x="3832225" y="5456238"/>
          <p14:tracePt t="31737" x="3756025" y="5387975"/>
          <p14:tracePt t="31745" x="3662363" y="5327650"/>
          <p14:tracePt t="31753" x="3525838" y="5243513"/>
          <p14:tracePt t="31762" x="3194050" y="5099050"/>
          <p14:tracePt t="31769" x="2982913" y="5022850"/>
          <p14:tracePt t="31777" x="2549525" y="4903788"/>
          <p14:tracePt t="31785" x="2336800" y="4878388"/>
          <p14:tracePt t="31793" x="2047875" y="4878388"/>
          <p14:tracePt t="31801" x="1893888" y="4919663"/>
          <p14:tracePt t="31810" x="1766888" y="4979988"/>
          <p14:tracePt t="31817" x="1673225" y="5030788"/>
          <p14:tracePt t="31826" x="1606550" y="5091113"/>
          <p14:tracePt t="31833" x="1554163" y="5167313"/>
          <p14:tracePt t="31841" x="1528763" y="5218113"/>
          <p14:tracePt t="31849" x="1528763" y="5276850"/>
          <p14:tracePt t="31857" x="1563688" y="5319713"/>
          <p14:tracePt t="31865" x="1639888" y="5387975"/>
          <p14:tracePt t="31873" x="1716088" y="5413375"/>
          <p14:tracePt t="31881" x="1843088" y="5446713"/>
          <p14:tracePt t="31890" x="1971675" y="5446713"/>
          <p14:tracePt t="31897" x="2098675" y="5446713"/>
          <p14:tracePt t="31906" x="2319338" y="5438775"/>
          <p14:tracePt t="31913" x="2481263" y="5413375"/>
          <p14:tracePt t="31922" x="2659063" y="5362575"/>
          <p14:tracePt t="31929" x="2735263" y="5319713"/>
          <p14:tracePt t="31937" x="2786063" y="5251450"/>
          <p14:tracePt t="31945" x="2795588" y="5218113"/>
          <p14:tracePt t="31952" x="2795588" y="5200650"/>
          <p14:tracePt t="31961" x="2786063" y="5149850"/>
          <p14:tracePt t="31968" x="2735263" y="5099050"/>
          <p14:tracePt t="31977" x="2684463" y="5064125"/>
          <p14:tracePt t="31985" x="2633663" y="5030788"/>
          <p14:tracePt t="31993" x="2532063" y="5005388"/>
          <p14:tracePt t="32001" x="2455863" y="4997450"/>
          <p14:tracePt t="32009" x="2362200" y="4997450"/>
          <p14:tracePt t="32017" x="2286000" y="5022850"/>
          <p14:tracePt t="32025" x="2174875" y="5091113"/>
          <p14:tracePt t="32033" x="2124075" y="5157788"/>
          <p14:tracePt t="32041" x="2106613" y="5235575"/>
          <p14:tracePt t="32049" x="2081213" y="5319713"/>
          <p14:tracePt t="32057" x="2081213" y="5362575"/>
          <p14:tracePt t="32065" x="2132013" y="5421313"/>
          <p14:tracePt t="32073" x="2182813" y="5456238"/>
          <p14:tracePt t="32081" x="2276475" y="5481638"/>
          <p14:tracePt t="32090" x="2362200" y="5489575"/>
          <p14:tracePt t="32097" x="2471738" y="5489575"/>
          <p14:tracePt t="32106" x="2574925" y="5481638"/>
          <p14:tracePt t="32113" x="2659063" y="5456238"/>
          <p14:tracePt t="32121" x="2778125" y="5421313"/>
          <p14:tracePt t="32129" x="2828925" y="5405438"/>
          <p14:tracePt t="32137" x="2879725" y="5370513"/>
          <p14:tracePt t="32145" x="2889250" y="5353050"/>
          <p14:tracePt t="32153" x="2905125" y="5353050"/>
          <p14:tracePt t="32162" x="2914650" y="5353050"/>
          <p14:tracePt t="32650" x="2914650" y="5345113"/>
          <p14:tracePt t="32658" x="2922588" y="5345113"/>
          <p14:tracePt t="32666" x="2940050" y="5337175"/>
          <p14:tracePt t="32674" x="2947988" y="5319713"/>
          <p14:tracePt t="32683" x="2965450" y="5319713"/>
          <p14:tracePt t="32691" x="2982913" y="5319713"/>
          <p14:tracePt t="32698" x="2998788" y="5311775"/>
          <p14:tracePt t="32707" x="3008313" y="5311775"/>
          <p14:tracePt t="32714" x="3033713" y="5311775"/>
          <p14:tracePt t="32723" x="3041650" y="5311775"/>
          <p14:tracePt t="32731" x="3074988" y="5302250"/>
          <p14:tracePt t="32739" x="3100388" y="5302250"/>
          <p14:tracePt t="32747" x="3143250" y="5302250"/>
          <p14:tracePt t="32754" x="3168650" y="5302250"/>
          <p14:tracePt t="32762" x="3203575" y="5302250"/>
          <p14:tracePt t="32770" x="3236913" y="5302250"/>
          <p14:tracePt t="32777" x="3244850" y="5302250"/>
          <p14:tracePt t="32786" x="3270250" y="5294313"/>
          <p14:tracePt t="32794" x="3297238" y="5294313"/>
          <p14:tracePt t="32801" x="3313113" y="5286375"/>
          <p14:tracePt t="33034" x="3313113" y="5294313"/>
          <p14:tracePt t="33042" x="3313113" y="5311775"/>
          <p14:tracePt t="33066" x="3313113" y="5319713"/>
          <p14:tracePt t="33075" x="3313113" y="5327650"/>
          <p14:tracePt t="33106" x="3313113" y="5337175"/>
          <p14:tracePt t="33129" x="3313113" y="5345113"/>
          <p14:tracePt t="33250" x="3322638" y="5345113"/>
          <p14:tracePt t="33258" x="3330575" y="5345113"/>
          <p14:tracePt t="33266" x="3338513" y="5345113"/>
          <p14:tracePt t="33275" x="3348038" y="5345113"/>
          <p14:tracePt t="33281" x="3355975" y="5345113"/>
          <p14:tracePt t="33289" x="3363913" y="5345113"/>
          <p14:tracePt t="33297" x="3381375" y="5345113"/>
          <p14:tracePt t="33305" x="3389313" y="5345113"/>
          <p14:tracePt t="33313" x="3398838" y="5345113"/>
          <p14:tracePt t="33321" x="3414713" y="5337175"/>
          <p14:tracePt t="33328" x="3441700" y="5319713"/>
          <p14:tracePt t="33337" x="3467100" y="5302250"/>
          <p14:tracePt t="33345" x="3508375" y="5268913"/>
          <p14:tracePt t="33353" x="3543300" y="5243513"/>
          <p14:tracePt t="33361" x="3611563" y="5175250"/>
          <p14:tracePt t="33369" x="3678238" y="5124450"/>
          <p14:tracePt t="33376" x="3781425" y="5022850"/>
          <p14:tracePt t="33385" x="3883025" y="4919663"/>
          <p14:tracePt t="33393" x="3984625" y="4775200"/>
          <p14:tracePt t="33401" x="4222750" y="4351338"/>
          <p14:tracePt t="33409" x="4418013" y="4087813"/>
          <p14:tracePt t="33418" x="4714875" y="3578225"/>
          <p14:tracePt t="33427" x="4859338" y="3246438"/>
          <p14:tracePt t="33433" x="5021263" y="2838450"/>
          <p14:tracePt t="33441" x="5097463" y="2574925"/>
          <p14:tracePt t="33449" x="5208588" y="2227263"/>
          <p14:tracePt t="33458" x="5233988" y="2065338"/>
          <p14:tracePt t="33466" x="5249863" y="1938338"/>
          <p14:tracePt t="33474" x="5249863" y="1809750"/>
          <p14:tracePt t="33481" x="5249863" y="1733550"/>
          <p14:tracePt t="33490" x="5249863" y="1665288"/>
          <p14:tracePt t="33497" x="5249863" y="1631950"/>
          <p14:tracePt t="33506" x="5241925" y="1597025"/>
          <p14:tracePt t="33513" x="5241925" y="1571625"/>
          <p14:tracePt t="33522" x="5241925" y="1563688"/>
          <p14:tracePt t="33529" x="5241925" y="1555750"/>
          <p14:tracePt t="33538" x="5241925" y="1546225"/>
          <p14:tracePt t="33545" x="5259388" y="1546225"/>
          <p14:tracePt t="33554" x="5284788" y="1546225"/>
          <p14:tracePt t="33570" x="5292725" y="1538288"/>
          <p14:tracePt t="33746" x="5292725" y="1530350"/>
          <p14:tracePt t="33754" x="5292725" y="1520825"/>
          <p14:tracePt t="33762" x="5276850" y="1504950"/>
          <p14:tracePt t="33770" x="5259388" y="1495425"/>
          <p14:tracePt t="33778" x="5224463" y="1477963"/>
          <p14:tracePt t="33786" x="5216525" y="1462088"/>
          <p14:tracePt t="33795" x="5183188" y="1452563"/>
          <p14:tracePt t="33802" x="5140325" y="1452563"/>
          <p14:tracePt t="33811" x="5054600" y="1452563"/>
          <p14:tracePt t="33819" x="4962525" y="1470025"/>
          <p14:tracePt t="33828" x="4851400" y="1477963"/>
          <p14:tracePt t="33835" x="4689475" y="1520825"/>
          <p14:tracePt t="33842" x="4494213" y="1546225"/>
          <p14:tracePt t="33850" x="4187825" y="1614488"/>
          <p14:tracePt t="33858" x="4044950" y="1639888"/>
          <p14:tracePt t="33866" x="3900488" y="1649413"/>
          <p14:tracePt t="33874" x="3797300" y="1649413"/>
          <p14:tracePt t="33882" x="3662363" y="1674813"/>
          <p14:tracePt t="33891" x="3559175" y="1700213"/>
          <p14:tracePt t="33898" x="3457575" y="1708150"/>
          <p14:tracePt t="33907" x="3313113" y="1741488"/>
          <p14:tracePt t="33915" x="3168650" y="1766888"/>
          <p14:tracePt t="33923" x="3084513" y="1793875"/>
          <p14:tracePt t="33931" x="2998788" y="1801813"/>
          <p14:tracePt t="33939" x="2879725" y="1801813"/>
          <p14:tracePt t="33946" x="2811463" y="1801813"/>
          <p14:tracePt t="33953" x="2727325" y="1801813"/>
          <p14:tracePt t="33961" x="2668588" y="1784350"/>
          <p14:tracePt t="33970" x="2590800" y="1766888"/>
          <p14:tracePt t="33978" x="2557463" y="1758950"/>
          <p14:tracePt t="33994" x="2524125" y="1741488"/>
          <p14:tracePt t="34050" x="2514600" y="1741488"/>
          <p14:tracePt t="34066" x="2506663" y="1741488"/>
          <p14:tracePt t="34081" x="2497138" y="1741488"/>
          <p14:tracePt t="34106" x="2489200" y="1741488"/>
          <p14:tracePt t="34923" x="2489200" y="1758950"/>
          <p14:tracePt t="34929" x="2497138" y="1827213"/>
          <p14:tracePt t="34937" x="2549525" y="1928813"/>
          <p14:tracePt t="34945" x="2625725" y="2108200"/>
          <p14:tracePt t="34953" x="2684463" y="2235200"/>
          <p14:tracePt t="34961" x="2786063" y="2430463"/>
          <p14:tracePt t="34969" x="2846388" y="2541588"/>
          <p14:tracePt t="34978" x="2897188" y="2625725"/>
          <p14:tracePt t="34985" x="2940050" y="2676525"/>
          <p14:tracePt t="34994" x="2982913" y="2719388"/>
          <p14:tracePt t="35000" x="3024188" y="2770188"/>
          <p14:tracePt t="35009" x="3041650" y="2787650"/>
          <p14:tracePt t="35017" x="3074988" y="2805113"/>
          <p14:tracePt t="35025" x="3100388" y="2805113"/>
          <p14:tracePt t="35033" x="3143250" y="2805113"/>
          <p14:tracePt t="35041" x="3186113" y="2805113"/>
          <p14:tracePt t="35049" x="3219450" y="2795588"/>
          <p14:tracePt t="35057" x="3270250" y="2762250"/>
          <p14:tracePt t="35065" x="3305175" y="2744788"/>
          <p14:tracePt t="35073" x="3348038" y="2719388"/>
          <p14:tracePt t="35081" x="3363913" y="2701925"/>
          <p14:tracePt t="35090" x="3381375" y="2676525"/>
          <p14:tracePt t="35107" x="3381375" y="2651125"/>
          <p14:tracePt t="35114" x="3348038" y="2625725"/>
          <p14:tracePt t="35122" x="3287713" y="2574925"/>
          <p14:tracePt t="35130" x="3219450" y="2532063"/>
          <p14:tracePt t="35138" x="3168650" y="2489200"/>
          <p14:tracePt t="35146" x="3092450" y="2447925"/>
          <p14:tracePt t="35154" x="3033713" y="2413000"/>
          <p14:tracePt t="35162" x="3016250" y="2405063"/>
          <p14:tracePt t="35305" x="3024188" y="2405063"/>
          <p14:tracePt t="35313" x="3041650" y="2405063"/>
          <p14:tracePt t="35321" x="3074988" y="2405063"/>
          <p14:tracePt t="35329" x="3100388" y="2413000"/>
          <p14:tracePt t="35337" x="3143250" y="2430463"/>
          <p14:tracePt t="35345" x="3168650" y="2438400"/>
          <p14:tracePt t="35353" x="3203575" y="2455863"/>
          <p14:tracePt t="35361" x="3236913" y="2473325"/>
          <p14:tracePt t="35369" x="3254375" y="2481263"/>
          <p14:tracePt t="35378" x="3287713" y="2489200"/>
          <p14:tracePt t="35385" x="3287713" y="2498725"/>
          <p14:tracePt t="35394" x="3305175" y="2498725"/>
          <p14:tracePt t="35442" x="3305175" y="2481263"/>
          <p14:tracePt t="35448" x="3305175" y="2455863"/>
          <p14:tracePt t="35457" x="3297238" y="2430463"/>
          <p14:tracePt t="35465" x="3262313" y="2397125"/>
          <p14:tracePt t="35473" x="3219450" y="2344738"/>
          <p14:tracePt t="35481" x="3152775" y="2278063"/>
          <p14:tracePt t="35489" x="3074988" y="2235200"/>
          <p14:tracePt t="35497" x="3008313" y="2174875"/>
          <p14:tracePt t="35506" x="2922588" y="2124075"/>
          <p14:tracePt t="35513" x="2828925" y="2090738"/>
          <p14:tracePt t="35522" x="2709863" y="2030413"/>
          <p14:tracePt t="35529" x="2625725" y="1997075"/>
          <p14:tracePt t="35538" x="2532063" y="1971675"/>
          <p14:tracePt t="35545" x="2463800" y="1963738"/>
          <p14:tracePt t="35553" x="2405063" y="1954213"/>
          <p14:tracePt t="35561" x="2319338" y="1938338"/>
          <p14:tracePt t="35568" x="2268538" y="1928813"/>
          <p14:tracePt t="35577" x="2235200" y="1928813"/>
          <p14:tracePt t="35585" x="2225675" y="1928813"/>
          <p14:tracePt t="35592" x="2217738" y="1928813"/>
          <p14:tracePt t="36474" x="2217738" y="1920875"/>
          <p14:tracePt t="36507" x="2235200" y="1911350"/>
          <p14:tracePt t="36514" x="2251075" y="1911350"/>
          <p14:tracePt t="36523" x="2260600" y="1911350"/>
          <p14:tracePt t="36530" x="2268538" y="1911350"/>
          <p14:tracePt t="36539" x="2276475" y="1903413"/>
          <p14:tracePt t="36594" x="2286000" y="1903413"/>
          <p14:tracePt t="36634" x="2217738" y="1920875"/>
          <p14:tracePt t="36786" x="2208213" y="1920875"/>
          <p14:tracePt t="36826" x="2208213" y="1928813"/>
          <p14:tracePt t="36834" x="2217738" y="1928813"/>
          <p14:tracePt t="36850" x="2225675" y="1928813"/>
          <p14:tracePt t="36891" x="2243138" y="1920875"/>
          <p14:tracePt t="36939" x="2251075" y="1920875"/>
          <p14:tracePt t="36962" x="2260600" y="1920875"/>
          <p14:tracePt t="37064" x="2260600" y="1911350"/>
          <p14:tracePt t="37073" x="2243138" y="1903413"/>
          <p14:tracePt t="37081" x="2243138" y="1895475"/>
          <p14:tracePt t="37090" x="2225675" y="1878013"/>
          <p14:tracePt t="37097" x="2200275" y="1860550"/>
          <p14:tracePt t="37106" x="2192338" y="1860550"/>
          <p14:tracePt t="37113" x="2166938" y="1844675"/>
          <p14:tracePt t="37121" x="2149475" y="1827213"/>
          <p14:tracePt t="37128" x="2132013" y="1819275"/>
          <p14:tracePt t="37137" x="2124075" y="1809750"/>
          <p14:tracePt t="37145" x="2098675" y="1801813"/>
          <p14:tracePt t="37153" x="2090738" y="1801813"/>
          <p14:tracePt t="37161" x="2081213" y="1801813"/>
          <p14:tracePt t="37339" x="2065338" y="1801813"/>
          <p14:tracePt t="37346" x="2047875" y="1801813"/>
          <p14:tracePt t="37354" x="2012950" y="1801813"/>
          <p14:tracePt t="37362" x="1954213" y="1793875"/>
          <p14:tracePt t="37370" x="1903413" y="1793875"/>
          <p14:tracePt t="37379" x="1817688" y="1793875"/>
          <p14:tracePt t="37386" x="1758950" y="1793875"/>
          <p14:tracePt t="37394" x="1657350" y="1793875"/>
          <p14:tracePt t="37402" x="1589088" y="1793875"/>
          <p14:tracePt t="37412" x="1528763" y="1793875"/>
          <p14:tracePt t="37418" x="1444625" y="1793875"/>
          <p14:tracePt t="37429" x="1384300" y="1793875"/>
          <p14:tracePt t="37434" x="1325563" y="1809750"/>
          <p14:tracePt t="37444" x="1290638" y="1819275"/>
          <p14:tracePt t="37450" x="1274763" y="1819275"/>
          <p14:tracePt t="37507" x="1282700" y="1819275"/>
          <p14:tracePt t="37514" x="1290638" y="1819275"/>
          <p14:tracePt t="37523" x="1308100" y="1819275"/>
          <p14:tracePt t="37530" x="1317625" y="1819275"/>
          <p14:tracePt t="37539" x="1325563" y="1819275"/>
          <p14:tracePt t="37601" x="1333500" y="1819275"/>
          <p14:tracePt t="37834" x="1325563" y="1835150"/>
          <p14:tracePt t="37843" x="1317625" y="1870075"/>
          <p14:tracePt t="37850" x="1308100" y="1938338"/>
          <p14:tracePt t="37858" x="1300163" y="2030413"/>
          <p14:tracePt t="37866" x="1282700" y="2159000"/>
          <p14:tracePt t="37874" x="1282700" y="2268538"/>
          <p14:tracePt t="37882" x="1317625" y="2455863"/>
          <p14:tracePt t="37891" x="1384300" y="2608263"/>
          <p14:tracePt t="37898" x="1452563" y="2727325"/>
          <p14:tracePt t="37907" x="1571625" y="2922588"/>
          <p14:tracePt t="37915" x="1657350" y="3067050"/>
          <p14:tracePt t="37922" x="1766888" y="3221038"/>
          <p14:tracePt t="37931" x="1860550" y="3305175"/>
          <p14:tracePt t="37938" x="2005013" y="3416300"/>
          <p14:tracePt t="37945" x="2098675" y="3467100"/>
          <p14:tracePt t="37954" x="2243138" y="3517900"/>
          <p14:tracePt t="37962" x="2362200" y="3535363"/>
          <p14:tracePt t="37970" x="2471738" y="3560763"/>
          <p14:tracePt t="37977" x="2641600" y="3560763"/>
          <p14:tracePt t="37994" x="2879725" y="3560763"/>
          <p14:tracePt t="38002" x="2982913" y="3543300"/>
          <p14:tracePt t="38010" x="3117850" y="3527425"/>
          <p14:tracePt t="38018" x="3186113" y="3502025"/>
          <p14:tracePt t="38027" x="3305175" y="3459163"/>
          <p14:tracePt t="38034" x="3381375" y="3408363"/>
          <p14:tracePt t="38043" x="3457575" y="3365500"/>
          <p14:tracePt t="38050" x="3525838" y="3322638"/>
          <p14:tracePt t="38058" x="3576638" y="3297238"/>
          <p14:tracePt t="38064" x="3594100" y="3289300"/>
          <p14:tracePt t="38073" x="3594100" y="3279775"/>
          <p14:tracePt t="38081" x="3602038" y="3271838"/>
          <p14:tracePt t="38097" x="3594100" y="3271838"/>
          <p14:tracePt t="38105" x="3568700" y="3263900"/>
          <p14:tracePt t="38112" x="3533775" y="3246438"/>
          <p14:tracePt t="38121" x="3457575" y="3211513"/>
          <p14:tracePt t="38129" x="3363913" y="3160713"/>
          <p14:tracePt t="38137" x="3194050" y="3084513"/>
          <p14:tracePt t="38145" x="3059113" y="3008313"/>
          <p14:tracePt t="38153" x="2820988" y="2820988"/>
          <p14:tracePt t="38161" x="2590800" y="2693988"/>
          <p14:tracePt t="38169" x="2293938" y="2455863"/>
          <p14:tracePt t="38177" x="2132013" y="2286000"/>
          <p14:tracePt t="38185" x="1971675" y="2124075"/>
          <p14:tracePt t="38194" x="1741488" y="1878013"/>
          <p14:tracePt t="38201" x="1647825" y="1793875"/>
          <p14:tracePt t="38209" x="1579563" y="1700213"/>
          <p14:tracePt t="38217" x="1563688" y="1682750"/>
          <p14:tracePt t="38225" x="1563688" y="1674813"/>
          <p14:tracePt t="38298" x="1563688" y="1682750"/>
          <p14:tracePt t="38307" x="1563688" y="1708150"/>
          <p14:tracePt t="38313" x="1563688" y="1733550"/>
          <p14:tracePt t="38321" x="1563688" y="1741488"/>
          <p14:tracePt t="38329" x="1563688" y="1758950"/>
          <p14:tracePt t="38337" x="1554163" y="1758950"/>
          <p14:tracePt t="38345" x="1546225" y="1776413"/>
          <p14:tracePt t="38353" x="1546225" y="1793875"/>
          <p14:tracePt t="38369" x="1546225" y="1801813"/>
          <p14:tracePt t="38377" x="1546225" y="1809750"/>
          <p14:tracePt t="38385" x="1538288" y="1809750"/>
          <p14:tracePt t="38393" x="1538288" y="1819275"/>
          <p14:tracePt t="38401" x="1538288" y="1827213"/>
          <p14:tracePt t="38410" x="1528763" y="1835150"/>
          <p14:tracePt t="38417" x="1528763" y="1852613"/>
          <p14:tracePt t="38425" x="1528763" y="1885950"/>
          <p14:tracePt t="38433" x="1528763" y="1938338"/>
          <p14:tracePt t="38442" x="1528763" y="2022475"/>
          <p14:tracePt t="38449" x="1554163" y="2141538"/>
          <p14:tracePt t="38457" x="1597025" y="2344738"/>
          <p14:tracePt t="38465" x="1631950" y="2516188"/>
          <p14:tracePt t="38473" x="1690688" y="2693988"/>
          <p14:tracePt t="38481" x="1766888" y="2957513"/>
          <p14:tracePt t="38490" x="1792288" y="3094038"/>
          <p14:tracePt t="38497" x="1817688" y="3228975"/>
          <p14:tracePt t="38506" x="1827213" y="3314700"/>
          <p14:tracePt t="38512" x="1843088" y="3416300"/>
          <p14:tracePt t="38521" x="1852613" y="3441700"/>
          <p14:tracePt t="38528" x="1860550" y="3475038"/>
          <p14:tracePt t="38537" x="1860550" y="3484563"/>
          <p14:tracePt t="38545" x="1860550" y="3492500"/>
          <p14:tracePt t="38610" x="1860550" y="3484563"/>
          <p14:tracePt t="38634" x="1860550" y="3475038"/>
          <p14:tracePt t="38650" x="1860550" y="3467100"/>
          <p14:tracePt t="38658" x="1860550" y="3449638"/>
          <p14:tracePt t="38666" x="1843088" y="3424238"/>
          <p14:tracePt t="38674" x="1809750" y="3390900"/>
          <p14:tracePt t="38680" x="1776413" y="3340100"/>
          <p14:tracePt t="38689" x="1708150" y="3271838"/>
          <p14:tracePt t="38697" x="1631950" y="3178175"/>
          <p14:tracePt t="38705" x="1538288" y="3109913"/>
          <p14:tracePt t="38713" x="1393825" y="2990850"/>
          <p14:tracePt t="38721" x="1300163" y="2932113"/>
          <p14:tracePt t="38729" x="1181100" y="2855913"/>
          <p14:tracePt t="38737" x="1087438" y="2795588"/>
          <p14:tracePt t="38745" x="960438" y="2736850"/>
          <p14:tracePt t="38753" x="892175" y="2693988"/>
          <p14:tracePt t="38761" x="858838" y="2651125"/>
          <p14:tracePt t="38769" x="823913" y="2625725"/>
          <p14:tracePt t="38778" x="815975" y="2600325"/>
          <p14:tracePt t="38785" x="815975" y="2592388"/>
          <p14:tracePt t="38794" x="823913" y="2566988"/>
          <p14:tracePt t="38801" x="849313" y="2532063"/>
          <p14:tracePt t="38809" x="900113" y="2498725"/>
          <p14:tracePt t="38817" x="960438" y="2455863"/>
          <p14:tracePt t="38825" x="1003300" y="2447925"/>
          <p14:tracePt t="38833" x="1062038" y="2438400"/>
          <p14:tracePt t="38842" x="1147763" y="2438400"/>
          <p14:tracePt t="38849" x="1223963" y="2438400"/>
          <p14:tracePt t="38858" x="1325563" y="2438400"/>
          <p14:tracePt t="38865" x="1427163" y="2455863"/>
          <p14:tracePt t="38873" x="1554163" y="2473325"/>
          <p14:tracePt t="38881" x="1657350" y="2498725"/>
          <p14:tracePt t="38890" x="1766888" y="2532063"/>
          <p14:tracePt t="38898" x="1860550" y="2566988"/>
          <p14:tracePt t="38906" x="1936750" y="2600325"/>
          <p14:tracePt t="38913" x="2038350" y="2625725"/>
          <p14:tracePt t="38921" x="2081213" y="2643188"/>
          <p14:tracePt t="38929" x="2116138" y="2660650"/>
          <p14:tracePt t="38938" x="2132013" y="2668588"/>
          <p14:tracePt t="38945" x="2141538" y="2668588"/>
          <p14:tracePt t="38986" x="2132013" y="2676525"/>
          <p14:tracePt t="38993" x="2124075" y="2676525"/>
          <p14:tracePt t="39002" x="2098675" y="2676525"/>
          <p14:tracePt t="39009" x="2081213" y="2686050"/>
          <p14:tracePt t="39018" x="2038350" y="2693988"/>
          <p14:tracePt t="39026" x="2005013" y="2693988"/>
          <p14:tracePt t="39034" x="1946275" y="2701925"/>
          <p14:tracePt t="39042" x="1903413" y="2711450"/>
          <p14:tracePt t="39050" x="1860550" y="2719388"/>
          <p14:tracePt t="39058" x="1801813" y="2736850"/>
          <p14:tracePt t="39066" x="1749425" y="2744788"/>
          <p14:tracePt t="39073" x="1673225" y="2762250"/>
          <p14:tracePt t="39082" x="1597025" y="2795588"/>
          <p14:tracePt t="39090" x="1520825" y="2838450"/>
          <p14:tracePt t="39098" x="1462088" y="2881313"/>
          <p14:tracePt t="39106" x="1376363" y="2965450"/>
          <p14:tracePt t="39113" x="1333500" y="3025775"/>
          <p14:tracePt t="39122" x="1300163" y="3119438"/>
          <p14:tracePt t="39129" x="1290638" y="3246438"/>
          <p14:tracePt t="39138" x="1282700" y="3340100"/>
          <p14:tracePt t="39145" x="1308100" y="3449638"/>
          <p14:tracePt t="39154" x="1350963" y="3535363"/>
          <p14:tracePt t="39161" x="1435100" y="3629025"/>
          <p14:tracePt t="39170" x="1495425" y="3697288"/>
          <p14:tracePt t="39178" x="1606550" y="3756025"/>
          <p14:tracePt t="39186" x="1690688" y="3790950"/>
          <p14:tracePt t="39193" x="1766888" y="3806825"/>
          <p14:tracePt t="39201" x="1885950" y="3832225"/>
          <p14:tracePt t="39210" x="1971675" y="3841750"/>
          <p14:tracePt t="39218" x="2081213" y="3867150"/>
          <p14:tracePt t="39226" x="2182813" y="3875088"/>
          <p14:tracePt t="39234" x="2276475" y="3900488"/>
          <p14:tracePt t="39244" x="2362200" y="3908425"/>
          <p14:tracePt t="39250" x="2463800" y="3917950"/>
          <p14:tracePt t="39258" x="2497138" y="3935413"/>
          <p14:tracePt t="39266" x="2532063" y="3951288"/>
          <p14:tracePt t="39297" x="2506663" y="3951288"/>
          <p14:tracePt t="39306" x="2455863" y="3943350"/>
          <p14:tracePt t="39313" x="2379663" y="3892550"/>
          <p14:tracePt t="39322" x="2217738" y="3781425"/>
          <p14:tracePt t="39329" x="2012950" y="3636963"/>
          <p14:tracePt t="39338" x="1749425" y="3449638"/>
          <p14:tracePt t="39345" x="1317625" y="3178175"/>
          <p14:tracePt t="39353" x="1003300" y="2974975"/>
          <p14:tracePt t="39361" x="595313" y="2693988"/>
          <p14:tracePt t="39370" x="425450" y="2574925"/>
          <p14:tracePt t="39378" x="314325" y="2473325"/>
          <p14:tracePt t="39386" x="246063" y="2405063"/>
          <p14:tracePt t="39394" x="230188" y="2371725"/>
          <p14:tracePt t="39401" x="220663" y="2344738"/>
          <p14:tracePt t="39409" x="230188" y="2319338"/>
          <p14:tracePt t="39418" x="288925" y="2293938"/>
          <p14:tracePt t="39427" x="365125" y="2268538"/>
          <p14:tracePt t="39434" x="509588" y="2235200"/>
          <p14:tracePt t="39442" x="603250" y="2227263"/>
          <p14:tracePt t="39450" x="831850" y="2184400"/>
          <p14:tracePt t="39457" x="1062038" y="2124075"/>
          <p14:tracePt t="39466" x="1257300" y="2082800"/>
          <p14:tracePt t="39472" x="1546225" y="2014538"/>
          <p14:tracePt t="39481" x="1708150" y="1989138"/>
          <p14:tracePt t="39489" x="1868488" y="1963738"/>
          <p14:tracePt t="39497" x="1987550" y="1938338"/>
          <p14:tracePt t="39505" x="2081213" y="1938338"/>
          <p14:tracePt t="39513" x="2166938" y="1938338"/>
          <p14:tracePt t="39521" x="2243138" y="1938338"/>
          <p14:tracePt t="39529" x="2260600" y="1938338"/>
          <p14:tracePt t="39537" x="2286000" y="1938338"/>
          <p14:tracePt t="39545" x="2286000" y="1946275"/>
          <p14:tracePt t="39553" x="2286000" y="1954213"/>
          <p14:tracePt t="39561" x="2286000" y="1963738"/>
          <p14:tracePt t="39569" x="2286000" y="1979613"/>
          <p14:tracePt t="39577" x="2286000" y="2030413"/>
          <p14:tracePt t="39585" x="2286000" y="2065338"/>
          <p14:tracePt t="39592" x="2286000" y="2116138"/>
          <p14:tracePt t="39600" x="2286000" y="2149475"/>
          <p14:tracePt t="39608" x="2293938" y="2174875"/>
          <p14:tracePt t="39617" x="2301875" y="2184400"/>
          <p14:tracePt t="39641" x="2311400" y="2184400"/>
          <p14:tracePt t="39665" x="2319338" y="2184400"/>
          <p14:tracePt t="39673" x="2327275" y="2184400"/>
          <p14:tracePt t="39691" x="2336800" y="2166938"/>
          <p14:tracePt t="39697" x="2344738" y="2166938"/>
          <p14:tracePt t="39707" x="2344738" y="2149475"/>
          <p14:tracePt t="39713" x="2344738" y="2124075"/>
          <p14:tracePt t="39722" x="2344738" y="2108200"/>
          <p14:tracePt t="39730" x="2344738" y="2082800"/>
          <p14:tracePt t="39739" x="2327275" y="2039938"/>
          <p14:tracePt t="39746" x="2301875" y="1997075"/>
          <p14:tracePt t="39753" x="2260600" y="1971675"/>
          <p14:tracePt t="39762" x="2217738" y="1920875"/>
          <p14:tracePt t="39770" x="2200275" y="1895475"/>
          <p14:tracePt t="39777" x="2174875" y="1878013"/>
          <p14:tracePt t="39786" x="2149475" y="1870075"/>
          <p14:tracePt t="39794" x="2141538" y="1870075"/>
          <p14:tracePt t="39818" x="2141538" y="1860550"/>
          <p14:tracePt t="40978" x="2166938" y="1860550"/>
          <p14:tracePt t="41001" x="2166938" y="1844675"/>
          <p14:tracePt t="41017" x="2132013" y="1819275"/>
          <p14:tracePt t="41025" x="2090738" y="1776413"/>
          <p14:tracePt t="41033" x="2005013" y="1725613"/>
          <p14:tracePt t="41041" x="1954213" y="1682750"/>
          <p14:tracePt t="41049" x="1885950" y="1639888"/>
          <p14:tracePt t="41057" x="1809750" y="1614488"/>
          <p14:tracePt t="41065" x="1766888" y="1597025"/>
          <p14:tracePt t="41073" x="1690688" y="1589088"/>
          <p14:tracePt t="41081" x="1647825" y="1589088"/>
          <p14:tracePt t="41089" x="1606550" y="1581150"/>
          <p14:tracePt t="41097" x="1579563" y="1581150"/>
          <p14:tracePt t="41106" x="1546225" y="1581150"/>
          <p14:tracePt t="41113" x="1528763" y="1581150"/>
          <p14:tracePt t="41121" x="1512888" y="1581150"/>
          <p14:tracePt t="41129" x="1487488" y="1581150"/>
          <p14:tracePt t="41145" x="1477963" y="1571625"/>
          <p14:tracePt t="41161" x="1470025" y="1571625"/>
          <p14:tracePt t="42043" x="1477963" y="1571625"/>
          <p14:tracePt t="42050" x="1477963" y="1563688"/>
          <p14:tracePt t="42122" x="1477963" y="1581150"/>
          <p14:tracePt t="42130" x="1477963" y="1606550"/>
          <p14:tracePt t="42139" x="1470025" y="1665288"/>
          <p14:tracePt t="42146" x="1470025" y="1708150"/>
          <p14:tracePt t="42154" x="1477963" y="1784350"/>
          <p14:tracePt t="42162" x="1495425" y="1819275"/>
          <p14:tracePt t="42170" x="1528763" y="1852613"/>
          <p14:tracePt t="42179" x="1528763" y="1870075"/>
          <p14:tracePt t="42186" x="1554163" y="1878013"/>
          <p14:tracePt t="42194" x="1571625" y="1885950"/>
          <p14:tracePt t="42202" x="1589088" y="1885950"/>
          <p14:tracePt t="42213" x="1597025" y="1885950"/>
          <p14:tracePt t="42217" x="1606550" y="1885950"/>
          <p14:tracePt t="42226" x="1614488" y="1885950"/>
          <p14:tracePt t="42233" x="1631950" y="1885950"/>
          <p14:tracePt t="42243" x="1657350" y="1885950"/>
          <p14:tracePt t="42259" x="1673225" y="1878013"/>
          <p14:tracePt t="42265" x="1682750" y="1870075"/>
          <p14:tracePt t="42281" x="1690688" y="1870075"/>
          <p14:tracePt t="42346" x="1690688" y="1860550"/>
          <p14:tracePt t="42354" x="1682750" y="1860550"/>
          <p14:tracePt t="42362" x="1665288" y="1860550"/>
          <p14:tracePt t="42370" x="1631950" y="1852613"/>
          <p14:tracePt t="42379" x="1606550" y="1844675"/>
          <p14:tracePt t="42386" x="1563688" y="1835150"/>
          <p14:tracePt t="42394" x="1546225" y="1835150"/>
          <p14:tracePt t="42401" x="1528763" y="1827213"/>
          <p14:tracePt t="42410" x="1503363" y="1827213"/>
          <p14:tracePt t="42427" x="1495425" y="1827213"/>
          <p14:tracePt t="42434" x="1487488" y="1827213"/>
          <p14:tracePt t="42458" x="1477963" y="1827213"/>
          <p14:tracePt t="42474" x="1477963" y="1819275"/>
          <p14:tracePt t="42770" x="1477963" y="1809750"/>
          <p14:tracePt t="42786" x="1495425" y="1809750"/>
          <p14:tracePt t="42802" x="1512888" y="1809750"/>
          <p14:tracePt t="42809" x="1520825" y="1809750"/>
          <p14:tracePt t="42818" x="1538288" y="1809750"/>
          <p14:tracePt t="42826" x="1546225" y="1809750"/>
          <p14:tracePt t="42834" x="1546225" y="1801813"/>
          <p14:tracePt t="42843" x="1554163" y="1801813"/>
          <p14:tracePt t="42850" x="1563688" y="1801813"/>
          <p14:tracePt t="42860" x="1571625" y="1793875"/>
          <p14:tracePt t="42866" x="1571625" y="1784350"/>
          <p14:tracePt t="42874" x="1571625" y="1758950"/>
          <p14:tracePt t="42882" x="1554163" y="1725613"/>
          <p14:tracePt t="42891" x="1503363" y="1682750"/>
          <p14:tracePt t="42898" x="1477963" y="1665288"/>
          <p14:tracePt t="42907" x="1470025" y="1665288"/>
          <p14:tracePt t="43074" x="1462088" y="1665288"/>
          <p14:tracePt t="43082" x="1470025" y="1665288"/>
          <p14:tracePt t="43089" x="1462088" y="1665288"/>
          <p14:tracePt t="43105" x="1452563" y="1665288"/>
          <p14:tracePt t="43113" x="1444625" y="1665288"/>
          <p14:tracePt t="43121" x="1435100" y="1665288"/>
          <p14:tracePt t="43129" x="1427163" y="1665288"/>
          <p14:tracePt t="43137" x="1419225" y="1665288"/>
          <p14:tracePt t="43145" x="1409700" y="1665288"/>
          <p14:tracePt t="43161" x="1401763" y="1665288"/>
          <p14:tracePt t="43169" x="1393825" y="1665288"/>
          <p14:tracePt t="43265" x="1384300" y="1665288"/>
          <p14:tracePt t="43290" x="1376363" y="1665288"/>
          <p14:tracePt t="44018" x="1384300" y="1690688"/>
          <p14:tracePt t="44026" x="1419225" y="1741488"/>
          <p14:tracePt t="44032" x="1487488" y="1809750"/>
          <p14:tracePt t="44041" x="1579563" y="1903413"/>
          <p14:tracePt t="44049" x="1639888" y="1979613"/>
          <p14:tracePt t="44057" x="1698625" y="2073275"/>
          <p14:tracePt t="44065" x="1792288" y="2166938"/>
          <p14:tracePt t="44073" x="1868488" y="2235200"/>
          <p14:tracePt t="44080" x="1962150" y="2319338"/>
          <p14:tracePt t="44089" x="2022475" y="2362200"/>
          <p14:tracePt t="44097" x="2090738" y="2405063"/>
          <p14:tracePt t="44106" x="2141538" y="2430463"/>
          <p14:tracePt t="44113" x="2174875" y="2438400"/>
          <p14:tracePt t="44122" x="2217738" y="2438400"/>
          <p14:tracePt t="44129" x="2225675" y="2438400"/>
          <p14:tracePt t="44137" x="2243138" y="2438400"/>
          <p14:tracePt t="44145" x="2251075" y="2438400"/>
          <p14:tracePt t="44161" x="2251075" y="2430463"/>
          <p14:tracePt t="44169" x="2251075" y="2413000"/>
          <p14:tracePt t="44177" x="2251075" y="2405063"/>
          <p14:tracePt t="44185" x="2251075" y="2387600"/>
          <p14:tracePt t="44193" x="2251075" y="2362200"/>
          <p14:tracePt t="44201" x="2251075" y="2344738"/>
          <p14:tracePt t="44210" x="2251075" y="2311400"/>
          <p14:tracePt t="44217" x="2251075" y="2293938"/>
          <p14:tracePt t="44233" x="2251075" y="2278063"/>
          <p14:tracePt t="44242" x="2243138" y="2268538"/>
          <p14:tracePt t="44249" x="2235200" y="2268538"/>
          <p14:tracePt t="44258" x="2217738" y="2252663"/>
          <p14:tracePt t="44265" x="2208213" y="2227263"/>
          <p14:tracePt t="44273" x="2192338" y="2209800"/>
          <p14:tracePt t="44281" x="2192338" y="2192338"/>
          <p14:tracePt t="44290" x="2182813" y="2174875"/>
          <p14:tracePt t="44297" x="2166938" y="2149475"/>
          <p14:tracePt t="44306" x="2166938" y="2141538"/>
          <p14:tracePt t="44314" x="2166938" y="2124075"/>
          <p14:tracePt t="44322" x="2157413" y="2116138"/>
          <p14:tracePt t="44329" x="2157413" y="2108200"/>
          <p14:tracePt t="44345" x="2149475" y="2108200"/>
          <p14:tracePt t="44385" x="2157413" y="2108200"/>
          <p14:tracePt t="44393" x="2166938" y="2108200"/>
          <p14:tracePt t="44401" x="2174875" y="2108200"/>
          <p14:tracePt t="44409" x="2192338" y="2108200"/>
          <p14:tracePt t="44417" x="2200275" y="2108200"/>
          <p14:tracePt t="44425" x="2208213" y="2108200"/>
          <p14:tracePt t="46376" x="2217738" y="2116138"/>
          <p14:tracePt t="46384" x="2251075" y="2174875"/>
          <p14:tracePt t="46393" x="2301875" y="2217738"/>
          <p14:tracePt t="46400" x="2379663" y="2260600"/>
          <p14:tracePt t="46409" x="2471738" y="2328863"/>
          <p14:tracePt t="46416" x="2532063" y="2371725"/>
          <p14:tracePt t="46424" x="2616200" y="2430463"/>
          <p14:tracePt t="46432" x="2693988" y="2455863"/>
          <p14:tracePt t="46441" x="2752725" y="2481263"/>
          <p14:tracePt t="46448" x="2811463" y="2498725"/>
          <p14:tracePt t="46457" x="2846388" y="2506663"/>
          <p14:tracePt t="46464" x="2889250" y="2506663"/>
          <p14:tracePt t="46472" x="2905125" y="2506663"/>
          <p14:tracePt t="46481" x="2914650" y="2506663"/>
          <p14:tracePt t="46497" x="2922588" y="2506663"/>
          <p14:tracePt t="46505" x="2930525" y="2506663"/>
          <p14:tracePt t="46521" x="2940050" y="2506663"/>
          <p14:tracePt t="46529" x="2947988" y="2498725"/>
          <p14:tracePt t="46537" x="2947988" y="2489200"/>
          <p14:tracePt t="46545" x="2947988" y="2481263"/>
          <p14:tracePt t="46553" x="2930525" y="2455863"/>
          <p14:tracePt t="46561" x="2905125" y="2413000"/>
          <p14:tracePt t="46569" x="2854325" y="2379663"/>
          <p14:tracePt t="46577" x="2828925" y="2354263"/>
          <p14:tracePt t="46585" x="2828925" y="2344738"/>
          <p14:tracePt t="46730" x="2828925" y="2354263"/>
          <p14:tracePt t="46739" x="2838450" y="2362200"/>
          <p14:tracePt t="46770" x="2838450" y="2371725"/>
          <p14:tracePt t="46825" x="2838450" y="2379663"/>
          <p14:tracePt t="46849" x="2846388" y="2379663"/>
          <p14:tracePt t="46866" x="2854325" y="2379663"/>
          <p14:tracePt t="46875" x="2854325" y="2387600"/>
          <p14:tracePt t="46898" x="2846388" y="2387600"/>
          <p14:tracePt t="46906" x="2838450" y="2387600"/>
          <p14:tracePt t="46913" x="2828925" y="2387600"/>
          <p14:tracePt t="46922" x="2811463" y="2397125"/>
          <p14:tracePt t="46938" x="2786063" y="2405063"/>
          <p14:tracePt t="46945" x="2778125" y="2405063"/>
          <p14:tracePt t="46954" x="2760663" y="2438400"/>
          <p14:tracePt t="46962" x="2752725" y="2463800"/>
          <p14:tracePt t="46970" x="2744788" y="2524125"/>
          <p14:tracePt t="46992" x="2744788" y="2633663"/>
          <p14:tracePt t="46995" x="2760663" y="2693988"/>
          <p14:tracePt t="47002" x="2803525" y="2744788"/>
          <p14:tracePt t="47010" x="2846388" y="2805113"/>
          <p14:tracePt t="47018" x="2905125" y="2820988"/>
          <p14:tracePt t="47026" x="2990850" y="2838450"/>
          <p14:tracePt t="47034" x="3084513" y="2855913"/>
          <p14:tracePt t="47042" x="3211513" y="2846388"/>
          <p14:tracePt t="47050" x="3322638" y="2838450"/>
          <p14:tracePt t="47059" x="3457575" y="2778125"/>
          <p14:tracePt t="47066" x="3543300" y="2736850"/>
          <p14:tracePt t="47074" x="3611563" y="2676525"/>
          <p14:tracePt t="47081" x="3652838" y="2600325"/>
          <p14:tracePt t="47092" x="3662363" y="2541588"/>
          <p14:tracePt t="47097" x="3662363" y="2447925"/>
          <p14:tracePt t="47107" x="3627438" y="2354263"/>
          <p14:tracePt t="47113" x="3543300" y="2217738"/>
          <p14:tracePt t="47122" x="3457575" y="2124075"/>
          <p14:tracePt t="47130" x="3313113" y="2022475"/>
          <p14:tracePt t="47137" x="3211513" y="1971675"/>
          <p14:tracePt t="47145" x="3109913" y="1954213"/>
          <p14:tracePt t="47154" x="2982913" y="1938338"/>
          <p14:tracePt t="47162" x="2897188" y="1938338"/>
          <p14:tracePt t="47170" x="2786063" y="1954213"/>
          <p14:tracePt t="47179" x="2709863" y="1989138"/>
          <p14:tracePt t="47186" x="2600325" y="2047875"/>
          <p14:tracePt t="47195" x="2549525" y="2108200"/>
          <p14:tracePt t="47201" x="2489200" y="2200275"/>
          <p14:tracePt t="47209" x="2455863" y="2286000"/>
          <p14:tracePt t="47218" x="2446338" y="2387600"/>
          <p14:tracePt t="47231" x="2463800" y="2506663"/>
          <p14:tracePt t="47234" x="2532063" y="2582863"/>
          <p14:tracePt t="47242" x="2625725" y="2668588"/>
          <p14:tracePt t="47250" x="2709863" y="2701925"/>
          <p14:tracePt t="47258" x="2838450" y="2711450"/>
          <p14:tracePt t="47266" x="2922588" y="2711450"/>
          <p14:tracePt t="47274" x="3041650" y="2693988"/>
          <p14:tracePt t="47281" x="3109913" y="2686050"/>
          <p14:tracePt t="47292" x="3186113" y="2651125"/>
          <p14:tracePt t="47297" x="3262313" y="2608263"/>
          <p14:tracePt t="47307" x="3287713" y="2582863"/>
          <p14:tracePt t="47313" x="3305175" y="2557463"/>
          <p14:tracePt t="47322" x="3305175" y="2541588"/>
          <p14:tracePt t="47329" x="3305175" y="2516188"/>
          <p14:tracePt t="47337" x="3287713" y="2481263"/>
          <p14:tracePt t="47345" x="3254375" y="2455863"/>
          <p14:tracePt t="47354" x="3203575" y="2422525"/>
          <p14:tracePt t="47361" x="3152775" y="2405063"/>
          <p14:tracePt t="47370" x="3067050" y="2405063"/>
          <p14:tracePt t="47377" x="3024188" y="2397125"/>
          <p14:tracePt t="47386" x="2940050" y="2397125"/>
          <p14:tracePt t="47393" x="2897188" y="2397125"/>
          <p14:tracePt t="47401" x="2846388" y="2397125"/>
          <p14:tracePt t="47410" x="2838450" y="2405063"/>
          <p14:tracePt t="47418" x="2828925" y="2405063"/>
          <p14:tracePt t="47434" x="2828925" y="2413000"/>
          <p14:tracePt t="47442" x="2828925" y="2430463"/>
          <p14:tracePt t="47450" x="2863850" y="2438400"/>
          <p14:tracePt t="47458" x="2905125" y="2438400"/>
          <p14:tracePt t="47466" x="2940050" y="2438400"/>
          <p14:tracePt t="47474" x="2982913" y="2438400"/>
          <p14:tracePt t="47481" x="3016250" y="2438400"/>
          <p14:tracePt t="47491" x="3033713" y="2438400"/>
          <p14:tracePt t="47506" x="3041650" y="2438400"/>
          <p14:tracePt t="47834" x="3049588" y="2438400"/>
          <p14:tracePt t="47850" x="3059113" y="2438400"/>
          <p14:tracePt t="47875" x="3059113" y="2430463"/>
          <p14:tracePt t="47892" x="3059113" y="2422525"/>
          <p14:tracePt t="47898" x="3049588" y="2413000"/>
          <p14:tracePt t="47908" x="3016250" y="2387600"/>
          <p14:tracePt t="47914" x="2973388" y="2344738"/>
          <p14:tracePt t="47923" x="2897188" y="2278063"/>
          <p14:tracePt t="47930" x="2846388" y="2235200"/>
          <p14:tracePt t="47939" x="2752725" y="2184400"/>
          <p14:tracePt t="47946" x="2701925" y="2141538"/>
          <p14:tracePt t="47954" x="2641600" y="2098675"/>
          <p14:tracePt t="47963" x="2574925" y="2047875"/>
          <p14:tracePt t="47970" x="2532063" y="2005013"/>
          <p14:tracePt t="47979" x="2471738" y="1963738"/>
          <p14:tracePt t="47993" x="2438400" y="1938338"/>
          <p14:tracePt t="47994" x="2395538" y="1911350"/>
          <p14:tracePt t="48002" x="2387600" y="1903413"/>
          <p14:tracePt t="48010" x="2379663" y="1895475"/>
          <p14:tracePt t="48594" x="2370138" y="1885950"/>
          <p14:tracePt t="48602" x="2362200" y="1885950"/>
          <p14:tracePt t="48610" x="2336800" y="1870075"/>
          <p14:tracePt t="48618" x="2311400" y="1844675"/>
          <p14:tracePt t="48627" x="2276475" y="1827213"/>
          <p14:tracePt t="48634" x="2251075" y="1801813"/>
          <p14:tracePt t="48643" x="2192338" y="1758950"/>
          <p14:tracePt t="48649" x="2124075" y="1725613"/>
          <p14:tracePt t="48659" x="2038350" y="1682750"/>
          <p14:tracePt t="48666" x="1946275" y="1674813"/>
          <p14:tracePt t="48674" x="1878013" y="1657350"/>
          <p14:tracePt t="48682" x="1792288" y="1649413"/>
          <p14:tracePt t="48691" x="1733550" y="1649413"/>
          <p14:tracePt t="48697" x="1657350" y="1649413"/>
          <p14:tracePt t="48707" x="1614488" y="1649413"/>
          <p14:tracePt t="48714" x="1563688" y="1657350"/>
          <p14:tracePt t="48722" x="1538288" y="1665288"/>
          <p14:tracePt t="48729" x="1503363" y="1665288"/>
          <p14:tracePt t="48738" x="1477963" y="1674813"/>
          <p14:tracePt t="48745" x="1452563" y="1682750"/>
          <p14:tracePt t="48754" x="1435100" y="1690688"/>
          <p14:tracePt t="48761" x="1409700" y="1700213"/>
          <p14:tracePt t="48770" x="1376363" y="1708150"/>
          <p14:tracePt t="48777" x="1350963" y="1708150"/>
          <p14:tracePt t="48786" x="1325563" y="1716088"/>
          <p14:tracePt t="48795" x="1300163" y="1716088"/>
          <p14:tracePt t="48801" x="1274763" y="1725613"/>
          <p14:tracePt t="48810" x="1231900" y="1725613"/>
          <p14:tracePt t="48818" x="1198563" y="1733550"/>
          <p14:tracePt t="48826" x="1181100" y="1741488"/>
          <p14:tracePt t="48833" x="1163638" y="1751013"/>
          <p14:tracePt t="48841" x="1138238" y="1751013"/>
          <p14:tracePt t="48849" x="1130300" y="1751013"/>
          <p14:tracePt t="48857" x="1130300" y="1758950"/>
          <p14:tracePt t="48873" x="1120775" y="1758950"/>
          <p14:tracePt t="48889" x="1112838" y="1758950"/>
          <p14:tracePt t="48897" x="1112838" y="1766888"/>
          <p14:tracePt t="48906" x="1104900" y="1766888"/>
          <p14:tracePt t="48913" x="1079500" y="1776413"/>
          <p14:tracePt t="48922" x="1069975" y="1776413"/>
          <p14:tracePt t="48929" x="1036638" y="1793875"/>
          <p14:tracePt t="48937" x="1011238" y="1801813"/>
          <p14:tracePt t="48945" x="993775" y="1809750"/>
          <p14:tracePt t="48953" x="985838" y="1819275"/>
          <p14:tracePt t="48961" x="976313" y="1819275"/>
          <p14:tracePt t="48969" x="968375" y="1819275"/>
          <p14:tracePt t="48977" x="968375" y="1827213"/>
          <p14:tracePt t="48992" x="960438" y="1827213"/>
          <p14:tracePt t="49066" x="950913" y="1827213"/>
          <p14:tracePt t="49075" x="942975" y="1827213"/>
          <p14:tracePt t="49082" x="935038" y="1835150"/>
          <p14:tracePt t="49092" x="917575" y="1835150"/>
          <p14:tracePt t="49098" x="917575" y="1844675"/>
          <p14:tracePt t="49108" x="909638" y="1844675"/>
          <p14:tracePt t="49339" x="900113" y="1844675"/>
          <p14:tracePt t="49346" x="874713" y="1844675"/>
          <p14:tracePt t="49354" x="858838" y="1852613"/>
          <p14:tracePt t="49370" x="874713" y="1852613"/>
          <p14:tracePt t="49378" x="909638" y="1852613"/>
          <p14:tracePt t="49386" x="942975" y="1852613"/>
          <p14:tracePt t="49394" x="960438" y="1852613"/>
          <p14:tracePt t="49401" x="968375" y="1852613"/>
          <p14:tracePt t="49410" x="985838" y="1844675"/>
          <p14:tracePt t="49418" x="993775" y="1827213"/>
          <p14:tracePt t="49426" x="1003300" y="1809750"/>
          <p14:tracePt t="49618" x="1003300" y="1801813"/>
          <p14:tracePt t="49658" x="968375" y="1801813"/>
          <p14:tracePt t="49666" x="960438" y="1801813"/>
          <p14:tracePt t="49675" x="925513" y="1801813"/>
          <p14:tracePt t="49682" x="892175" y="1801813"/>
          <p14:tracePt t="49693" x="849313" y="1801813"/>
          <p14:tracePt t="49698" x="815975" y="1784350"/>
          <p14:tracePt t="49708" x="781050" y="1766888"/>
          <p14:tracePt t="49714" x="765175" y="1758950"/>
          <p14:tracePt t="49723" x="739775" y="1758950"/>
          <p14:tracePt t="49730" x="730250" y="1758950"/>
          <p14:tracePt t="49739" x="714375" y="1758950"/>
          <p14:tracePt t="49746" x="696913" y="1758950"/>
          <p14:tracePt t="49754" x="679450" y="1758950"/>
          <p14:tracePt t="49762" x="654050" y="1758950"/>
          <p14:tracePt t="49770" x="646113" y="1766888"/>
          <p14:tracePt t="49778" x="620713" y="1776413"/>
          <p14:tracePt t="49786" x="603250" y="1784350"/>
          <p14:tracePt t="49795" x="595313" y="1793875"/>
          <p14:tracePt t="49801" x="585788" y="1801813"/>
          <p14:tracePt t="49810" x="577850" y="1819275"/>
          <p14:tracePt t="49818" x="569913" y="1835150"/>
          <p14:tracePt t="49826" x="560388" y="1835150"/>
          <p14:tracePt t="49834" x="560388" y="1844675"/>
          <p14:tracePt t="49842" x="560388" y="1852613"/>
          <p14:tracePt t="49849" x="544513" y="1860550"/>
          <p14:tracePt t="49866" x="534988" y="1860550"/>
          <p14:tracePt t="49875" x="534988" y="1870075"/>
          <p14:tracePt t="49882" x="527050" y="1878013"/>
          <p14:tracePt t="49892" x="509588" y="1885950"/>
          <p14:tracePt t="52465" x="509588" y="1903413"/>
          <p14:tracePt t="52481" x="509588" y="1920875"/>
          <p14:tracePt t="52490" x="509588" y="1928813"/>
          <p14:tracePt t="52617" x="501650" y="1928813"/>
          <p14:tracePt t="52641" x="492125" y="1928813"/>
          <p14:tracePt t="52682" x="492125" y="1938338"/>
          <p14:tracePt t="52692" x="492125" y="1946275"/>
          <p14:tracePt t="52698" x="492125" y="1954213"/>
          <p14:tracePt t="52708" x="492125" y="1971675"/>
          <p14:tracePt t="52714" x="501650" y="1989138"/>
          <p14:tracePt t="52723" x="509588" y="1997075"/>
          <p14:tracePt t="52729" x="517525" y="2014538"/>
          <p14:tracePt t="52737" x="517525" y="2047875"/>
          <p14:tracePt t="52745" x="527050" y="2065338"/>
          <p14:tracePt t="52753" x="544513" y="2082800"/>
          <p14:tracePt t="52760" x="560388" y="2098675"/>
          <p14:tracePt t="52769" x="577850" y="2108200"/>
          <p14:tracePt t="52801" x="577850" y="2098675"/>
          <p14:tracePt t="52809" x="577850" y="2073275"/>
          <p14:tracePt t="52818" x="577850" y="2055813"/>
          <p14:tracePt t="52827" x="569913" y="2055813"/>
          <p14:tracePt t="52954" x="569913" y="2073275"/>
          <p14:tracePt t="52986" x="560388" y="2073275"/>
          <p14:tracePt t="53002" x="544513" y="2073275"/>
          <p14:tracePt t="53018" x="534988" y="2073275"/>
          <p14:tracePt t="53025" x="527050" y="2073275"/>
          <p14:tracePt t="53033" x="517525" y="2073275"/>
          <p14:tracePt t="53057" x="509588" y="2073275"/>
          <p14:tracePt t="54666" x="517525" y="2073275"/>
          <p14:tracePt t="54682" x="527050" y="2073275"/>
          <p14:tracePt t="54692" x="534988" y="2073275"/>
          <p14:tracePt t="54698" x="544513" y="2073275"/>
          <p14:tracePt t="54708" x="560388" y="2073275"/>
          <p14:tracePt t="54714" x="569913" y="2073275"/>
          <p14:tracePt t="54723" x="585788" y="2073275"/>
          <p14:tracePt t="54730" x="603250" y="2073275"/>
          <p14:tracePt t="54739" x="628650" y="2073275"/>
          <p14:tracePt t="54745" x="654050" y="2065338"/>
          <p14:tracePt t="54753" x="679450" y="2047875"/>
          <p14:tracePt t="54760" x="696913" y="2022475"/>
          <p14:tracePt t="54769" x="696913" y="1979613"/>
          <p14:tracePt t="54776" x="696913" y="1938338"/>
          <p14:tracePt t="54785" x="696913" y="1903413"/>
          <p14:tracePt t="54793" x="696913" y="1885950"/>
          <p14:tracePt t="54962" x="688975" y="1885950"/>
          <p14:tracePt t="54978" x="679450" y="1885950"/>
          <p14:tracePt t="54987" x="688975" y="1878013"/>
          <p14:tracePt t="55002" x="688975" y="1852613"/>
          <p14:tracePt t="55018" x="688975" y="1844675"/>
          <p14:tracePt t="55026" x="679450" y="1844675"/>
          <p14:tracePt t="55034" x="671513" y="1844675"/>
          <p14:tracePt t="55042" x="661988" y="1844675"/>
          <p14:tracePt t="55050" x="654050" y="1844675"/>
          <p14:tracePt t="55082" x="661988" y="1844675"/>
          <p14:tracePt t="55098" x="671513" y="1844675"/>
          <p14:tracePt t="55122" x="679450" y="1835150"/>
          <p14:tracePt t="55137" x="688975" y="1835150"/>
          <p14:tracePt t="55650" x="704850" y="1844675"/>
          <p14:tracePt t="55658" x="739775" y="1860550"/>
          <p14:tracePt t="55666" x="790575" y="1885950"/>
          <p14:tracePt t="55676" x="874713" y="1946275"/>
          <p14:tracePt t="55682" x="942975" y="1963738"/>
          <p14:tracePt t="55691" x="1019175" y="1997075"/>
          <p14:tracePt t="55697" x="1044575" y="2005013"/>
          <p14:tracePt t="55705" x="1095375" y="2022475"/>
          <p14:tracePt t="55713" x="1130300" y="2030413"/>
          <p14:tracePt t="55721" x="1155700" y="2039938"/>
          <p14:tracePt t="55729" x="1173163" y="2039938"/>
          <p14:tracePt t="55737" x="1198563" y="2039938"/>
          <p14:tracePt t="55745" x="1223963" y="2039938"/>
          <p14:tracePt t="55761" x="1239838" y="2039938"/>
          <p14:tracePt t="55769" x="1249363" y="2039938"/>
          <p14:tracePt t="55898" x="1249363" y="2055813"/>
          <p14:tracePt t="55908" x="1257300" y="2055813"/>
          <p14:tracePt t="55923" x="1265238" y="2055813"/>
          <p14:tracePt t="55930" x="1265238" y="2065338"/>
          <p14:tracePt t="55938" x="1274763" y="2073275"/>
          <p14:tracePt t="55945" x="1290638" y="2082800"/>
          <p14:tracePt t="55954" x="1325563" y="2108200"/>
          <p14:tracePt t="55961" x="1376363" y="2166938"/>
          <p14:tracePt t="55978" x="1571625" y="2243138"/>
          <p14:tracePt t="55986" x="1673225" y="2268538"/>
          <p14:tracePt t="55995" x="1784350" y="2286000"/>
          <p14:tracePt t="56002" x="1911350" y="2303463"/>
          <p14:tracePt t="56010" x="2012950" y="2303463"/>
          <p14:tracePt t="56018" x="2116138" y="2303463"/>
          <p14:tracePt t="56026" x="2174875" y="2286000"/>
          <p14:tracePt t="56034" x="2225675" y="2260600"/>
          <p14:tracePt t="56042" x="2251075" y="2217738"/>
          <p14:tracePt t="56050" x="2293938" y="2166938"/>
          <p14:tracePt t="56059" x="2311400" y="2124075"/>
          <p14:tracePt t="56066" x="2319338" y="2073275"/>
          <p14:tracePt t="56075" x="2319338" y="2022475"/>
          <p14:tracePt t="56082" x="2319338" y="1989138"/>
          <p14:tracePt t="56092" x="2311400" y="1946275"/>
          <p14:tracePt t="56098" x="2286000" y="1920875"/>
          <p14:tracePt t="56107" x="2235200" y="1885950"/>
          <p14:tracePt t="56114" x="2217738" y="1878013"/>
          <p14:tracePt t="56122" x="2174875" y="1870075"/>
          <p14:tracePt t="56129" x="2124075" y="1870075"/>
          <p14:tracePt t="56137" x="2073275" y="1870075"/>
          <p14:tracePt t="56145" x="1997075" y="1870075"/>
          <p14:tracePt t="56153" x="1936750" y="1870075"/>
          <p14:tracePt t="56161" x="1852613" y="1885950"/>
          <p14:tracePt t="56169" x="1801813" y="1903413"/>
          <p14:tracePt t="56177" x="1758950" y="1938338"/>
          <p14:tracePt t="56186" x="1749425" y="1946275"/>
          <p14:tracePt t="56194" x="1749425" y="1979613"/>
          <p14:tracePt t="56201" x="1758950" y="2014538"/>
          <p14:tracePt t="56210" x="1809750" y="2065338"/>
          <p14:tracePt t="56218" x="1928813" y="2141538"/>
          <p14:tracePt t="56226" x="2055813" y="2200275"/>
          <p14:tracePt t="56234" x="2251075" y="2278063"/>
          <p14:tracePt t="56242" x="2370138" y="2303463"/>
          <p14:tracePt t="56250" x="2540000" y="2303463"/>
          <p14:tracePt t="56259" x="2668588" y="2303463"/>
          <p14:tracePt t="56266" x="2820988" y="2286000"/>
          <p14:tracePt t="56275" x="2955925" y="2260600"/>
          <p14:tracePt t="56282" x="3092450" y="2243138"/>
          <p14:tracePt t="56296" x="3194050" y="2217738"/>
          <p14:tracePt t="56299" x="3270250" y="2184400"/>
          <p14:tracePt t="56309" x="3373438" y="2141538"/>
          <p14:tracePt t="56314" x="3424238" y="2108200"/>
          <p14:tracePt t="56323" x="3475038" y="2065338"/>
          <p14:tracePt t="56330" x="3492500" y="2055813"/>
          <p14:tracePt t="56339" x="3500438" y="2030413"/>
          <p14:tracePt t="56347" x="3500438" y="2014538"/>
          <p14:tracePt t="56362" x="3482975" y="2005013"/>
          <p14:tracePt t="56370" x="3449638" y="1997075"/>
          <p14:tracePt t="56378" x="3406775" y="1997075"/>
          <p14:tracePt t="56386" x="3348038" y="1997075"/>
          <p14:tracePt t="56393" x="3244850" y="1997075"/>
          <p14:tracePt t="56402" x="3160713" y="1997075"/>
          <p14:tracePt t="56409" x="3049588" y="2022475"/>
          <p14:tracePt t="56418" x="2955925" y="2039938"/>
          <p14:tracePt t="56425" x="2871788" y="2073275"/>
          <p14:tracePt t="56434" x="2778125" y="2133600"/>
          <p14:tracePt t="56442" x="2752725" y="2159000"/>
          <p14:tracePt t="56450" x="2735263" y="2184400"/>
          <p14:tracePt t="56459" x="2735263" y="2200275"/>
          <p14:tracePt t="56466" x="2770188" y="2235200"/>
          <p14:tracePt t="56475" x="2820988" y="2260600"/>
          <p14:tracePt t="56481" x="2922588" y="2293938"/>
          <p14:tracePt t="56492" x="3016250" y="2319338"/>
          <p14:tracePt t="56498" x="3127375" y="2336800"/>
          <p14:tracePt t="56507" x="3244850" y="2354263"/>
          <p14:tracePt t="56514" x="3373438" y="2362200"/>
          <p14:tracePt t="56522" x="3543300" y="2362200"/>
          <p14:tracePt t="56530" x="3670300" y="2362200"/>
          <p14:tracePt t="56537" x="3781425" y="2362200"/>
          <p14:tracePt t="56545" x="3865563" y="2362200"/>
          <p14:tracePt t="56554" x="3959225" y="2336800"/>
          <p14:tracePt t="56561" x="3984625" y="2328863"/>
          <p14:tracePt t="56569" x="4002088" y="2311400"/>
          <p14:tracePt t="56626" x="3984625" y="2336800"/>
          <p14:tracePt t="56634" x="3976688" y="2336800"/>
          <p14:tracePt t="56642" x="3976688" y="2354263"/>
          <p14:tracePt t="56650" x="3976688" y="2362200"/>
          <p14:tracePt t="56660" x="3984625" y="2371725"/>
          <p14:tracePt t="56666" x="4010025" y="2387600"/>
          <p14:tracePt t="56676" x="4044950" y="2405063"/>
          <p14:tracePt t="56682" x="4121150" y="2413000"/>
          <p14:tracePt t="56694" x="4179888" y="2430463"/>
          <p14:tracePt t="56698" x="4265613" y="2438400"/>
          <p14:tracePt t="56707" x="4306888" y="2447925"/>
          <p14:tracePt t="56715" x="4392613" y="2447925"/>
          <p14:tracePt t="56723" x="4451350" y="2447925"/>
          <p14:tracePt t="56729" x="4494213" y="2447925"/>
          <p14:tracePt t="56737" x="4529138" y="2447925"/>
          <p14:tracePt t="56745" x="4545013" y="2438400"/>
          <p14:tracePt t="56786" x="4529138" y="2438400"/>
          <p14:tracePt t="56793" x="4503738" y="2438400"/>
          <p14:tracePt t="56801" x="4468813" y="2438400"/>
          <p14:tracePt t="56810" x="4425950" y="2438400"/>
          <p14:tracePt t="56818" x="4392613" y="2438400"/>
          <p14:tracePt t="56826" x="4349750" y="2438400"/>
          <p14:tracePt t="56834" x="4316413" y="2430463"/>
          <p14:tracePt t="56842" x="4291013" y="2413000"/>
          <p14:tracePt t="57042" x="4298950" y="2413000"/>
          <p14:tracePt t="57050" x="4306888" y="2413000"/>
          <p14:tracePt t="57058" x="4341813" y="2413000"/>
          <p14:tracePt t="57066" x="4375150" y="2413000"/>
          <p14:tracePt t="57076" x="4400550" y="2422525"/>
          <p14:tracePt t="57082" x="4435475" y="2430463"/>
          <p14:tracePt t="57094" x="4451350" y="2430463"/>
          <p14:tracePt t="57098" x="4494213" y="2438400"/>
          <p14:tracePt t="57109" x="4529138" y="2455863"/>
          <p14:tracePt t="57114" x="4570413" y="2473325"/>
          <p14:tracePt t="57123" x="4595813" y="2481263"/>
          <p14:tracePt t="57130" x="4646613" y="2516188"/>
          <p14:tracePt t="57139" x="4673600" y="2524125"/>
          <p14:tracePt t="57147" x="4681538" y="2524125"/>
          <p14:tracePt t="57176" x="4681538" y="2532063"/>
          <p14:tracePt t="57201" x="4673600" y="2532063"/>
          <p14:tracePt t="57217" x="4656138" y="2532063"/>
          <p14:tracePt t="57225" x="4638675" y="2541588"/>
          <p14:tracePt t="57233" x="4630738" y="2541588"/>
          <p14:tracePt t="57241" x="4621213" y="2541588"/>
          <p14:tracePt t="58323" x="4613275" y="2532063"/>
          <p14:tracePt t="58330" x="4613275" y="2524125"/>
          <p14:tracePt t="58339" x="4587875" y="2524125"/>
          <p14:tracePt t="58346" x="4554538" y="2516188"/>
          <p14:tracePt t="58354" x="4519613" y="2498725"/>
          <p14:tracePt t="58362" x="4476750" y="2489200"/>
          <p14:tracePt t="58370" x="4400550" y="2481263"/>
          <p14:tracePt t="58379" x="4316413" y="2473325"/>
          <p14:tracePt t="58386" x="4230688" y="2455863"/>
          <p14:tracePt t="58395" x="4129088" y="2447925"/>
          <p14:tracePt t="58401" x="4044950" y="2447925"/>
          <p14:tracePt t="58409" x="3933825" y="2447925"/>
          <p14:tracePt t="58417" x="3832225" y="2447925"/>
          <p14:tracePt t="58425" x="3713163" y="2481263"/>
          <p14:tracePt t="58433" x="3627438" y="2516188"/>
          <p14:tracePt t="58441" x="3551238" y="2566988"/>
          <p14:tracePt t="58449" x="3457575" y="2633663"/>
          <p14:tracePt t="58458" x="3432175" y="2660650"/>
          <p14:tracePt t="58465" x="3414713" y="2701925"/>
          <p14:tracePt t="58474" x="3414713" y="2719388"/>
          <p14:tracePt t="58481" x="3432175" y="2727325"/>
          <p14:tracePt t="58491" x="3449638" y="2727325"/>
          <p14:tracePt t="58497" x="3482975" y="2727325"/>
          <p14:tracePt t="58506" x="3500438" y="2727325"/>
          <p14:tracePt t="58513" x="3533775" y="2711450"/>
          <p14:tracePt t="58522" x="3568700" y="2668588"/>
          <p14:tracePt t="58666" x="3576638" y="2668588"/>
          <p14:tracePt t="58675" x="3576638" y="2660650"/>
          <p14:tracePt t="58698" x="3586163" y="2660650"/>
          <p14:tracePt t="58714" x="3594100" y="2651125"/>
          <p14:tracePt t="58730" x="3602038" y="2651125"/>
          <p14:tracePt t="58746" x="3611563" y="2643188"/>
          <p14:tracePt t="58754" x="3611563" y="2633663"/>
          <p14:tracePt t="58770" x="3611563" y="2625725"/>
          <p14:tracePt t="58939" x="3602038" y="2625725"/>
          <p14:tracePt t="58946" x="3594100" y="2625725"/>
          <p14:tracePt t="58954" x="3568700" y="2625725"/>
          <p14:tracePt t="58962" x="3543300" y="2625725"/>
          <p14:tracePt t="58970" x="3500438" y="2625725"/>
          <p14:tracePt t="58994" x="3236913" y="2676525"/>
          <p14:tracePt t="59002" x="3109913" y="2701925"/>
          <p14:tracePt t="59010" x="2998788" y="2711450"/>
          <p14:tracePt t="59018" x="2854325" y="2736850"/>
          <p14:tracePt t="59026" x="2668588" y="2778125"/>
          <p14:tracePt t="59034" x="2540000" y="2795588"/>
          <p14:tracePt t="59043" x="2405063" y="2820988"/>
          <p14:tracePt t="59050" x="2301875" y="2846388"/>
          <p14:tracePt t="59059" x="2157413" y="2871788"/>
          <p14:tracePt t="59066" x="2055813" y="2881313"/>
          <p14:tracePt t="59075" x="1954213" y="2906713"/>
          <p14:tracePt t="59081" x="1827213" y="2922588"/>
          <p14:tracePt t="59092" x="1724025" y="2949575"/>
          <p14:tracePt t="59097" x="1622425" y="2957513"/>
          <p14:tracePt t="59107" x="1554163" y="2974975"/>
          <p14:tracePt t="59113" x="1477963" y="2990850"/>
          <p14:tracePt t="59122" x="1444625" y="2990850"/>
          <p14:tracePt t="59129" x="1409700" y="3000375"/>
          <p14:tracePt t="59138" x="1384300" y="3008313"/>
          <p14:tracePt t="59154" x="1376363" y="3008313"/>
          <p14:tracePt t="59161" x="1368425" y="3016250"/>
          <p14:tracePt t="59194" x="1358900" y="3016250"/>
          <p14:tracePt t="59209" x="1350963" y="3016250"/>
          <p14:tracePt t="59218" x="1343025" y="3025775"/>
          <p14:tracePt t="59226" x="1343025" y="3033713"/>
          <p14:tracePt t="59234" x="1325563" y="3033713"/>
          <p14:tracePt t="59242" x="1325563" y="3041650"/>
          <p14:tracePt t="59250" x="1308100" y="3041650"/>
          <p14:tracePt t="59258" x="1290638" y="3041650"/>
          <p14:tracePt t="59266" x="1282700" y="3041650"/>
          <p14:tracePt t="59275" x="1257300" y="3041650"/>
          <p14:tracePt t="59282" x="1239838" y="3051175"/>
          <p14:tracePt t="59292" x="1223963" y="3051175"/>
          <p14:tracePt t="59298" x="1189038" y="3059113"/>
          <p14:tracePt t="59308" x="1163638" y="3067050"/>
          <p14:tracePt t="59314" x="1138238" y="3076575"/>
          <p14:tracePt t="59322" x="1120775" y="3084513"/>
          <p14:tracePt t="59332" x="1087438" y="3101975"/>
          <p14:tracePt t="59337" x="1062038" y="3119438"/>
          <p14:tracePt t="59345" x="1036638" y="3135313"/>
          <p14:tracePt t="59354" x="1028700" y="3135313"/>
          <p14:tracePt t="59370" x="1019175" y="3135313"/>
          <p14:tracePt t="59754" x="1003300" y="3135313"/>
          <p14:tracePt t="60040" x="976313" y="3144838"/>
          <p14:tracePt t="60048" x="909638" y="3170238"/>
          <p14:tracePt t="60057" x="831850" y="3195638"/>
          <p14:tracePt t="60064" x="714375" y="3254375"/>
          <p14:tracePt t="60073" x="636588" y="3297238"/>
          <p14:tracePt t="60080" x="577850" y="3340100"/>
          <p14:tracePt t="60090" x="534988" y="3382963"/>
          <p14:tracePt t="60096" x="534988" y="3398838"/>
          <p14:tracePt t="60104" x="527050" y="3416300"/>
          <p14:tracePt t="60112" x="517525" y="3441700"/>
          <p14:tracePt t="60120" x="517525" y="3467100"/>
          <p14:tracePt t="60128" x="517525" y="3475038"/>
          <p14:tracePt t="60136" x="517525" y="3492500"/>
          <p14:tracePt t="60144" x="517525" y="3502025"/>
          <p14:tracePt t="60192" x="517525" y="3509963"/>
          <p14:tracePt t="60200" x="517525" y="3527425"/>
          <p14:tracePt t="60232" x="527050" y="3527425"/>
          <p14:tracePt t="60240" x="527050" y="3535363"/>
          <p14:tracePt t="60352" x="534988" y="3535363"/>
          <p14:tracePt t="60441" x="544513" y="3535363"/>
          <p14:tracePt t="60736" x="552450" y="3535363"/>
          <p14:tracePt t="60745" x="569913" y="3535363"/>
          <p14:tracePt t="60753" x="603250" y="3527425"/>
          <p14:tracePt t="60761" x="628650" y="3527425"/>
          <p14:tracePt t="60768" x="661988" y="3509963"/>
          <p14:tracePt t="60777" x="671513" y="3502025"/>
          <p14:tracePt t="60785" x="671513" y="3492500"/>
          <p14:tracePt t="60793" x="679450" y="3492500"/>
          <p14:tracePt t="60801" x="679450" y="3484563"/>
          <p14:tracePt t="60850" x="696913" y="3475038"/>
          <p14:tracePt t="60858" x="722313" y="3449638"/>
          <p14:tracePt t="60866" x="755650" y="3408363"/>
          <p14:tracePt t="60874" x="790575" y="3390900"/>
          <p14:tracePt t="60882" x="858838" y="3365500"/>
          <p14:tracePt t="60891" x="892175" y="3340100"/>
          <p14:tracePt t="60898" x="925513" y="3322638"/>
          <p14:tracePt t="60909" x="960438" y="3305175"/>
          <p14:tracePt t="60914" x="976313" y="3305175"/>
          <p14:tracePt t="60922" x="985838" y="3297238"/>
          <p14:tracePt t="60929" x="993775" y="3289300"/>
          <p14:tracePt t="60937" x="1003300" y="3279775"/>
          <p14:tracePt t="60953" x="1011238" y="3279775"/>
          <p14:tracePt t="60968" x="1011238" y="3271838"/>
          <p14:tracePt t="61178" x="1019175" y="3271838"/>
          <p14:tracePt t="61186" x="1036638" y="3254375"/>
          <p14:tracePt t="61193" x="1044575" y="3246438"/>
          <p14:tracePt t="61201" x="1069975" y="3238500"/>
          <p14:tracePt t="61209" x="1095375" y="3238500"/>
          <p14:tracePt t="61216" x="1104900" y="3238500"/>
          <p14:tracePt t="61225" x="1138238" y="3238500"/>
          <p14:tracePt t="61233" x="1173163" y="3238500"/>
          <p14:tracePt t="61241" x="1189038" y="3238500"/>
          <p14:tracePt t="61249" x="1214438" y="3238500"/>
          <p14:tracePt t="61257" x="1249363" y="3238500"/>
          <p14:tracePt t="61265" x="1257300" y="3238500"/>
          <p14:tracePt t="61273" x="1282700" y="3238500"/>
          <p14:tracePt t="61281" x="1290638" y="3238500"/>
          <p14:tracePt t="61291" x="1300163" y="3238500"/>
          <p14:tracePt t="61297" x="1308100" y="3238500"/>
          <p14:tracePt t="61308" x="1325563" y="3238500"/>
          <p14:tracePt t="61321" x="1333500" y="3238500"/>
          <p14:tracePt t="61330" x="1358900" y="3238500"/>
          <p14:tracePt t="61338" x="1368425" y="3238500"/>
          <p14:tracePt t="61346" x="1384300" y="3238500"/>
          <p14:tracePt t="61353" x="1401763" y="3238500"/>
          <p14:tracePt t="61360" x="1419225" y="3238500"/>
          <p14:tracePt t="61368" x="1435100" y="3238500"/>
          <p14:tracePt t="61514" x="1435100" y="3246438"/>
          <p14:tracePt t="61523" x="1435100" y="3254375"/>
          <p14:tracePt t="61530" x="1427163" y="3279775"/>
          <p14:tracePt t="61539" x="1427163" y="3297238"/>
          <p14:tracePt t="61546" x="1427163" y="3314700"/>
          <p14:tracePt t="61554" x="1427163" y="3330575"/>
          <p14:tracePt t="61562" x="1427163" y="3340100"/>
          <p14:tracePt t="61586" x="1427163" y="3348038"/>
          <p14:tracePt t="61610" x="1427163" y="3355975"/>
          <p14:tracePt t="61618" x="1444625" y="3355975"/>
          <p14:tracePt t="61627" x="1462088" y="3355975"/>
          <p14:tracePt t="61634" x="1477963" y="3355975"/>
          <p14:tracePt t="61642" x="1520825" y="3355975"/>
          <p14:tracePt t="61650" x="1546225" y="3355975"/>
          <p14:tracePt t="61659" x="1597025" y="3355975"/>
          <p14:tracePt t="61666" x="1657350" y="3365500"/>
          <p14:tracePt t="61675" x="1733550" y="3382963"/>
          <p14:tracePt t="61682" x="1792288" y="3398838"/>
          <p14:tracePt t="61693" x="1893888" y="3408363"/>
          <p14:tracePt t="61698" x="1962150" y="3416300"/>
          <p14:tracePt t="61709" x="2022475" y="3424238"/>
          <p14:tracePt t="61714" x="2098675" y="3441700"/>
          <p14:tracePt t="61723" x="2132013" y="3441700"/>
          <p14:tracePt t="61729" x="2174875" y="3459163"/>
          <p14:tracePt t="61738" x="2200275" y="3459163"/>
          <p14:tracePt t="61746" x="2208213" y="3459163"/>
          <p14:tracePt t="61754" x="2225675" y="3459163"/>
          <p14:tracePt t="61761" x="2243138" y="3467100"/>
          <p14:tracePt t="61770" x="2268538" y="3467100"/>
          <p14:tracePt t="61778" x="2286000" y="3484563"/>
          <p14:tracePt t="61786" x="2336800" y="3502025"/>
          <p14:tracePt t="61793" x="2395538" y="3527425"/>
          <p14:tracePt t="61802" x="2481263" y="3560763"/>
          <p14:tracePt t="61810" x="2574925" y="3568700"/>
          <p14:tracePt t="61818" x="2659063" y="3603625"/>
          <p14:tracePt t="61825" x="2735263" y="3611563"/>
          <p14:tracePt t="61833" x="2820988" y="3619500"/>
          <p14:tracePt t="61841" x="2863850" y="3629025"/>
          <p14:tracePt t="61849" x="2897188" y="3629025"/>
          <p14:tracePt t="61859" x="2930525" y="3629025"/>
          <p14:tracePt t="61866" x="2947988" y="3629025"/>
          <p14:tracePt t="61874" x="2965450" y="3629025"/>
          <p14:tracePt t="61881" x="2973388" y="3629025"/>
          <p14:tracePt t="61891" x="2982913" y="3629025"/>
          <p14:tracePt t="61898" x="2998788" y="3629025"/>
          <p14:tracePt t="61908" x="3033713" y="3629025"/>
          <p14:tracePt t="61914" x="3049588" y="3636963"/>
          <p14:tracePt t="61921" x="3092450" y="3646488"/>
          <p14:tracePt t="61930" x="3143250" y="3646488"/>
          <p14:tracePt t="61938" x="3168650" y="3646488"/>
          <p14:tracePt t="61945" x="3211513" y="3646488"/>
          <p14:tracePt t="61954" x="3244850" y="3646488"/>
          <p14:tracePt t="61961" x="3279775" y="3646488"/>
          <p14:tracePt t="61970" x="3313113" y="3646488"/>
          <p14:tracePt t="61977" x="3330575" y="3646488"/>
          <p14:tracePt t="61986" x="3363913" y="3654425"/>
          <p14:tracePt t="61993" x="3389313" y="3654425"/>
          <p14:tracePt t="62002" x="3441700" y="3654425"/>
          <p14:tracePt t="62010" x="3482975" y="3662363"/>
          <p14:tracePt t="62018" x="3551238" y="3679825"/>
          <p14:tracePt t="62026" x="3611563" y="3687763"/>
          <p14:tracePt t="62034" x="3652838" y="3697288"/>
          <p14:tracePt t="62041" x="3729038" y="3705225"/>
          <p14:tracePt t="62050" x="3789363" y="3713163"/>
          <p14:tracePt t="62059" x="3857625" y="3722688"/>
          <p14:tracePt t="62066" x="3890963" y="3730625"/>
          <p14:tracePt t="62074" x="3951288" y="3748088"/>
          <p14:tracePt t="62082" x="3984625" y="3748088"/>
          <p14:tracePt t="62091" x="4017963" y="3748088"/>
          <p14:tracePt t="62098" x="4027488" y="3748088"/>
          <p14:tracePt t="62108" x="4035425" y="3748088"/>
          <p14:tracePt t="62242" x="4027488" y="3756025"/>
          <p14:tracePt t="62250" x="4010025" y="3763963"/>
          <p14:tracePt t="62258" x="3992563" y="3763963"/>
          <p14:tracePt t="62266" x="3984625" y="3773488"/>
          <p14:tracePt t="62276" x="3951288" y="3781425"/>
          <p14:tracePt t="62282" x="3925888" y="3781425"/>
          <p14:tracePt t="62293" x="3883025" y="3790950"/>
          <p14:tracePt t="62298" x="3848100" y="3790950"/>
          <p14:tracePt t="62309" x="3797300" y="3806825"/>
          <p14:tracePt t="62314" x="3746500" y="3816350"/>
          <p14:tracePt t="62323" x="3687763" y="3824288"/>
          <p14:tracePt t="62330" x="3652838" y="3824288"/>
          <p14:tracePt t="62339" x="3611563" y="3832225"/>
          <p14:tracePt t="62346" x="3568700" y="3841750"/>
          <p14:tracePt t="62355" x="3533775" y="3841750"/>
          <p14:tracePt t="62362" x="3500438" y="3849688"/>
          <p14:tracePt t="62369" x="3482975" y="3849688"/>
          <p14:tracePt t="62377" x="3457575" y="3849688"/>
          <p14:tracePt t="62385" x="3432175" y="3849688"/>
          <p14:tracePt t="62393" x="3406775" y="3849688"/>
          <p14:tracePt t="62401" x="3389313" y="3849688"/>
          <p14:tracePt t="62409" x="3373438" y="3849688"/>
          <p14:tracePt t="62417" x="3355975" y="3849688"/>
          <p14:tracePt t="62425" x="3330575" y="3849688"/>
          <p14:tracePt t="62433" x="3305175" y="3857625"/>
          <p14:tracePt t="62441" x="3297238" y="3857625"/>
          <p14:tracePt t="62449" x="3270250" y="3857625"/>
          <p14:tracePt t="62457" x="3244850" y="3867150"/>
          <p14:tracePt t="62465" x="3228975" y="3867150"/>
          <p14:tracePt t="62473" x="3186113" y="3867150"/>
          <p14:tracePt t="62481" x="3135313" y="3867150"/>
          <p14:tracePt t="62490" x="3109913" y="3867150"/>
          <p14:tracePt t="62497" x="3059113" y="3857625"/>
          <p14:tracePt t="62507" x="2998788" y="3849688"/>
          <p14:tracePt t="62513" x="2955925" y="3841750"/>
          <p14:tracePt t="62521" x="2889250" y="3816350"/>
          <p14:tracePt t="62530" x="2846388" y="3798888"/>
          <p14:tracePt t="62538" x="2795588" y="3790950"/>
          <p14:tracePt t="62545" x="2752725" y="3790950"/>
          <p14:tracePt t="62554" x="2719388" y="3781425"/>
          <p14:tracePt t="62561" x="2701925" y="3773488"/>
          <p14:tracePt t="62570" x="2684463" y="3773488"/>
          <p14:tracePt t="62577" x="2659063" y="3773488"/>
          <p14:tracePt t="62626" x="2659063" y="3763963"/>
          <p14:tracePt t="62634" x="2676525" y="3763963"/>
          <p14:tracePt t="62642" x="2693988" y="3763963"/>
          <p14:tracePt t="62650" x="2760663" y="3763963"/>
          <p14:tracePt t="62659" x="2820988" y="3763963"/>
          <p14:tracePt t="62666" x="2905125" y="3763963"/>
          <p14:tracePt t="62676" x="2965450" y="3763963"/>
          <p14:tracePt t="62682" x="3016250" y="3763963"/>
          <p14:tracePt t="62693" x="3109913" y="3763963"/>
          <p14:tracePt t="62698" x="3152775" y="3763963"/>
          <p14:tracePt t="62707" x="3219450" y="3763963"/>
          <p14:tracePt t="62714" x="3262313" y="3763963"/>
          <p14:tracePt t="62722" x="3338513" y="3763963"/>
          <p14:tracePt t="62730" x="3398838" y="3756025"/>
          <p14:tracePt t="62738" x="3449638" y="3756025"/>
          <p14:tracePt t="62746" x="3508375" y="3756025"/>
          <p14:tracePt t="62754" x="3586163" y="3756025"/>
          <p14:tracePt t="62762" x="3627438" y="3756025"/>
          <p14:tracePt t="62770" x="3687763" y="3756025"/>
          <p14:tracePt t="62777" x="3746500" y="3781425"/>
          <p14:tracePt t="62785" x="3806825" y="3790950"/>
          <p14:tracePt t="62793" x="3890963" y="3798888"/>
          <p14:tracePt t="62801" x="3951288" y="3806825"/>
          <p14:tracePt t="62809" x="4027488" y="3824288"/>
          <p14:tracePt t="62817" x="4070350" y="3824288"/>
          <p14:tracePt t="62825" x="4129088" y="3824288"/>
          <p14:tracePt t="62833" x="4154488" y="3824288"/>
          <p14:tracePt t="62842" x="4197350" y="3824288"/>
          <p14:tracePt t="62849" x="4248150" y="3824288"/>
          <p14:tracePt t="62857" x="4273550" y="3816350"/>
          <p14:tracePt t="62865" x="4298950" y="3816350"/>
          <p14:tracePt t="62874" x="4324350" y="3806825"/>
          <p14:tracePt t="62881" x="4349750" y="3806825"/>
          <p14:tracePt t="62891" x="4375150" y="3798888"/>
          <p14:tracePt t="62897" x="4392613" y="3798888"/>
          <p14:tracePt t="62906" x="4410075" y="3790950"/>
          <p14:tracePt t="62913" x="4418013" y="3790950"/>
          <p14:tracePt t="63066" x="4418013" y="3781425"/>
          <p14:tracePt t="63578" x="4443413" y="3773488"/>
          <p14:tracePt t="63586" x="4519613" y="3748088"/>
          <p14:tracePt t="63594" x="4587875" y="3738563"/>
          <p14:tracePt t="63602" x="4664075" y="3730625"/>
          <p14:tracePt t="63610" x="4699000" y="3713163"/>
          <p14:tracePt t="63618" x="4749800" y="3687763"/>
          <p14:tracePt t="63627" x="4783138" y="3671888"/>
          <p14:tracePt t="63634" x="4818063" y="3654425"/>
          <p14:tracePt t="63642" x="4868863" y="3636963"/>
          <p14:tracePt t="63650" x="4910138" y="3629025"/>
          <p14:tracePt t="63658" x="4970463" y="3619500"/>
          <p14:tracePt t="63666" x="5029200" y="3603625"/>
          <p14:tracePt t="63674" x="5114925" y="3594100"/>
          <p14:tracePt t="63682" x="5208588" y="3586163"/>
          <p14:tracePt t="63692" x="5318125" y="3586163"/>
          <p14:tracePt t="63698" x="5421313" y="3586163"/>
          <p14:tracePt t="63709" x="5505450" y="3586163"/>
          <p14:tracePt t="63714" x="5616575" y="3586163"/>
          <p14:tracePt t="63722" x="5683250" y="3586163"/>
          <p14:tracePt t="63729" x="5743575" y="3586163"/>
          <p14:tracePt t="63740" x="5776913" y="3586163"/>
          <p14:tracePt t="63745" x="5811838" y="3586163"/>
          <p14:tracePt t="63761" x="5827713" y="3586163"/>
          <p14:tracePt t="63777" x="5837238" y="3586163"/>
          <p14:tracePt t="63801" x="5837238" y="3594100"/>
          <p14:tracePt t="63810" x="5827713" y="3603625"/>
          <p14:tracePt t="63818" x="5811838" y="3619500"/>
          <p14:tracePt t="63826" x="5802313" y="3636963"/>
          <p14:tracePt t="63834" x="5776913" y="3646488"/>
          <p14:tracePt t="63842" x="5743575" y="3671888"/>
          <p14:tracePt t="63850" x="5726113" y="3679825"/>
          <p14:tracePt t="63858" x="5700713" y="3697288"/>
          <p14:tracePt t="64112" x="5692775" y="3697288"/>
          <p14:tracePt t="64121" x="5692775" y="3722688"/>
          <p14:tracePt t="64136" x="5692775" y="3730625"/>
          <p14:tracePt t="64145" x="5667375" y="3738563"/>
          <p14:tracePt t="64153" x="5667375" y="3748088"/>
          <p14:tracePt t="64160" x="5657850" y="3748088"/>
          <p14:tracePt t="64168" x="5649913" y="3748088"/>
          <p14:tracePt t="64176" x="5641975" y="3748088"/>
          <p14:tracePt t="64208" x="5641975" y="3756025"/>
          <p14:tracePt t="64314" x="5649913" y="3756025"/>
          <p14:tracePt t="64323" x="5657850" y="3756025"/>
          <p14:tracePt t="64330" x="5667375" y="3756025"/>
          <p14:tracePt t="64339" x="5675313" y="3756025"/>
          <p14:tracePt t="64348" x="5700713" y="3763963"/>
          <p14:tracePt t="64357" x="5735638" y="3773488"/>
          <p14:tracePt t="64361" x="5776913" y="3781425"/>
          <p14:tracePt t="64370" x="5837238" y="3790950"/>
          <p14:tracePt t="64377" x="5930900" y="3798888"/>
          <p14:tracePt t="64386" x="5997575" y="3806825"/>
          <p14:tracePt t="64393" x="6100763" y="3806825"/>
          <p14:tracePt t="64401" x="6184900" y="3806825"/>
          <p14:tracePt t="64409" x="6245225" y="3806825"/>
          <p14:tracePt t="64418" x="6338888" y="3806825"/>
          <p14:tracePt t="64425" x="6397625" y="3806825"/>
          <p14:tracePt t="64433" x="6456363" y="3806825"/>
          <p14:tracePt t="64441" x="6499225" y="3806825"/>
          <p14:tracePt t="64449" x="6542088" y="3806825"/>
          <p14:tracePt t="64457" x="6575425" y="3806825"/>
          <p14:tracePt t="64464" x="6600825" y="3806825"/>
          <p14:tracePt t="64473" x="6610350" y="3806825"/>
          <p14:tracePt t="64481" x="6618288" y="3806825"/>
          <p14:tracePt t="64490" x="6626225" y="3806825"/>
          <p14:tracePt t="64521" x="6635750" y="3806825"/>
          <p14:tracePt t="64561" x="6643688" y="3806825"/>
          <p14:tracePt t="64569" x="6653213" y="3806825"/>
          <p14:tracePt t="64681" x="6643688" y="3798888"/>
          <p14:tracePt t="64689" x="6635750" y="3790950"/>
          <p14:tracePt t="64802" x="6635750" y="3806825"/>
          <p14:tracePt t="64810" x="6635750" y="3816350"/>
          <p14:tracePt t="64818" x="6635750" y="3832225"/>
          <p14:tracePt t="64826" x="6635750" y="3841750"/>
          <p14:tracePt t="64834" x="6635750" y="3849688"/>
          <p14:tracePt t="64843" x="6643688" y="3849688"/>
          <p14:tracePt t="64850" x="6653213" y="3849688"/>
          <p14:tracePt t="64866" x="6661150" y="3849688"/>
          <p14:tracePt t="64882" x="6669088" y="3849688"/>
          <p14:tracePt t="64893" x="6678613" y="3849688"/>
          <p14:tracePt t="64910" x="6686550" y="3849688"/>
          <p14:tracePt t="64914" x="6694488" y="3849688"/>
          <p14:tracePt t="64930" x="6704013" y="3849688"/>
          <p14:tracePt t="64939" x="6711950" y="3849688"/>
          <p14:tracePt t="64954" x="6729413" y="3849688"/>
          <p14:tracePt t="64962" x="6745288" y="3849688"/>
          <p14:tracePt t="64970" x="6770688" y="3849688"/>
          <p14:tracePt t="64978" x="6788150" y="3849688"/>
          <p14:tracePt t="64995" x="6813550" y="3849688"/>
          <p14:tracePt t="65002" x="6831013" y="3849688"/>
          <p14:tracePt t="65009" x="6856413" y="3841750"/>
          <p14:tracePt t="65018" x="6864350" y="3832225"/>
          <p14:tracePt t="65026" x="6889750" y="3824288"/>
          <p14:tracePt t="65034" x="6915150" y="3816350"/>
          <p14:tracePt t="65042" x="6932613" y="3806825"/>
          <p14:tracePt t="65050" x="6942138" y="3798888"/>
          <p14:tracePt t="65058" x="6967538" y="3798888"/>
          <p14:tracePt t="65066" x="6992938" y="3798888"/>
          <p14:tracePt t="65074" x="7000875" y="3798888"/>
          <p14:tracePt t="65081" x="7018338" y="3798888"/>
          <p14:tracePt t="65091" x="7043738" y="3798888"/>
          <p14:tracePt t="65097" x="7059613" y="3798888"/>
          <p14:tracePt t="65107" x="7094538" y="3798888"/>
          <p14:tracePt t="65113" x="7119938" y="3798888"/>
          <p14:tracePt t="65121" x="7162800" y="3798888"/>
          <p14:tracePt t="65129" x="7178675" y="3798888"/>
          <p14:tracePt t="65136" x="7213600" y="3798888"/>
          <p14:tracePt t="65144" x="7229475" y="3798888"/>
          <p14:tracePt t="65152" x="7246938" y="3798888"/>
          <p14:tracePt t="65160" x="7264400" y="3798888"/>
          <p14:tracePt t="65168" x="7272338" y="3798888"/>
          <p14:tracePt t="65176" x="7281863" y="3798888"/>
          <p14:tracePt t="65184" x="7289800" y="3798888"/>
          <p14:tracePt t="65216" x="7289800" y="3790950"/>
          <p14:tracePt t="65225" x="7281863" y="3773488"/>
          <p14:tracePt t="65232" x="7246938" y="3763963"/>
          <p14:tracePt t="65241" x="7213600" y="3748088"/>
          <p14:tracePt t="65248" x="7162800" y="3738563"/>
          <p14:tracePt t="65257" x="7127875" y="3730625"/>
          <p14:tracePt t="65264" x="7119938" y="3730625"/>
          <p14:tracePt t="65401" x="7112000" y="3730625"/>
          <p14:tracePt t="65409" x="7102475" y="3730625"/>
          <p14:tracePt t="65425" x="7112000" y="3738563"/>
          <p14:tracePt t="65441" x="7102475" y="3738563"/>
          <p14:tracePt t="65448" x="7102475" y="3748088"/>
          <p14:tracePt t="65465" x="7112000" y="3756025"/>
          <p14:tracePt t="65498" x="7119938" y="3756025"/>
          <p14:tracePt t="65514" x="7119938" y="3763963"/>
          <p14:tracePt t="65529" x="7127875" y="3773488"/>
          <p14:tracePt t="65538" x="7127875" y="3781425"/>
          <p14:tracePt t="65545" x="7137400" y="3781425"/>
          <p14:tracePt t="65578" x="7145338" y="3781425"/>
          <p14:tracePt t="66562" x="7153275" y="3781425"/>
          <p14:tracePt t="66570" x="7178675" y="3781425"/>
          <p14:tracePt t="66578" x="7221538" y="3798888"/>
          <p14:tracePt t="66587" x="7272338" y="3824288"/>
          <p14:tracePt t="66594" x="7323138" y="3841750"/>
          <p14:tracePt t="66602" x="7340600" y="3857625"/>
          <p14:tracePt t="66610" x="7358063" y="3857625"/>
          <p14:tracePt t="66618" x="7366000" y="3857625"/>
          <p14:tracePt t="66634" x="7366000" y="3841750"/>
          <p14:tracePt t="66643" x="7340600" y="3867150"/>
          <p14:tracePt t="66650" x="7289800" y="3883025"/>
          <p14:tracePt t="66778" x="7315200" y="3883025"/>
          <p14:tracePt t="66786" x="7348538" y="3892550"/>
          <p14:tracePt t="66793" x="7373938" y="3900488"/>
          <p14:tracePt t="66801" x="7391400" y="3900488"/>
          <p14:tracePt t="66809" x="7426325" y="3900488"/>
          <p14:tracePt t="66817" x="7451725" y="3900488"/>
          <p14:tracePt t="66825" x="7459663" y="3900488"/>
          <p14:tracePt t="66833" x="7467600" y="3900488"/>
          <p14:tracePt t="66841" x="7477125" y="3900488"/>
          <p14:tracePt t="66849" x="7485063" y="3892550"/>
          <p14:tracePt t="66882" x="7477125" y="3892550"/>
          <p14:tracePt t="66898" x="7467600" y="3892550"/>
          <p14:tracePt t="66922" x="7459663" y="3892550"/>
          <p14:tracePt t="66930" x="7451725" y="3892550"/>
          <p14:tracePt t="66946" x="7442200" y="3892550"/>
          <p14:tracePt t="66962" x="7434263" y="3892550"/>
          <p14:tracePt t="67074" x="7426325" y="3892550"/>
          <p14:tracePt t="67602" x="7434263" y="3892550"/>
          <p14:tracePt t="67610" x="7442200" y="3892550"/>
          <p14:tracePt t="67626" x="7451725" y="3892550"/>
          <p14:tracePt t="67642" x="7459663" y="3892550"/>
          <p14:tracePt t="67666" x="7467600" y="3892550"/>
          <p14:tracePt t="67674" x="7493000" y="3875088"/>
          <p14:tracePt t="67682" x="7502525" y="3867150"/>
          <p14:tracePt t="67692" x="7518400" y="3857625"/>
          <p14:tracePt t="67698" x="7527925" y="3857625"/>
          <p14:tracePt t="67817" x="7535863" y="3857625"/>
          <p14:tracePt t="67841" x="7553325" y="3857625"/>
          <p14:tracePt t="67849" x="7561263" y="3857625"/>
          <p14:tracePt t="67857" x="7586663" y="3857625"/>
          <p14:tracePt t="67865" x="7604125" y="3857625"/>
          <p14:tracePt t="67873" x="7629525" y="3857625"/>
          <p14:tracePt t="67881" x="7654925" y="3857625"/>
          <p14:tracePt t="67890" x="7680325" y="3857625"/>
          <p14:tracePt t="67897" x="7688263" y="3857625"/>
          <p14:tracePt t="67907" x="7705725" y="3857625"/>
          <p14:tracePt t="67913" x="7715250" y="3857625"/>
          <p14:tracePt t="68002" x="7705725" y="3857625"/>
          <p14:tracePt t="68026" x="7697788" y="3857625"/>
          <p14:tracePt t="68034" x="7688263" y="3857625"/>
          <p14:tracePt t="68042" x="7680325" y="3857625"/>
          <p14:tracePt t="68257" x="7672388" y="3849688"/>
          <p14:tracePt t="68265" x="7662863" y="3849688"/>
          <p14:tracePt t="68273" x="7654925" y="3841750"/>
          <p14:tracePt t="68280" x="7646988" y="3841750"/>
          <p14:tracePt t="68290" x="7637463" y="3841750"/>
          <p14:tracePt t="68313" x="7629525" y="3841750"/>
          <p14:tracePt t="68658" x="7629525" y="3832225"/>
          <p14:tracePt t="68674" x="7629525" y="3824288"/>
          <p14:tracePt t="68682" x="7621588" y="3816350"/>
          <p14:tracePt t="68923" x="7612063" y="3816350"/>
          <p14:tracePt t="68970" x="7604125" y="3816350"/>
          <p14:tracePt t="68986" x="7596188" y="3816350"/>
          <p14:tracePt t="69010" x="7586663" y="3816350"/>
          <p14:tracePt t="69018" x="7578725" y="3806825"/>
          <p14:tracePt t="69026" x="7570788" y="3798888"/>
          <p14:tracePt t="69034" x="7570788" y="3790950"/>
          <p14:tracePt t="69041" x="7561263" y="3790950"/>
          <p14:tracePt t="69049" x="7545388" y="3781425"/>
          <p14:tracePt t="69058" x="7535863" y="3763963"/>
          <p14:tracePt t="69065" x="7527925" y="3738563"/>
          <p14:tracePt t="69073" x="7493000" y="3705225"/>
          <p14:tracePt t="69081" x="7467600" y="3671888"/>
          <p14:tracePt t="69090" x="7442200" y="3636963"/>
          <p14:tracePt t="69097" x="7408863" y="3560763"/>
          <p14:tracePt t="69107" x="7391400" y="3509963"/>
          <p14:tracePt t="69113" x="7373938" y="3459163"/>
          <p14:tracePt t="69123" x="7348538" y="3416300"/>
          <p14:tracePt t="69129" x="7332663" y="3365500"/>
          <p14:tracePt t="69138" x="7315200" y="3314700"/>
          <p14:tracePt t="69145" x="7307263" y="3289300"/>
          <p14:tracePt t="69154" x="7289800" y="3246438"/>
          <p14:tracePt t="69161" x="7281863" y="3228975"/>
          <p14:tracePt t="69170" x="7272338" y="3211513"/>
          <p14:tracePt t="69177" x="7264400" y="3195638"/>
          <p14:tracePt t="69186" x="7256463" y="3195638"/>
          <p14:tracePt t="69193" x="7256463" y="3186113"/>
          <p14:tracePt t="69249" x="7239000" y="3186113"/>
          <p14:tracePt t="69265" x="7229475" y="3186113"/>
          <p14:tracePt t="69273" x="7221538" y="3186113"/>
          <p14:tracePt t="69281" x="7213600" y="3186113"/>
          <p14:tracePt t="69297" x="7204075" y="3186113"/>
          <p14:tracePt t="69305" x="7188200" y="3186113"/>
          <p14:tracePt t="69313" x="7178675" y="3186113"/>
          <p14:tracePt t="69321" x="7145338" y="3186113"/>
          <p14:tracePt t="69329" x="7112000" y="3195638"/>
          <p14:tracePt t="69340" x="7026275" y="3211513"/>
          <p14:tracePt t="69346" x="6950075" y="3221038"/>
          <p14:tracePt t="69353" x="6780213" y="3228975"/>
          <p14:tracePt t="69361" x="6635750" y="3228975"/>
          <p14:tracePt t="69370" x="6423025" y="3228975"/>
          <p14:tracePt t="69377" x="6134100" y="3228975"/>
          <p14:tracePt t="69385" x="5845175" y="3228975"/>
          <p14:tracePt t="69393" x="5411788" y="3228975"/>
          <p14:tracePt t="69400" x="5064125" y="3228975"/>
          <p14:tracePt t="69409" x="4859338" y="3228975"/>
          <p14:tracePt t="69417" x="4689475" y="3203575"/>
          <p14:tracePt t="69425" x="4410075" y="3152775"/>
          <p14:tracePt t="69433" x="4248150" y="3127375"/>
          <p14:tracePt t="69441" x="4002088" y="3084513"/>
          <p14:tracePt t="69449" x="3797300" y="3041650"/>
          <p14:tracePt t="69457" x="3525838" y="3008313"/>
          <p14:tracePt t="69465" x="3363913" y="2982913"/>
          <p14:tracePt t="69473" x="3254375" y="2965450"/>
          <p14:tracePt t="69481" x="3049588" y="2957513"/>
          <p14:tracePt t="69490" x="2940050" y="2957513"/>
          <p14:tracePt t="69497" x="2811463" y="2957513"/>
          <p14:tracePt t="69506" x="2752725" y="2957513"/>
          <p14:tracePt t="69513" x="2676525" y="2982913"/>
          <p14:tracePt t="69521" x="2641600" y="3000375"/>
          <p14:tracePt t="69529" x="2616200" y="3025775"/>
          <p14:tracePt t="69537" x="2616200" y="3033713"/>
          <p14:tracePt t="69545" x="2616200" y="3041650"/>
          <p14:tracePt t="69553" x="2659063" y="3059113"/>
          <p14:tracePt t="69561" x="2719388" y="3059113"/>
          <p14:tracePt t="69569" x="2770188" y="3059113"/>
          <p14:tracePt t="69577" x="2820988" y="3059113"/>
          <p14:tracePt t="69585" x="2889250" y="3041650"/>
          <p14:tracePt t="69593" x="2922588" y="3025775"/>
          <p14:tracePt t="69601" x="2940050" y="3016250"/>
          <p14:tracePt t="69794" x="2947988" y="3016250"/>
          <p14:tracePt t="69802" x="2955925" y="3016250"/>
          <p14:tracePt t="69810" x="2973388" y="3016250"/>
          <p14:tracePt t="69818" x="2990850" y="3016250"/>
          <p14:tracePt t="69834" x="3008313" y="3025775"/>
          <p14:tracePt t="69843" x="3024188" y="3041650"/>
          <p14:tracePt t="69850" x="3024188" y="3051175"/>
          <p14:tracePt t="69859" x="3024188" y="3059113"/>
          <p14:tracePt t="69866" x="3024188" y="3067050"/>
          <p14:tracePt t="69882" x="3008313" y="3067050"/>
          <p14:tracePt t="69892" x="2998788" y="3067050"/>
          <p14:tracePt t="69898" x="2982913" y="3067050"/>
          <p14:tracePt t="69910" x="2955925" y="3067050"/>
          <p14:tracePt t="69914" x="2940050" y="3067050"/>
          <p14:tracePt t="69925" x="2905125" y="3067050"/>
          <p14:tracePt t="69930" x="2871788" y="3067050"/>
          <p14:tracePt t="69940" x="2828925" y="3067050"/>
          <p14:tracePt t="69946" x="2760663" y="3084513"/>
          <p14:tracePt t="69954" x="2701925" y="3094038"/>
          <p14:tracePt t="69962" x="2608263" y="3109913"/>
          <p14:tracePt t="69970" x="2540000" y="3127375"/>
          <p14:tracePt t="69992" x="2362200" y="3135313"/>
          <p14:tracePt t="69996" x="2293938" y="3144838"/>
          <p14:tracePt t="70002" x="2174875" y="3170238"/>
          <p14:tracePt t="70009" x="2090738" y="3178175"/>
          <p14:tracePt t="70017" x="1987550" y="3203575"/>
          <p14:tracePt t="70025" x="1920875" y="3211513"/>
          <p14:tracePt t="70033" x="1827213" y="3238500"/>
          <p14:tracePt t="70043" x="1766888" y="3246438"/>
          <p14:tracePt t="70049" x="1724025" y="3254375"/>
          <p14:tracePt t="70057" x="1682750" y="3254375"/>
          <p14:tracePt t="70065" x="1665288" y="3263900"/>
          <p14:tracePt t="70073" x="1647825" y="3263900"/>
          <p14:tracePt t="70090" x="1639888" y="3263900"/>
          <p14:tracePt t="70442" x="1690688" y="3271838"/>
          <p14:tracePt t="70450" x="1801813" y="3305175"/>
          <p14:tracePt t="70458" x="1928813" y="3340100"/>
          <p14:tracePt t="70466" x="2182813" y="3424238"/>
          <p14:tracePt t="70476" x="2413000" y="3475038"/>
          <p14:tracePt t="70482" x="2600325" y="3502025"/>
          <p14:tracePt t="70492" x="2965450" y="3552825"/>
          <p14:tracePt t="70498" x="3219450" y="3552825"/>
          <p14:tracePt t="70507" x="3543300" y="3552825"/>
          <p14:tracePt t="70514" x="3806825" y="3552825"/>
          <p14:tracePt t="70522" x="4179888" y="3543300"/>
          <p14:tracePt t="70530" x="4451350" y="3509963"/>
          <p14:tracePt t="70539" x="4826000" y="3441700"/>
          <p14:tracePt t="70545" x="4995863" y="3398838"/>
          <p14:tracePt t="70554" x="5132388" y="3373438"/>
          <p14:tracePt t="70561" x="5249863" y="3355975"/>
          <p14:tracePt t="70570" x="5292725" y="3355975"/>
          <p14:tracePt t="70577" x="5310188" y="3348038"/>
          <p14:tracePt t="70586" x="5318125" y="3348038"/>
          <p14:tracePt t="70609" x="5292725" y="3348038"/>
          <p14:tracePt t="70618" x="5284788" y="3348038"/>
          <p14:tracePt t="70625" x="5249863" y="3330575"/>
          <p14:tracePt t="70634" x="5224463" y="3305175"/>
          <p14:tracePt t="70642" x="5199063" y="3289300"/>
          <p14:tracePt t="70650" x="5165725" y="3263900"/>
          <p14:tracePt t="70658" x="5140325" y="3246438"/>
          <p14:tracePt t="70666" x="5132388" y="3238500"/>
          <p14:tracePt t="70730" x="5148263" y="3238500"/>
          <p14:tracePt t="70738" x="5183188" y="3246438"/>
          <p14:tracePt t="70745" x="5224463" y="3263900"/>
          <p14:tracePt t="70753" x="5284788" y="3263900"/>
          <p14:tracePt t="70761" x="5343525" y="3271838"/>
          <p14:tracePt t="70769" x="5403850" y="3289300"/>
          <p14:tracePt t="70777" x="5480050" y="3297238"/>
          <p14:tracePt t="70785" x="5548313" y="3297238"/>
          <p14:tracePt t="70793" x="5649913" y="3297238"/>
          <p14:tracePt t="70801" x="5700713" y="3297238"/>
          <p14:tracePt t="70809" x="5761038" y="3297238"/>
          <p14:tracePt t="70817" x="5794375" y="3297238"/>
          <p14:tracePt t="70825" x="5802313" y="3297238"/>
          <p14:tracePt t="70849" x="5794375" y="3297238"/>
          <p14:tracePt t="70857" x="5786438" y="3297238"/>
          <p14:tracePt t="70866" x="5761038" y="3289300"/>
          <p14:tracePt t="70874" x="5751513" y="3289300"/>
          <p14:tracePt t="70881" x="5743575" y="3289300"/>
          <p14:tracePt t="70890" x="5735638" y="3289300"/>
          <p14:tracePt t="70898" x="5718175" y="3279775"/>
          <p14:tracePt t="70907" x="5708650" y="3271838"/>
          <p14:tracePt t="70914" x="5692775" y="3271838"/>
          <p14:tracePt t="70923" x="5657850" y="3271838"/>
          <p14:tracePt t="70930" x="5632450" y="3271838"/>
          <p14:tracePt t="70938" x="5565775" y="3271838"/>
          <p14:tracePt t="70946" x="5505450" y="3271838"/>
          <p14:tracePt t="70954" x="5394325" y="3271838"/>
          <p14:tracePt t="70961" x="5310188" y="3271838"/>
          <p14:tracePt t="70970" x="5157788" y="3271838"/>
          <p14:tracePt t="70977" x="5038725" y="3271838"/>
          <p14:tracePt t="70991" x="4945063" y="3271838"/>
          <p14:tracePt t="70993" x="4775200" y="3271838"/>
          <p14:tracePt t="71001" x="4646613" y="3271838"/>
          <p14:tracePt t="71009" x="4503738" y="3271838"/>
          <p14:tracePt t="71017" x="4375150" y="3271838"/>
          <p14:tracePt t="71025" x="4222750" y="3271838"/>
          <p14:tracePt t="71033" x="4121150" y="3271838"/>
          <p14:tracePt t="71041" x="3992563" y="3271838"/>
          <p14:tracePt t="71049" x="3900488" y="3271838"/>
          <p14:tracePt t="71057" x="3814763" y="3271838"/>
          <p14:tracePt t="71065" x="3713163" y="3271838"/>
          <p14:tracePt t="71074" x="3670300" y="3271838"/>
          <p14:tracePt t="71082" x="3611563" y="3271838"/>
          <p14:tracePt t="71091" x="3594100" y="3271838"/>
          <p14:tracePt t="71098" x="3559175" y="3271838"/>
          <p14:tracePt t="71107" x="3543300" y="3271838"/>
          <p14:tracePt t="71113" x="3533775" y="3271838"/>
          <p14:tracePt t="71129" x="3525838" y="3271838"/>
          <p14:tracePt t="71194" x="3543300" y="3279775"/>
          <p14:tracePt t="71202" x="3576638" y="3279775"/>
          <p14:tracePt t="71210" x="3644900" y="3289300"/>
          <p14:tracePt t="71218" x="3721100" y="3314700"/>
          <p14:tracePt t="71227" x="3814763" y="3322638"/>
          <p14:tracePt t="71234" x="3890963" y="3330575"/>
          <p14:tracePt t="71242" x="3992563" y="3340100"/>
          <p14:tracePt t="71250" x="4052888" y="3340100"/>
          <p14:tracePt t="71258" x="4121150" y="3340100"/>
          <p14:tracePt t="71266" x="4162425" y="3340100"/>
          <p14:tracePt t="71275" x="4197350" y="3340100"/>
          <p14:tracePt t="71282" x="4240213" y="3340100"/>
          <p14:tracePt t="71292" x="4273550" y="3322638"/>
          <p14:tracePt t="71298" x="4306888" y="3305175"/>
          <p14:tracePt t="71307" x="4341813" y="3289300"/>
          <p14:tracePt t="71314" x="4392613" y="3263900"/>
          <p14:tracePt t="71323" x="4410075" y="3246438"/>
          <p14:tracePt t="71330" x="4425950" y="3238500"/>
          <p14:tracePt t="71474" x="4468813" y="3238500"/>
          <p14:tracePt t="71482" x="4503738" y="3238500"/>
          <p14:tracePt t="71490" x="4519613" y="3238500"/>
          <p14:tracePt t="71498" x="4554538" y="3238500"/>
          <p14:tracePt t="71508" x="4587875" y="3238500"/>
          <p14:tracePt t="71514" x="4605338" y="3238500"/>
          <p14:tracePt t="71525" x="4630738" y="3238500"/>
          <p14:tracePt t="71530" x="4646613" y="3246438"/>
          <p14:tracePt t="71546" x="4656138" y="3246438"/>
          <p14:tracePt t="71570" x="4656138" y="3254375"/>
          <p14:tracePt t="71578" x="4646613" y="3254375"/>
          <p14:tracePt t="71586" x="4621213" y="3254375"/>
          <p14:tracePt t="71602" x="4595813" y="3254375"/>
          <p14:tracePt t="71610" x="4587875" y="3254375"/>
          <p14:tracePt t="71619" x="4570413" y="3246438"/>
          <p14:tracePt t="71627" x="4554538" y="3246438"/>
          <p14:tracePt t="71634" x="4545013" y="3246438"/>
          <p14:tracePt t="71643" x="4537075" y="3246438"/>
          <p14:tracePt t="71650" x="4529138" y="3246438"/>
          <p14:tracePt t="71659" x="4529138" y="3238500"/>
          <p14:tracePt t="71666" x="4519613" y="3238500"/>
          <p14:tracePt t="71673" x="4511675" y="3228975"/>
          <p14:tracePt t="71682" x="4494213" y="3221038"/>
          <p14:tracePt t="71691" x="4486275" y="3221038"/>
          <p14:tracePt t="71698" x="4468813" y="3211513"/>
          <p14:tracePt t="71707" x="4460875" y="3203575"/>
          <p14:tracePt t="71714" x="4443413" y="3203575"/>
          <p14:tracePt t="71724" x="4425950" y="3203575"/>
          <p14:tracePt t="71730" x="4392613" y="3186113"/>
          <p14:tracePt t="71739" x="4375150" y="3186113"/>
          <p14:tracePt t="71746" x="4332288" y="3178175"/>
          <p14:tracePt t="71754" x="4281488" y="3178175"/>
          <p14:tracePt t="71761" x="4214813" y="3160713"/>
          <p14:tracePt t="71770" x="4137025" y="3160713"/>
          <p14:tracePt t="71777" x="4070350" y="3160713"/>
          <p14:tracePt t="71786" x="3967163" y="3160713"/>
          <p14:tracePt t="71793" x="3900488" y="3160713"/>
          <p14:tracePt t="71801" x="3814763" y="3160713"/>
          <p14:tracePt t="71809" x="3756025" y="3160713"/>
          <p14:tracePt t="71818" x="3652838" y="3160713"/>
          <p14:tracePt t="71825" x="3611563" y="3160713"/>
          <p14:tracePt t="71834" x="3568700" y="3160713"/>
          <p14:tracePt t="71842" x="3525838" y="3160713"/>
          <p14:tracePt t="71850" x="3508375" y="3160713"/>
          <p14:tracePt t="71858" x="3492500" y="3160713"/>
          <p14:tracePt t="71866" x="3482975" y="3160713"/>
          <p14:tracePt t="71874" x="3475038" y="3160713"/>
          <p14:tracePt t="73266" x="3457575" y="3160713"/>
          <p14:tracePt t="73274" x="3424238" y="3160713"/>
          <p14:tracePt t="73282" x="3373438" y="3160713"/>
          <p14:tracePt t="73289" x="3338513" y="3160713"/>
          <p14:tracePt t="73297" x="3287713" y="3152775"/>
          <p14:tracePt t="73306" x="3236913" y="3144838"/>
          <p14:tracePt t="73313" x="3178175" y="3135313"/>
          <p14:tracePt t="73321" x="3117850" y="3127375"/>
          <p14:tracePt t="73329" x="3033713" y="3119438"/>
          <p14:tracePt t="73338" x="2965450" y="3101975"/>
          <p14:tracePt t="73345" x="2889250" y="3094038"/>
          <p14:tracePt t="73353" x="2786063" y="3094038"/>
          <p14:tracePt t="73361" x="2727325" y="3094038"/>
          <p14:tracePt t="73372" x="2633663" y="3094038"/>
          <p14:tracePt t="73376" x="2549525" y="3094038"/>
          <p14:tracePt t="73385" x="2471738" y="3119438"/>
          <p14:tracePt t="73393" x="2395538" y="3127375"/>
          <p14:tracePt t="73400" x="2311400" y="3135313"/>
          <p14:tracePt t="73409" x="2235200" y="3152775"/>
          <p14:tracePt t="73417" x="2174875" y="3170238"/>
          <p14:tracePt t="73425" x="2090738" y="3203575"/>
          <p14:tracePt t="73433" x="2038350" y="3228975"/>
          <p14:tracePt t="73441" x="1971675" y="3279775"/>
          <p14:tracePt t="73449" x="1920875" y="3330575"/>
          <p14:tracePt t="73457" x="1868488" y="3390900"/>
          <p14:tracePt t="73465" x="1827213" y="3459163"/>
          <p14:tracePt t="73474" x="1766888" y="3552825"/>
          <p14:tracePt t="73481" x="1724025" y="3611563"/>
          <p14:tracePt t="73490" x="1690688" y="3671888"/>
          <p14:tracePt t="73498" x="1647825" y="3738563"/>
          <p14:tracePt t="73506" x="1622425" y="3773488"/>
          <p14:tracePt t="73514" x="1579563" y="3824288"/>
          <p14:tracePt t="73523" x="1554163" y="3867150"/>
          <p14:tracePt t="73530" x="1495425" y="3908425"/>
          <p14:tracePt t="73539" x="1452563" y="3935413"/>
          <p14:tracePt t="73546" x="1401763" y="3976688"/>
          <p14:tracePt t="73554" x="1368425" y="4002088"/>
          <p14:tracePt t="73562" x="1343025" y="4037013"/>
          <p14:tracePt t="73570" x="1290638" y="4079875"/>
          <p14:tracePt t="73578" x="1265238" y="4105275"/>
          <p14:tracePt t="73586" x="1239838" y="4156075"/>
          <p14:tracePt t="73593" x="1231900" y="4181475"/>
          <p14:tracePt t="73602" x="1214438" y="4206875"/>
          <p14:tracePt t="73609" x="1214438" y="4224338"/>
          <p14:tracePt t="73618" x="1214438" y="4240213"/>
          <p14:tracePt t="73634" x="1214438" y="4249738"/>
          <p14:tracePt t="73650" x="1214438" y="4257675"/>
          <p14:tracePt t="73657" x="1214438" y="4265613"/>
          <p14:tracePt t="73674" x="1214438" y="4275138"/>
          <p14:tracePt t="73682" x="1223963" y="4283075"/>
          <p14:tracePt t="73698" x="1223963" y="4291013"/>
          <p14:tracePt t="73707" x="1223963" y="4300538"/>
          <p14:tracePt t="73714" x="1223963" y="4308475"/>
          <p14:tracePt t="73730" x="1223963" y="4316413"/>
          <p14:tracePt t="73740" x="1223963" y="4325938"/>
          <p14:tracePt t="73746" x="1223963" y="4333875"/>
          <p14:tracePt t="73754" x="1223963" y="4341813"/>
          <p14:tracePt t="73761" x="1223963" y="4351338"/>
          <p14:tracePt t="73770" x="1223963" y="4359275"/>
          <p14:tracePt t="73777" x="1223963" y="4368800"/>
          <p14:tracePt t="73786" x="1223963" y="4384675"/>
          <p14:tracePt t="73793" x="1223963" y="4394200"/>
          <p14:tracePt t="73801" x="1214438" y="4410075"/>
          <p14:tracePt t="73809" x="1214438" y="4427538"/>
          <p14:tracePt t="73817" x="1214438" y="4435475"/>
          <p14:tracePt t="73825" x="1214438" y="4452938"/>
          <p14:tracePt t="73834" x="1214438" y="4460875"/>
          <p14:tracePt t="73841" x="1214438" y="4478338"/>
          <p14:tracePt t="73850" x="1214438" y="4495800"/>
          <p14:tracePt t="73857" x="1214438" y="4503738"/>
          <p14:tracePt t="73866" x="1214438" y="4521200"/>
          <p14:tracePt t="73874" x="1214438" y="4529138"/>
          <p14:tracePt t="73881" x="1214438" y="4538663"/>
          <p14:tracePt t="73890" x="1214438" y="4554538"/>
          <p14:tracePt t="73914" x="1223963" y="4564063"/>
          <p14:tracePt t="74066" x="1223963" y="4572000"/>
          <p14:tracePt t="74074" x="1214438" y="4572000"/>
          <p14:tracePt t="74130" x="1231900" y="4546600"/>
          <p14:tracePt t="74141" x="1257300" y="4503738"/>
          <p14:tracePt t="74146" x="1290638" y="4445000"/>
          <p14:tracePt t="74154" x="1290638" y="4435475"/>
          <p14:tracePt t="74410" x="1290638" y="4445000"/>
          <p14:tracePt t="74418" x="1282700" y="4460875"/>
          <p14:tracePt t="74426" x="1274763" y="4470400"/>
          <p14:tracePt t="74434" x="1265238" y="4478338"/>
          <p14:tracePt t="74442" x="1257300" y="4478338"/>
          <p14:tracePt t="74450" x="1239838" y="4478338"/>
          <p14:tracePt t="74466" x="1223963" y="4486275"/>
          <p14:tracePt t="74474" x="1206500" y="4486275"/>
          <p14:tracePt t="74492" x="1181100" y="4495800"/>
          <p14:tracePt t="74498" x="1173163" y="4503738"/>
          <p14:tracePt t="74507" x="1130300" y="4529138"/>
          <p14:tracePt t="74514" x="1104900" y="4538663"/>
          <p14:tracePt t="74525" x="1062038" y="4554538"/>
          <p14:tracePt t="74530" x="1028700" y="4572000"/>
          <p14:tracePt t="74541" x="985838" y="4589463"/>
          <p14:tracePt t="74546" x="950913" y="4597400"/>
          <p14:tracePt t="74554" x="925513" y="4614863"/>
          <p14:tracePt t="74563" x="866775" y="4648200"/>
          <p14:tracePt t="74570" x="831850" y="4673600"/>
          <p14:tracePt t="74578" x="781050" y="4699000"/>
          <p14:tracePt t="74587" x="747713" y="4741863"/>
          <p14:tracePt t="74594" x="704850" y="4775200"/>
          <p14:tracePt t="74602" x="688975" y="4818063"/>
          <p14:tracePt t="74610" x="671513" y="4852988"/>
          <p14:tracePt t="74618" x="661988" y="4868863"/>
          <p14:tracePt t="74627" x="661988" y="4894263"/>
          <p14:tracePt t="74634" x="661988" y="4919663"/>
          <p14:tracePt t="74642" x="661988" y="4929188"/>
          <p14:tracePt t="74650" x="661988" y="4946650"/>
          <p14:tracePt t="74658" x="661988" y="4962525"/>
          <p14:tracePt t="74681" x="661988" y="4972050"/>
          <p14:tracePt t="75602" x="661988" y="4997450"/>
          <p14:tracePt t="75610" x="661988" y="5064125"/>
          <p14:tracePt t="75618" x="714375" y="5183188"/>
          <p14:tracePt t="75626" x="765175" y="5276850"/>
          <p14:tracePt t="75634" x="815975" y="5380038"/>
          <p14:tracePt t="75642" x="866775" y="5524500"/>
          <p14:tracePt t="75650" x="884238" y="5608638"/>
          <p14:tracePt t="75658" x="884238" y="5694363"/>
          <p14:tracePt t="75666" x="884238" y="5745163"/>
          <p14:tracePt t="75674" x="884238" y="5770563"/>
          <p14:tracePt t="75681" x="884238" y="5788025"/>
          <p14:tracePt t="75691" x="884238" y="5803900"/>
          <p14:tracePt t="75698" x="884238" y="5813425"/>
          <p14:tracePt t="75707" x="884238" y="5821363"/>
          <p14:tracePt t="75714" x="884238" y="5829300"/>
          <p14:tracePt t="75754" x="884238" y="5838825"/>
          <p14:tracePt t="75770" x="874713" y="5846763"/>
          <p14:tracePt t="75777" x="866775" y="5854700"/>
          <p14:tracePt t="75786" x="866775" y="5864225"/>
          <p14:tracePt t="75793" x="858838" y="5880100"/>
          <p14:tracePt t="75802" x="858838" y="5889625"/>
          <p14:tracePt t="75809" x="858838" y="5897563"/>
          <p14:tracePt t="75818" x="858838" y="5905500"/>
          <p14:tracePt t="75955" x="849313" y="5905500"/>
          <p14:tracePt t="75962" x="849313" y="5872163"/>
          <p14:tracePt t="75970" x="841375" y="5846763"/>
          <p14:tracePt t="75978" x="831850" y="5788025"/>
          <p14:tracePt t="75996" x="790575" y="5634038"/>
          <p14:tracePt t="76002" x="747713" y="5557838"/>
          <p14:tracePt t="76010" x="696913" y="5413375"/>
          <p14:tracePt t="76018" x="646113" y="5294313"/>
          <p14:tracePt t="76025" x="603250" y="5175250"/>
          <p14:tracePt t="76033" x="569913" y="5048250"/>
          <p14:tracePt t="76042" x="534988" y="4954588"/>
          <p14:tracePt t="76050" x="517525" y="4868863"/>
          <p14:tracePt t="76057" x="509588" y="4827588"/>
          <p14:tracePt t="76066" x="501650" y="4767263"/>
          <p14:tracePt t="76073" x="501650" y="4733925"/>
          <p14:tracePt t="76082" x="501650" y="4699000"/>
          <p14:tracePt t="76090" x="501650" y="4665663"/>
          <p14:tracePt t="76098" x="501650" y="4622800"/>
          <p14:tracePt t="76107" x="501650" y="4538663"/>
          <p14:tracePt t="76114" x="501650" y="4486275"/>
          <p14:tracePt t="76124" x="501650" y="4427538"/>
          <p14:tracePt t="76130" x="501650" y="4341813"/>
          <p14:tracePt t="76140" x="501650" y="4283075"/>
          <p14:tracePt t="76147" x="501650" y="4249738"/>
          <p14:tracePt t="76154" x="501650" y="4240213"/>
          <p14:tracePt t="76161" x="501650" y="4224338"/>
          <p14:tracePt t="76305" x="509588" y="4224338"/>
          <p14:tracePt t="76321" x="527050" y="4224338"/>
          <p14:tracePt t="76329" x="552450" y="4224338"/>
          <p14:tracePt t="76338" x="577850" y="4224338"/>
          <p14:tracePt t="76345" x="603250" y="4224338"/>
          <p14:tracePt t="76354" x="636588" y="4224338"/>
          <p14:tracePt t="76361" x="704850" y="4232275"/>
          <p14:tracePt t="76369" x="755650" y="4232275"/>
          <p14:tracePt t="76377" x="858838" y="4257675"/>
          <p14:tracePt t="76385" x="917575" y="4265613"/>
          <p14:tracePt t="76395" x="1011238" y="4275138"/>
          <p14:tracePt t="76401" x="1079500" y="4300538"/>
          <p14:tracePt t="76409" x="1173163" y="4308475"/>
          <p14:tracePt t="76416" x="1223963" y="4316413"/>
          <p14:tracePt t="76425" x="1282700" y="4325938"/>
          <p14:tracePt t="76432" x="1368425" y="4351338"/>
          <p14:tracePt t="76441" x="1427163" y="4368800"/>
          <p14:tracePt t="76449" x="1538288" y="4419600"/>
          <p14:tracePt t="76457" x="1622425" y="4452938"/>
          <p14:tracePt t="76465" x="1766888" y="4495800"/>
          <p14:tracePt t="76473" x="1878013" y="4546600"/>
          <p14:tracePt t="76481" x="1987550" y="4589463"/>
          <p14:tracePt t="76490" x="2065338" y="4622800"/>
          <p14:tracePt t="76497" x="2141538" y="4648200"/>
          <p14:tracePt t="76506" x="2217738" y="4683125"/>
          <p14:tracePt t="76513" x="2243138" y="4691063"/>
          <p14:tracePt t="76522" x="2268538" y="4699000"/>
          <p14:tracePt t="76545" x="2268538" y="4708525"/>
          <p14:tracePt t="76554" x="2268538" y="4716463"/>
          <p14:tracePt t="76561" x="2251075" y="4724400"/>
          <p14:tracePt t="76569" x="2217738" y="4741863"/>
          <p14:tracePt t="76577" x="2182813" y="4767263"/>
          <p14:tracePt t="76585" x="2149475" y="4792663"/>
          <p14:tracePt t="76593" x="2081213" y="4843463"/>
          <p14:tracePt t="76601" x="2005013" y="4878388"/>
          <p14:tracePt t="76609" x="1928813" y="4919663"/>
          <p14:tracePt t="76617" x="1852613" y="4979988"/>
          <p14:tracePt t="76625" x="1776413" y="5022850"/>
          <p14:tracePt t="76633" x="1682750" y="5081588"/>
          <p14:tracePt t="76641" x="1606550" y="5116513"/>
          <p14:tracePt t="76649" x="1487488" y="5175250"/>
          <p14:tracePt t="76658" x="1409700" y="5200650"/>
          <p14:tracePt t="76665" x="1308100" y="5235575"/>
          <p14:tracePt t="76673" x="1223963" y="5260975"/>
          <p14:tracePt t="76681" x="1120775" y="5268913"/>
          <p14:tracePt t="76690" x="1062038" y="5268913"/>
          <p14:tracePt t="76697" x="968375" y="5268913"/>
          <p14:tracePt t="76706" x="909638" y="5268913"/>
          <p14:tracePt t="76713" x="849313" y="5268913"/>
          <p14:tracePt t="76722" x="790575" y="5268913"/>
          <p14:tracePt t="76729" x="755650" y="5268913"/>
          <p14:tracePt t="76739" x="704850" y="5268913"/>
          <p14:tracePt t="76745" x="679450" y="5268913"/>
          <p14:tracePt t="76753" x="654050" y="5268913"/>
          <p14:tracePt t="76761" x="636588" y="5268913"/>
          <p14:tracePt t="76770" x="620713" y="5268913"/>
          <p14:tracePt t="76834" x="611188" y="5260975"/>
          <p14:tracePt t="76842" x="585788" y="5243513"/>
          <p14:tracePt t="76850" x="569913" y="5226050"/>
          <p14:tracePt t="76859" x="534988" y="5200650"/>
          <p14:tracePt t="76866" x="484188" y="5157788"/>
          <p14:tracePt t="76875" x="441325" y="5116513"/>
          <p14:tracePt t="76881" x="373063" y="5064125"/>
          <p14:tracePt t="76890" x="347663" y="5030788"/>
          <p14:tracePt t="76897" x="322263" y="4979988"/>
          <p14:tracePt t="76906" x="296863" y="4954588"/>
          <p14:tracePt t="76913" x="263525" y="4903788"/>
          <p14:tracePt t="76922" x="238125" y="4878388"/>
          <p14:tracePt t="76930" x="230188" y="4852988"/>
          <p14:tracePt t="76939" x="220663" y="4843463"/>
          <p14:tracePt t="76945" x="220663" y="4835525"/>
          <p14:tracePt t="76954" x="220663" y="4827588"/>
          <p14:tracePt t="76961" x="220663" y="4818063"/>
          <p14:tracePt t="76989" x="220663" y="4810125"/>
          <p14:tracePt t="76993" x="220663" y="4802188"/>
          <p14:tracePt t="77001" x="238125" y="4792663"/>
          <p14:tracePt t="77018" x="246063" y="4784725"/>
          <p14:tracePt t="77025" x="246063" y="4775200"/>
          <p14:tracePt t="77034" x="255588" y="4767263"/>
          <p14:tracePt t="77041" x="263525" y="4759325"/>
          <p14:tracePt t="77057" x="271463" y="4741863"/>
          <p14:tracePt t="77065" x="280988" y="4741863"/>
          <p14:tracePt t="77074" x="288925" y="4733925"/>
          <p14:tracePt t="79401" x="322263" y="4733925"/>
          <p14:tracePt t="79409" x="339725" y="4716463"/>
          <p14:tracePt t="79417" x="365125" y="4691063"/>
          <p14:tracePt t="79425" x="390525" y="4673600"/>
          <p14:tracePt t="79433" x="407988" y="4665663"/>
          <p14:tracePt t="79441" x="415925" y="4648200"/>
          <p14:tracePt t="79449" x="415925" y="4640263"/>
          <p14:tracePt t="79457" x="425450" y="4630738"/>
          <p14:tracePt t="79466" x="425450" y="4614863"/>
          <p14:tracePt t="79473" x="425450" y="4589463"/>
          <p14:tracePt t="79481" x="433388" y="4579938"/>
          <p14:tracePt t="79490" x="441325" y="4554538"/>
          <p14:tracePt t="79498" x="450850" y="4538663"/>
          <p14:tracePt t="79506" x="466725" y="4513263"/>
          <p14:tracePt t="79522" x="476250" y="4503738"/>
          <p14:tracePt t="79530" x="484188" y="4495800"/>
          <p14:tracePt t="79634" x="484188" y="4486275"/>
          <p14:tracePt t="79826" x="492125" y="4486275"/>
          <p14:tracePt t="79873" x="492125" y="4495800"/>
          <p14:tracePt t="79881" x="509588" y="4521200"/>
          <p14:tracePt t="79889" x="527050" y="4564063"/>
          <p14:tracePt t="79897" x="534988" y="4614863"/>
          <p14:tracePt t="79905" x="534988" y="4665663"/>
          <p14:tracePt t="79913" x="544513" y="4716463"/>
          <p14:tracePt t="79922" x="544513" y="4759325"/>
          <p14:tracePt t="79929" x="544513" y="4792663"/>
          <p14:tracePt t="79939" x="544513" y="4810125"/>
          <p14:tracePt t="79946" x="544513" y="4827588"/>
          <p14:tracePt t="79956" x="544513" y="4852988"/>
          <p14:tracePt t="79962" x="544513" y="4860925"/>
          <p14:tracePt t="79970" x="552450" y="4878388"/>
          <p14:tracePt t="79991" x="560388" y="4886325"/>
          <p14:tracePt t="80009" x="560388" y="4894263"/>
          <p14:tracePt t="80025" x="569913" y="4894263"/>
          <p14:tracePt t="80058" x="577850" y="4894263"/>
          <p14:tracePt t="80073" x="585788" y="4894263"/>
          <p14:tracePt t="80090" x="595313" y="4903788"/>
          <p14:tracePt t="81156" x="585788" y="4903788"/>
          <p14:tracePt t="81162" x="577850" y="4911725"/>
          <p14:tracePt t="81171" x="569913" y="4937125"/>
          <p14:tracePt t="81176" x="560388" y="4972050"/>
          <p14:tracePt t="81185" x="544513" y="5030788"/>
          <p14:tracePt t="81193" x="544513" y="5073650"/>
          <p14:tracePt t="81201" x="544513" y="5124450"/>
          <p14:tracePt t="81209" x="544513" y="5141913"/>
          <p14:tracePt t="81217" x="544513" y="5175250"/>
          <p14:tracePt t="81225" x="544513" y="5192713"/>
          <p14:tracePt t="81233" x="544513" y="5208588"/>
          <p14:tracePt t="81241" x="544513" y="5226050"/>
          <p14:tracePt t="81249" x="544513" y="5235575"/>
          <p14:tracePt t="81257" x="544513" y="5260975"/>
          <p14:tracePt t="81265" x="552450" y="5276850"/>
          <p14:tracePt t="81273" x="552450" y="5286375"/>
          <p14:tracePt t="81281" x="560388" y="5286375"/>
          <p14:tracePt t="81330" x="569913" y="5286375"/>
          <p14:tracePt t="81458" x="577850" y="5286375"/>
          <p14:tracePt t="81473" x="585788" y="5286375"/>
          <p14:tracePt t="81482" x="595313" y="5286375"/>
          <p14:tracePt t="81490" x="603250" y="5286375"/>
          <p14:tracePt t="81506" x="611188" y="5286375"/>
          <p14:tracePt t="82226" x="620713" y="5286375"/>
          <p14:tracePt t="82242" x="628650" y="5276850"/>
          <p14:tracePt t="82594" x="628650" y="5268913"/>
          <p14:tracePt t="82602" x="636588" y="5243513"/>
          <p14:tracePt t="82610" x="636588" y="5200650"/>
          <p14:tracePt t="82618" x="636588" y="5124450"/>
          <p14:tracePt t="82626" x="620713" y="5030788"/>
          <p14:tracePt t="82634" x="603250" y="4937125"/>
          <p14:tracePt t="82643" x="595313" y="4827588"/>
          <p14:tracePt t="82650" x="569913" y="4749800"/>
          <p14:tracePt t="82658" x="552450" y="4691063"/>
          <p14:tracePt t="82666" x="544513" y="4657725"/>
          <p14:tracePt t="82674" x="544513" y="4630738"/>
          <p14:tracePt t="82682" x="534988" y="4630738"/>
          <p14:tracePt t="82691" x="534988" y="4622800"/>
          <p14:tracePt t="82739" x="534988" y="4640263"/>
          <p14:tracePt t="82746" x="534988" y="4657725"/>
          <p14:tracePt t="82754" x="544513" y="4665663"/>
          <p14:tracePt t="82762" x="544513" y="4673600"/>
          <p14:tracePt t="82769" x="552450" y="4673600"/>
          <p14:tracePt t="82954" x="544513" y="4665663"/>
          <p14:tracePt t="82962" x="517525" y="4648200"/>
          <p14:tracePt t="82970" x="501650" y="4640263"/>
          <p14:tracePt t="82978" x="492125" y="4630738"/>
          <p14:tracePt t="82992" x="484188" y="4622800"/>
          <p14:tracePt t="82993" x="476250" y="4614863"/>
          <p14:tracePt t="83000" x="476250" y="4605338"/>
          <p14:tracePt t="83009" x="476250" y="4597400"/>
          <p14:tracePt t="83170" x="466725" y="4597400"/>
          <p14:tracePt t="83186" x="466725" y="4605338"/>
          <p14:tracePt t="84956" x="466725" y="4597400"/>
          <p14:tracePt t="84970" x="425450" y="4605338"/>
          <p14:tracePt t="84978" x="425450" y="4579938"/>
          <p14:tracePt t="84986" x="425450" y="4554538"/>
          <p14:tracePt t="85003" x="415925" y="4521200"/>
          <p14:tracePt t="85008" x="407988" y="4495800"/>
          <p14:tracePt t="85017" x="390525" y="4460875"/>
          <p14:tracePt t="85024" x="382588" y="4427538"/>
          <p14:tracePt t="85033" x="365125" y="4368800"/>
          <p14:tracePt t="85041" x="347663" y="4333875"/>
          <p14:tracePt t="85049" x="339725" y="4283075"/>
          <p14:tracePt t="85057" x="339725" y="4232275"/>
          <p14:tracePt t="85065" x="331788" y="4197350"/>
          <p14:tracePt t="85073" x="331788" y="4171950"/>
          <p14:tracePt t="85081" x="331788" y="4164013"/>
          <p14:tracePt t="85089" x="331788" y="4138613"/>
          <p14:tracePt t="85097" x="331788" y="4121150"/>
          <p14:tracePt t="85106" x="339725" y="4105275"/>
          <p14:tracePt t="85113" x="347663" y="4105275"/>
          <p14:tracePt t="85122" x="347663" y="4095750"/>
          <p14:tracePt t="85129" x="357188" y="4095750"/>
          <p14:tracePt t="85146" x="357188" y="4087813"/>
          <p14:tracePt t="85218" x="365125" y="4087813"/>
          <p14:tracePt t="85226" x="382588" y="4079875"/>
          <p14:tracePt t="85234" x="390525" y="4070350"/>
          <p14:tracePt t="85243" x="400050" y="4070350"/>
          <p14:tracePt t="85250" x="415925" y="4070350"/>
          <p14:tracePt t="85274" x="433388" y="4070350"/>
          <p14:tracePt t="85290" x="441325" y="4070350"/>
          <p14:tracePt t="85306" x="450850" y="4070350"/>
          <p14:tracePt t="85402" x="441325" y="4070350"/>
          <p14:tracePt t="85410" x="433388" y="4070350"/>
          <p14:tracePt t="85418" x="425450" y="4070350"/>
          <p14:tracePt t="85430" x="400050" y="4079875"/>
          <p14:tracePt t="85434" x="382588" y="4079875"/>
          <p14:tracePt t="85441" x="365125" y="4095750"/>
          <p14:tracePt t="85450" x="357188" y="4105275"/>
          <p14:tracePt t="85457" x="347663" y="4105275"/>
          <p14:tracePt t="85465" x="331788" y="4113213"/>
          <p14:tracePt t="85489" x="331788" y="4121150"/>
          <p14:tracePt t="85571" x="339725" y="4121150"/>
          <p14:tracePt t="85578" x="347663" y="4121150"/>
          <p14:tracePt t="85689" x="347663" y="4130675"/>
          <p14:tracePt t="85697" x="347663" y="4156075"/>
          <p14:tracePt t="85705" x="347663" y="4181475"/>
          <p14:tracePt t="85713" x="357188" y="4224338"/>
          <p14:tracePt t="85722" x="373063" y="4291013"/>
          <p14:tracePt t="85729" x="390525" y="4325938"/>
          <p14:tracePt t="85739" x="415925" y="4351338"/>
          <p14:tracePt t="85746" x="433388" y="4351338"/>
          <p14:tracePt t="85756" x="441325" y="4359275"/>
          <p14:tracePt t="85762" x="458788" y="4359275"/>
          <p14:tracePt t="85778" x="466725" y="4359275"/>
          <p14:tracePt t="85834" x="458788" y="4351338"/>
          <p14:tracePt t="85841" x="433388" y="4333875"/>
          <p14:tracePt t="85850" x="425450" y="4325938"/>
          <p14:tracePt t="85857" x="407988" y="4316413"/>
          <p14:tracePt t="85865" x="382588" y="4316413"/>
          <p14:tracePt t="85873" x="365125" y="4316413"/>
          <p14:tracePt t="85890" x="357188" y="4316413"/>
          <p14:tracePt t="85898" x="347663" y="4316413"/>
          <p14:tracePt t="85970" x="365125" y="4316413"/>
          <p14:tracePt t="85978" x="390525" y="4316413"/>
          <p14:tracePt t="85987" x="415925" y="4316413"/>
          <p14:tracePt t="85994" x="466725" y="4316413"/>
          <p14:tracePt t="86002" x="527050" y="4316413"/>
          <p14:tracePt t="86010" x="620713" y="4325938"/>
          <p14:tracePt t="86018" x="688975" y="4333875"/>
          <p14:tracePt t="86025" x="806450" y="4359275"/>
          <p14:tracePt t="86033" x="935038" y="4384675"/>
          <p14:tracePt t="86042" x="1087438" y="4394200"/>
          <p14:tracePt t="86050" x="1333500" y="4435475"/>
          <p14:tracePt t="86059" x="1554163" y="4470400"/>
          <p14:tracePt t="86065" x="1946275" y="4521200"/>
          <p14:tracePt t="86074" x="2235200" y="4521200"/>
          <p14:tracePt t="86082" x="2608263" y="4521200"/>
          <p14:tracePt t="86090" x="2811463" y="4521200"/>
          <p14:tracePt t="86098" x="3084513" y="4503738"/>
          <p14:tracePt t="86106" x="3244850" y="4478338"/>
          <p14:tracePt t="86113" x="3373438" y="4452938"/>
          <p14:tracePt t="86123" x="3500438" y="4427538"/>
          <p14:tracePt t="86130" x="3594100" y="4410075"/>
          <p14:tracePt t="86140" x="3721100" y="4384675"/>
          <p14:tracePt t="86146" x="3806825" y="4376738"/>
          <p14:tracePt t="86155" x="3908425" y="4359275"/>
          <p14:tracePt t="86162" x="3992563" y="4341813"/>
          <p14:tracePt t="86170" x="4070350" y="4325938"/>
          <p14:tracePt t="86178" x="4111625" y="4316413"/>
          <p14:tracePt t="86186" x="4137025" y="4316413"/>
          <p14:tracePt t="86194" x="4171950" y="4300538"/>
          <p14:tracePt t="86201" x="4197350" y="4291013"/>
          <p14:tracePt t="86209" x="4205288" y="4291013"/>
          <p14:tracePt t="86218" x="4222750" y="4291013"/>
          <p14:tracePt t="86225" x="4230688" y="4291013"/>
          <p14:tracePt t="86258" x="4214813" y="4291013"/>
          <p14:tracePt t="86266" x="4179888" y="4316413"/>
          <p14:tracePt t="86274" x="4137025" y="4341813"/>
          <p14:tracePt t="86282" x="4027488" y="4384675"/>
          <p14:tracePt t="86513" x="4017963" y="4402138"/>
          <p14:tracePt t="86521" x="4010025" y="4402138"/>
          <p14:tracePt t="86529" x="3984625" y="4410075"/>
          <p14:tracePt t="86537" x="3959225" y="4419600"/>
          <p14:tracePt t="86545" x="3951288" y="4419600"/>
          <p14:tracePt t="86554" x="3933825" y="4419600"/>
          <p14:tracePt t="86561" x="3925888" y="4419600"/>
          <p14:tracePt t="86577" x="3925888" y="4427538"/>
          <p14:tracePt t="86594" x="3933825" y="4435475"/>
          <p14:tracePt t="86601" x="3941763" y="4435475"/>
          <p14:tracePt t="86609" x="3959225" y="4435475"/>
          <p14:tracePt t="86616" x="3976688" y="4435475"/>
          <p14:tracePt t="86625" x="3992563" y="4435475"/>
          <p14:tracePt t="86633" x="4017963" y="4435475"/>
          <p14:tracePt t="86641" x="4070350" y="4435475"/>
          <p14:tracePt t="86649" x="4129088" y="4435475"/>
          <p14:tracePt t="86657" x="4230688" y="4427538"/>
          <p14:tracePt t="86666" x="4316413" y="4419600"/>
          <p14:tracePt t="86673" x="4460875" y="4394200"/>
          <p14:tracePt t="86681" x="4562475" y="4376738"/>
          <p14:tracePt t="86690" x="4664075" y="4359275"/>
          <p14:tracePt t="86697" x="4791075" y="4325938"/>
          <p14:tracePt t="86706" x="4894263" y="4316413"/>
          <p14:tracePt t="86713" x="4995863" y="4291013"/>
          <p14:tracePt t="86723" x="5064125" y="4283075"/>
          <p14:tracePt t="86729" x="5140325" y="4275138"/>
          <p14:tracePt t="86739" x="5183188" y="4275138"/>
          <p14:tracePt t="86746" x="5224463" y="4275138"/>
          <p14:tracePt t="86755" x="5284788" y="4275138"/>
          <p14:tracePt t="86762" x="5327650" y="4275138"/>
          <p14:tracePt t="86769" x="5360988" y="4283075"/>
          <p14:tracePt t="86778" x="5394325" y="4291013"/>
          <p14:tracePt t="86786" x="5429250" y="4291013"/>
          <p14:tracePt t="86794" x="5437188" y="4300538"/>
          <p14:tracePt t="86801" x="5462588" y="4300538"/>
          <p14:tracePt t="87866" x="5462588" y="4291013"/>
          <p14:tracePt t="87874" x="5462588" y="4283075"/>
          <p14:tracePt t="87881" x="5462588" y="4265613"/>
          <p14:tracePt t="87889" x="5462588" y="4249738"/>
          <p14:tracePt t="87905" x="5462588" y="4232275"/>
          <p14:tracePt t="87913" x="5462588" y="4224338"/>
          <p14:tracePt t="87920" x="5462588" y="4214813"/>
          <p14:tracePt t="87929" x="5462588" y="4206875"/>
          <p14:tracePt t="87937" x="5472113" y="4197350"/>
          <p14:tracePt t="87953" x="5472113" y="4181475"/>
          <p14:tracePt t="87971" x="5480050" y="4171950"/>
          <p14:tracePt t="87988" x="5480050" y="4164013"/>
          <p14:tracePt t="88979" x="5487988" y="4164013"/>
          <p14:tracePt t="88987" x="5522913" y="4164013"/>
          <p14:tracePt t="88994" x="5538788" y="4164013"/>
          <p14:tracePt t="89002" x="5565775" y="4164013"/>
          <p14:tracePt t="89010" x="5581650" y="4164013"/>
          <p14:tracePt t="89019" x="5599113" y="4164013"/>
          <p14:tracePt t="89026" x="5607050" y="4164013"/>
          <p14:tracePt t="89034" x="5616575" y="4156075"/>
          <p14:tracePt t="89042" x="5591175" y="4171950"/>
          <p14:tracePt t="89272" x="5591175" y="4181475"/>
          <p14:tracePt t="89280" x="5607050" y="4181475"/>
          <p14:tracePt t="89296" x="5599113" y="4189413"/>
          <p14:tracePt t="89305" x="5591175" y="4189413"/>
          <p14:tracePt t="89345" x="5607050" y="4189413"/>
          <p14:tracePt t="89361" x="5616575" y="4189413"/>
          <p14:tracePt t="89369" x="5632450" y="4189413"/>
          <p14:tracePt t="89393" x="5641975" y="4189413"/>
          <p14:tracePt t="89409" x="5649913" y="4197350"/>
          <p14:tracePt t="89417" x="5649913" y="4206875"/>
          <p14:tracePt t="89433" x="5649913" y="4214813"/>
          <p14:tracePt t="89874" x="5641975" y="4214813"/>
          <p14:tracePt t="89882" x="5624513" y="4214813"/>
          <p14:tracePt t="89891" x="5599113" y="4224338"/>
          <p14:tracePt t="89897" x="5573713" y="4224338"/>
          <p14:tracePt t="89905" x="5565775" y="4232275"/>
          <p14:tracePt t="89913" x="5538788" y="4232275"/>
          <p14:tracePt t="89921" x="5505450" y="4240213"/>
          <p14:tracePt t="89929" x="5462588" y="4249738"/>
          <p14:tracePt t="89937" x="5403850" y="4257675"/>
          <p14:tracePt t="89945" x="5360988" y="4257675"/>
          <p14:tracePt t="89953" x="5267325" y="4275138"/>
          <p14:tracePt t="89961" x="5183188" y="4283075"/>
          <p14:tracePt t="89970" x="5072063" y="4283075"/>
          <p14:tracePt t="89977" x="4962525" y="4283075"/>
          <p14:tracePt t="89988" x="4843463" y="4283075"/>
          <p14:tracePt t="89993" x="4673600" y="4283075"/>
          <p14:tracePt t="90001" x="4562475" y="4283075"/>
          <p14:tracePt t="90009" x="4392613" y="4283075"/>
          <p14:tracePt t="90017" x="4214813" y="4283075"/>
          <p14:tracePt t="90025" x="3984625" y="4283075"/>
          <p14:tracePt t="90033" x="3840163" y="4283075"/>
          <p14:tracePt t="90041" x="3627438" y="4283075"/>
          <p14:tracePt t="90049" x="3475038" y="4283075"/>
          <p14:tracePt t="90057" x="3330575" y="4283075"/>
          <p14:tracePt t="90065" x="3160713" y="4283075"/>
          <p14:tracePt t="90073" x="3049588" y="4283075"/>
          <p14:tracePt t="90081" x="2930525" y="4283075"/>
          <p14:tracePt t="90089" x="2846388" y="4283075"/>
          <p14:tracePt t="90097" x="2752725" y="4291013"/>
          <p14:tracePt t="90105" x="2693988" y="4291013"/>
          <p14:tracePt t="90113" x="2633663" y="4291013"/>
          <p14:tracePt t="90122" x="2600325" y="4291013"/>
          <p14:tracePt t="90129" x="2590800" y="4291013"/>
          <p14:tracePt t="90138" x="2582863" y="4291013"/>
          <p14:tracePt t="90170" x="2600325" y="4291013"/>
          <p14:tracePt t="90178" x="2633663" y="4291013"/>
          <p14:tracePt t="90186" x="2676525" y="4283075"/>
          <p14:tracePt t="90193" x="2709863" y="4275138"/>
          <p14:tracePt t="90202" x="2752725" y="4265613"/>
          <p14:tracePt t="90209" x="2786063" y="4257675"/>
          <p14:tracePt t="90372" x="2811463" y="4257675"/>
          <p14:tracePt t="90378" x="2846388" y="4257675"/>
          <p14:tracePt t="90387" x="2854325" y="4265613"/>
          <p14:tracePt t="90394" x="2879725" y="4275138"/>
          <p14:tracePt t="90401" x="2889250" y="4275138"/>
          <p14:tracePt t="90409" x="2889250" y="4283075"/>
          <p14:tracePt t="90427" x="2879725" y="4283075"/>
          <p14:tracePt t="90442" x="2846388" y="4291013"/>
          <p14:tracePt t="90450" x="2838450" y="4291013"/>
          <p14:tracePt t="90459" x="2828925" y="4291013"/>
          <p14:tracePt t="90466" x="2811463" y="4291013"/>
          <p14:tracePt t="90474" x="2778125" y="4291013"/>
          <p14:tracePt t="90482" x="2744788" y="4291013"/>
          <p14:tracePt t="90490" x="2693988" y="4291013"/>
          <p14:tracePt t="90498" x="2633663" y="4291013"/>
          <p14:tracePt t="90506" x="2565400" y="4275138"/>
          <p14:tracePt t="90513" x="2463800" y="4265613"/>
          <p14:tracePt t="90523" x="2387600" y="4257675"/>
          <p14:tracePt t="90530" x="2301875" y="4249738"/>
          <p14:tracePt t="90539" x="2243138" y="4232275"/>
          <p14:tracePt t="90546" x="2174875" y="4232275"/>
          <p14:tracePt t="90556" x="2124075" y="4232275"/>
          <p14:tracePt t="90562" x="2055813" y="4232275"/>
          <p14:tracePt t="90571" x="2012950" y="4232275"/>
          <p14:tracePt t="90578" x="1971675" y="4232275"/>
          <p14:tracePt t="90586" x="1893888" y="4232275"/>
          <p14:tracePt t="90594" x="1852613" y="4232275"/>
          <p14:tracePt t="90602" x="1809750" y="4232275"/>
          <p14:tracePt t="90610" x="1749425" y="4232275"/>
          <p14:tracePt t="90618" x="1682750" y="4232275"/>
          <p14:tracePt t="90625" x="1631950" y="4224338"/>
          <p14:tracePt t="90634" x="1571625" y="4214813"/>
          <p14:tracePt t="90642" x="1512888" y="4206875"/>
          <p14:tracePt t="90649" x="1487488" y="4197350"/>
          <p14:tracePt t="90658" x="1409700" y="4189413"/>
          <p14:tracePt t="90665" x="1376363" y="4181475"/>
          <p14:tracePt t="90674" x="1333500" y="4181475"/>
          <p14:tracePt t="90681" x="1282700" y="4171950"/>
          <p14:tracePt t="90690" x="1257300" y="4164013"/>
          <p14:tracePt t="90697" x="1231900" y="4164013"/>
          <p14:tracePt t="90706" x="1206500" y="4156075"/>
          <p14:tracePt t="90713" x="1189038" y="4156075"/>
          <p14:tracePt t="90722" x="1181100" y="4156075"/>
          <p14:tracePt t="90729" x="1173163" y="4156075"/>
          <p14:tracePt t="90754" x="1163638" y="4156075"/>
          <p14:tracePt t="90770" x="1155700" y="4156075"/>
          <p14:tracePt t="90777" x="1138238" y="4156075"/>
          <p14:tracePt t="90785" x="1130300" y="4156075"/>
          <p14:tracePt t="90793" x="1112838" y="4156075"/>
          <p14:tracePt t="90801" x="1095375" y="4156075"/>
          <p14:tracePt t="90809" x="1079500" y="4146550"/>
          <p14:tracePt t="90817" x="1054100" y="4146550"/>
          <p14:tracePt t="90825" x="1028700" y="4138613"/>
          <p14:tracePt t="90833" x="1011238" y="4130675"/>
          <p14:tracePt t="90841" x="985838" y="4130675"/>
          <p14:tracePt t="90849" x="976313" y="4130675"/>
          <p14:tracePt t="90865" x="968375" y="4130675"/>
          <p14:tracePt t="90873" x="960438" y="4130675"/>
          <p14:tracePt t="90881" x="950913" y="4130675"/>
          <p14:tracePt t="90889" x="942975" y="4130675"/>
          <p14:tracePt t="90906" x="925513" y="4138613"/>
          <p14:tracePt t="90923" x="925513" y="4146550"/>
          <p14:tracePt t="90986" x="917575" y="4146550"/>
          <p14:tracePt t="91018" x="917575" y="4156075"/>
          <p14:tracePt t="91026" x="917575" y="4164013"/>
          <p14:tracePt t="91034" x="935038" y="4171950"/>
          <p14:tracePt t="91042" x="942975" y="4189413"/>
          <p14:tracePt t="91050" x="960438" y="4197350"/>
          <p14:tracePt t="91059" x="985838" y="4214813"/>
          <p14:tracePt t="91066" x="1011238" y="4232275"/>
          <p14:tracePt t="91074" x="1044575" y="4257675"/>
          <p14:tracePt t="91082" x="1079500" y="4265613"/>
          <p14:tracePt t="91090" x="1138238" y="4283075"/>
          <p14:tracePt t="91098" x="1173163" y="4283075"/>
          <p14:tracePt t="91107" x="1223963" y="4291013"/>
          <p14:tracePt t="91114" x="1257300" y="4300538"/>
          <p14:tracePt t="91124" x="1308100" y="4308475"/>
          <p14:tracePt t="91129" x="1350963" y="4308475"/>
          <p14:tracePt t="91139" x="1393825" y="4316413"/>
          <p14:tracePt t="91146" x="1452563" y="4325938"/>
          <p14:tracePt t="91156" x="1512888" y="4351338"/>
          <p14:tracePt t="91162" x="1606550" y="4359275"/>
          <p14:tracePt t="91172" x="1665288" y="4384675"/>
          <p14:tracePt t="91178" x="1758950" y="4427538"/>
          <p14:tracePt t="91186" x="1827213" y="4460875"/>
          <p14:tracePt t="91194" x="1920875" y="4495800"/>
          <p14:tracePt t="91202" x="1997075" y="4513263"/>
          <p14:tracePt t="91210" x="2073275" y="4538663"/>
          <p14:tracePt t="91218" x="2157413" y="4554538"/>
          <p14:tracePt t="91225" x="2225675" y="4564063"/>
          <p14:tracePt t="91234" x="2344738" y="4579938"/>
          <p14:tracePt t="91241" x="2430463" y="4589463"/>
          <p14:tracePt t="91250" x="2514600" y="4614863"/>
          <p14:tracePt t="91257" x="2616200" y="4614863"/>
          <p14:tracePt t="91266" x="2693988" y="4614863"/>
          <p14:tracePt t="91274" x="2786063" y="4614863"/>
          <p14:tracePt t="91282" x="2871788" y="4605338"/>
          <p14:tracePt t="91290" x="2965450" y="4597400"/>
          <p14:tracePt t="91299" x="3033713" y="4589463"/>
          <p14:tracePt t="91306" x="3109913" y="4579938"/>
          <p14:tracePt t="91314" x="3168650" y="4564063"/>
          <p14:tracePt t="91322" x="3236913" y="4564063"/>
          <p14:tracePt t="91330" x="3297238" y="4564063"/>
          <p14:tracePt t="91338" x="3355975" y="4564063"/>
          <p14:tracePt t="91346" x="3432175" y="4579938"/>
          <p14:tracePt t="91356" x="3475038" y="4579938"/>
          <p14:tracePt t="91361" x="3517900" y="4589463"/>
          <p14:tracePt t="91371" x="3568700" y="4597400"/>
          <p14:tracePt t="91378" x="3627438" y="4605338"/>
          <p14:tracePt t="91386" x="3670300" y="4605338"/>
          <p14:tracePt t="91394" x="3713163" y="4605338"/>
          <p14:tracePt t="91401" x="3756025" y="4605338"/>
          <p14:tracePt t="91410" x="3789363" y="4605338"/>
          <p14:tracePt t="91417" x="3822700" y="4605338"/>
          <p14:tracePt t="91425" x="3848100" y="4605338"/>
          <p14:tracePt t="91434" x="3890963" y="4605338"/>
          <p14:tracePt t="91441" x="3941763" y="4597400"/>
          <p14:tracePt t="91449" x="4027488" y="4579938"/>
          <p14:tracePt t="91457" x="4078288" y="4546600"/>
          <p14:tracePt t="91466" x="4179888" y="4513263"/>
          <p14:tracePt t="91474" x="4240213" y="4478338"/>
          <p14:tracePt t="91482" x="4306888" y="4460875"/>
          <p14:tracePt t="91490" x="4367213" y="4445000"/>
          <p14:tracePt t="91498" x="4400550" y="4427538"/>
          <p14:tracePt t="91506" x="4425950" y="4419600"/>
          <p14:tracePt t="91514" x="4435475" y="4410075"/>
          <p14:tracePt t="91521" x="4443413" y="4410075"/>
          <p14:tracePt t="91529" x="4460875" y="4402138"/>
          <p14:tracePt t="91537" x="4468813" y="4402138"/>
          <p14:tracePt t="91546" x="4486275" y="4394200"/>
          <p14:tracePt t="91557" x="4503738" y="4394200"/>
          <p14:tracePt t="91562" x="4511675" y="4394200"/>
          <p14:tracePt t="91573" x="4519613" y="4394200"/>
          <p14:tracePt t="91578" x="4529138" y="4394200"/>
          <p14:tracePt t="91594" x="4545013" y="4394200"/>
          <p14:tracePt t="91602" x="4554538" y="4394200"/>
          <p14:tracePt t="91610" x="4562475" y="4394200"/>
          <p14:tracePt t="91618" x="4579938" y="4394200"/>
          <p14:tracePt t="91634" x="4595813" y="4394200"/>
          <p14:tracePt t="91642" x="4605338" y="4394200"/>
          <p14:tracePt t="91658" x="4613275" y="4394200"/>
          <p14:tracePt t="91666" x="4621213" y="4394200"/>
          <p14:tracePt t="91682" x="4630738" y="4394200"/>
          <p14:tracePt t="91691" x="4638675" y="4394200"/>
          <p14:tracePt t="91699" x="4646613" y="4394200"/>
          <p14:tracePt t="91723" x="4656138" y="4394200"/>
          <p14:tracePt t="91730" x="4664075" y="4394200"/>
          <p14:tracePt t="91740" x="4673600" y="4394200"/>
          <p14:tracePt t="91757" x="4681538" y="4394200"/>
          <p14:tracePt t="93051" x="4699000" y="4394200"/>
          <p14:tracePt t="93058" x="4724400" y="4394200"/>
          <p14:tracePt t="93066" x="4757738" y="4394200"/>
          <p14:tracePt t="93074" x="4833938" y="4394200"/>
          <p14:tracePt t="93082" x="4894263" y="4394200"/>
          <p14:tracePt t="93091" x="4978400" y="4394200"/>
          <p14:tracePt t="93098" x="5021263" y="4394200"/>
          <p14:tracePt t="93107" x="5054600" y="4394200"/>
          <p14:tracePt t="93114" x="5064125" y="4394200"/>
          <p14:tracePt t="93123" x="5089525" y="4394200"/>
          <p14:tracePt t="93130" x="5106988" y="4384675"/>
          <p14:tracePt t="93139" x="5114925" y="4384675"/>
          <p14:tracePt t="93146" x="5140325" y="4376738"/>
          <p14:tracePt t="93154" x="5157788" y="4368800"/>
          <p14:tracePt t="93162" x="5191125" y="4368800"/>
          <p14:tracePt t="93172" x="5208588" y="4359275"/>
          <p14:tracePt t="93178" x="5249863" y="4359275"/>
          <p14:tracePt t="93187" x="5267325" y="4359275"/>
          <p14:tracePt t="93194" x="5302250" y="4359275"/>
          <p14:tracePt t="93202" x="5318125" y="4359275"/>
          <p14:tracePt t="93210" x="5327650" y="4376738"/>
          <p14:tracePt t="93217" x="5343525" y="4394200"/>
          <p14:tracePt t="93226" x="5353050" y="4402138"/>
          <p14:tracePt t="93233" x="5360988" y="4410075"/>
          <p14:tracePt t="93241" x="5378450" y="4419600"/>
          <p14:tracePt t="93250" x="5378450" y="4427538"/>
          <p14:tracePt t="93273" x="5368925" y="4419600"/>
          <p14:tracePt t="93281" x="5368925" y="4402138"/>
          <p14:tracePt t="93474" x="5360988" y="4402138"/>
          <p14:tracePt t="93482" x="5353050" y="4402138"/>
          <p14:tracePt t="93498" x="5353050" y="4419600"/>
          <p14:tracePt t="93523" x="5353050" y="4427538"/>
          <p14:tracePt t="93530" x="5353050" y="4435475"/>
          <p14:tracePt t="93539" x="5353050" y="4445000"/>
          <p14:tracePt t="93555" x="5353050" y="4452938"/>
          <p14:tracePt t="93572" x="5343525" y="4460875"/>
          <p14:tracePt t="93587" x="5335588" y="4470400"/>
          <p14:tracePt t="93595" x="5327650" y="4478338"/>
          <p14:tracePt t="94130" x="5343525" y="4478338"/>
          <p14:tracePt t="94138" x="5386388" y="4478338"/>
          <p14:tracePt t="94146" x="5487988" y="4478338"/>
          <p14:tracePt t="94154" x="5573713" y="4452938"/>
          <p14:tracePt t="94162" x="5649913" y="4445000"/>
          <p14:tracePt t="94173" x="5718175" y="4419600"/>
          <p14:tracePt t="94178" x="5768975" y="4410075"/>
          <p14:tracePt t="94189" x="5811838" y="4410075"/>
          <p14:tracePt t="94194" x="5837238" y="4402138"/>
          <p14:tracePt t="94202" x="5870575" y="4394200"/>
          <p14:tracePt t="94210" x="5888038" y="4394200"/>
          <p14:tracePt t="94219" x="5921375" y="4384675"/>
          <p14:tracePt t="94226" x="5972175" y="4376738"/>
          <p14:tracePt t="94234" x="6015038" y="4376738"/>
          <p14:tracePt t="94242" x="6057900" y="4368800"/>
          <p14:tracePt t="94251" x="6083300" y="4368800"/>
          <p14:tracePt t="94258" x="6116638" y="4368800"/>
          <p14:tracePt t="94275" x="6126163" y="4376738"/>
          <p14:tracePt t="94282" x="6134100" y="4376738"/>
          <p14:tracePt t="94290" x="6134100" y="4394200"/>
          <p14:tracePt t="94298" x="6134100" y="4419600"/>
          <p14:tracePt t="94308" x="6116638" y="4427538"/>
          <p14:tracePt t="94314" x="6100763" y="4445000"/>
          <p14:tracePt t="94323" x="6091238" y="4452938"/>
          <p14:tracePt t="94330" x="6057900" y="4460875"/>
          <p14:tracePt t="94562" x="6083300" y="4460875"/>
          <p14:tracePt t="94571" x="6040438" y="4495800"/>
          <p14:tracePt t="94578" x="6040438" y="4503738"/>
          <p14:tracePt t="94587" x="6049963" y="4521200"/>
          <p14:tracePt t="94594" x="6057900" y="4529138"/>
          <p14:tracePt t="94602" x="6065838" y="4529138"/>
          <p14:tracePt t="94618" x="6075363" y="4529138"/>
          <p14:tracePt t="94771" x="6065838" y="4529138"/>
          <p14:tracePt t="94794" x="6065838" y="4521200"/>
          <p14:tracePt t="94800" x="6057900" y="4513263"/>
          <p14:tracePt t="96650" x="6057900" y="4529138"/>
          <p14:tracePt t="96658" x="6065838" y="4546600"/>
          <p14:tracePt t="96666" x="6065838" y="4579938"/>
          <p14:tracePt t="96674" x="6065838" y="4622800"/>
          <p14:tracePt t="96682" x="6065838" y="4648200"/>
          <p14:tracePt t="96690" x="6065838" y="4683125"/>
          <p14:tracePt t="96698" x="6075363" y="4699000"/>
          <p14:tracePt t="96706" x="6083300" y="4708525"/>
          <p14:tracePt t="96722" x="6083300" y="4716463"/>
          <p14:tracePt t="97314" x="6108700" y="4716463"/>
          <p14:tracePt t="97323" x="6167438" y="4716463"/>
          <p14:tracePt t="97330" x="6235700" y="4716463"/>
          <p14:tracePt t="97339" x="6270625" y="4716463"/>
          <p14:tracePt t="97346" x="6278563" y="4716463"/>
          <p14:tracePt t="97355" x="6286500" y="4716463"/>
          <p14:tracePt t="97393" x="6296025" y="4724400"/>
          <p14:tracePt t="97409" x="6296025" y="4741863"/>
          <p14:tracePt t="97417" x="6296025" y="4749800"/>
          <p14:tracePt t="97425" x="6296025" y="4767263"/>
          <p14:tracePt t="97433" x="6296025" y="4775200"/>
          <p14:tracePt t="97441" x="6278563" y="4792663"/>
          <p14:tracePt t="97449" x="6278563" y="4802188"/>
          <p14:tracePt t="97473" x="6270625" y="4775200"/>
          <p14:tracePt t="97481" x="6261100" y="4759325"/>
          <p14:tracePt t="97634" x="6270625" y="4759325"/>
          <p14:tracePt t="97642" x="6278563" y="4759325"/>
          <p14:tracePt t="97650" x="6286500" y="4759325"/>
          <p14:tracePt t="97658" x="6296025" y="4759325"/>
          <p14:tracePt t="97666" x="6311900" y="4759325"/>
          <p14:tracePt t="97674" x="6311900" y="4767263"/>
          <p14:tracePt t="97682" x="6321425" y="4775200"/>
          <p14:tracePt t="97692" x="6329363" y="4775200"/>
          <p14:tracePt t="97707" x="6338888" y="4784725"/>
          <p14:tracePt t="97723" x="6346825" y="4784725"/>
          <p14:tracePt t="97730" x="6346825" y="4792663"/>
          <p14:tracePt t="97873" x="6338888" y="4792663"/>
          <p14:tracePt t="97907" x="6329363" y="4792663"/>
          <p14:tracePt t="97939" x="6321425" y="4792663"/>
          <p14:tracePt t="98803" x="6311900" y="4792663"/>
          <p14:tracePt t="98818" x="6303963" y="4792663"/>
          <p14:tracePt t="98825" x="6296025" y="4792663"/>
          <p14:tracePt t="98841" x="6286500" y="4792663"/>
          <p14:tracePt t="98849" x="6278563" y="4784725"/>
          <p14:tracePt t="98873" x="6261100" y="4775200"/>
          <p14:tracePt t="98889" x="6253163" y="4775200"/>
          <p14:tracePt t="99042" x="6253163" y="4767263"/>
          <p14:tracePt t="99058" x="6245225" y="4767263"/>
          <p14:tracePt t="99066" x="6227763" y="4767263"/>
          <p14:tracePt t="99082" x="6227763" y="4759325"/>
          <p14:tracePt t="99162" x="6219825" y="4749800"/>
          <p14:tracePt t="99170" x="6210300" y="4733925"/>
          <p14:tracePt t="99178" x="6194425" y="4708525"/>
          <p14:tracePt t="99188" x="6184900" y="4699000"/>
          <p14:tracePt t="99194" x="6151563" y="4665663"/>
          <p14:tracePt t="99203" x="6134100" y="4648200"/>
          <p14:tracePt t="99211" x="6108700" y="4630738"/>
          <p14:tracePt t="99219" x="6100763" y="4630738"/>
          <p14:tracePt t="99355" x="6108700" y="4630738"/>
          <p14:tracePt t="99394" x="6100763" y="4630738"/>
          <p14:tracePt t="99410" x="6091238" y="4630738"/>
          <p14:tracePt t="99451" x="6083300" y="4630738"/>
          <p14:tracePt t="99481" x="6075363" y="4630738"/>
          <p14:tracePt t="99490" x="6065838" y="4630738"/>
          <p14:tracePt t="99497" x="6057900" y="4630738"/>
          <p14:tracePt t="99513" x="6049963" y="4630738"/>
          <p14:tracePt t="99521" x="6040438" y="4630738"/>
          <p14:tracePt t="99545" x="6032500" y="4630738"/>
          <p14:tracePt t="99610" x="6024563" y="4630738"/>
          <p14:tracePt t="99633" x="6015038" y="4630738"/>
          <p14:tracePt t="100386" x="6015038" y="4640263"/>
          <p14:tracePt t="100394" x="6015038" y="4648200"/>
          <p14:tracePt t="100403" x="6015038" y="4657725"/>
          <p14:tracePt t="100410" x="6024563" y="4673600"/>
          <p14:tracePt t="100418" x="6024563" y="4683125"/>
          <p14:tracePt t="100426" x="6024563" y="4699000"/>
          <p14:tracePt t="100434" x="6032500" y="4716463"/>
          <p14:tracePt t="100442" x="6040438" y="4716463"/>
          <p14:tracePt t="100450" x="6040438" y="4724400"/>
          <p14:tracePt t="101378" x="6032500" y="4724400"/>
          <p14:tracePt t="101387" x="6024563" y="4724400"/>
          <p14:tracePt t="101394" x="6015038" y="4724400"/>
          <p14:tracePt t="101402" x="5997575" y="4724400"/>
          <p14:tracePt t="101419" x="5972175" y="4724400"/>
          <p14:tracePt t="101426" x="5964238" y="4724400"/>
          <p14:tracePt t="101434" x="5946775" y="4724400"/>
          <p14:tracePt t="101442" x="5913438" y="4724400"/>
          <p14:tracePt t="101450" x="5895975" y="4724400"/>
          <p14:tracePt t="101457" x="5880100" y="4716463"/>
          <p14:tracePt t="101466" x="5837238" y="4716463"/>
          <p14:tracePt t="101473" x="5802313" y="4716463"/>
          <p14:tracePt t="101482" x="5761038" y="4716463"/>
          <p14:tracePt t="101489" x="5735638" y="4724400"/>
          <p14:tracePt t="101500" x="5700713" y="4749800"/>
          <p14:tracePt t="101506" x="5683250" y="4759325"/>
          <p14:tracePt t="101513" x="5667375" y="4784725"/>
          <p14:tracePt t="101523" x="5649913" y="4802188"/>
          <p14:tracePt t="101529" x="5641975" y="4827588"/>
          <p14:tracePt t="101538" x="5641975" y="4835525"/>
          <p14:tracePt t="101546" x="5641975" y="4852988"/>
          <p14:tracePt t="101554" x="5641975" y="4878388"/>
          <p14:tracePt t="101561" x="5641975" y="4886325"/>
          <p14:tracePt t="101570" x="5641975" y="4919663"/>
          <p14:tracePt t="101577" x="5657850" y="4954588"/>
          <p14:tracePt t="101587" x="5675313" y="5013325"/>
          <p14:tracePt t="101594" x="5700713" y="5064125"/>
          <p14:tracePt t="101602" x="5718175" y="5099050"/>
          <p14:tracePt t="101610" x="5735638" y="5157788"/>
          <p14:tracePt t="101618" x="5743575" y="5192713"/>
          <p14:tracePt t="101626" x="5743575" y="5226050"/>
          <p14:tracePt t="101634" x="5743575" y="5243513"/>
          <p14:tracePt t="101641" x="5743575" y="5251450"/>
          <p14:tracePt t="101650" x="5743575" y="5268913"/>
          <p14:tracePt t="101681" x="5743575" y="5276850"/>
          <p14:tracePt t="101746" x="5726113" y="5276850"/>
          <p14:tracePt t="101753" x="5708650" y="5276850"/>
          <p14:tracePt t="101762" x="5700713" y="5276850"/>
          <p14:tracePt t="101770" x="5675313" y="5276850"/>
          <p14:tracePt t="101778" x="5632450" y="5276850"/>
          <p14:tracePt t="101788" x="5548313" y="5260975"/>
          <p14:tracePt t="101794" x="5462588" y="5243513"/>
          <p14:tracePt t="101802" x="5327650" y="5226050"/>
          <p14:tracePt t="101809" x="5216525" y="5208588"/>
          <p14:tracePt t="101818" x="5089525" y="5192713"/>
          <p14:tracePt t="101826" x="4902200" y="5149850"/>
          <p14:tracePt t="101834" x="4791075" y="5124450"/>
          <p14:tracePt t="101842" x="4587875" y="5099050"/>
          <p14:tracePt t="101850" x="4468813" y="5073650"/>
          <p14:tracePt t="101858" x="4306888" y="5038725"/>
          <p14:tracePt t="101866" x="4197350" y="5030788"/>
          <p14:tracePt t="101875" x="4070350" y="4987925"/>
          <p14:tracePt t="101882" x="3976688" y="4979988"/>
          <p14:tracePt t="101890" x="3873500" y="4954588"/>
          <p14:tracePt t="101898" x="3814763" y="4946650"/>
          <p14:tracePt t="101906" x="3763963" y="4946650"/>
          <p14:tracePt t="101914" x="3687763" y="4929188"/>
          <p14:tracePt t="101923" x="3644900" y="4929188"/>
          <p14:tracePt t="101929" x="3594100" y="4894263"/>
          <p14:tracePt t="101937" x="3543300" y="4878388"/>
          <p14:tracePt t="101945" x="3482975" y="4860925"/>
          <p14:tracePt t="101952" x="3449638" y="4843463"/>
          <p14:tracePt t="101961" x="3398838" y="4818063"/>
          <p14:tracePt t="101969" x="3355975" y="4802188"/>
          <p14:tracePt t="101986" x="3254375" y="4767263"/>
          <p14:tracePt t="101993" x="3219450" y="4759325"/>
          <p14:tracePt t="102002" x="3186113" y="4741863"/>
          <p14:tracePt t="102009" x="3152775" y="4733925"/>
          <p14:tracePt t="102018" x="3100388" y="4733925"/>
          <p14:tracePt t="102026" x="3074988" y="4724400"/>
          <p14:tracePt t="102034" x="3041650" y="4716463"/>
          <p14:tracePt t="102041" x="3008313" y="4716463"/>
          <p14:tracePt t="102050" x="2990850" y="4708525"/>
          <p14:tracePt t="102057" x="2930525" y="4708525"/>
          <p14:tracePt t="102066" x="2889250" y="4708525"/>
          <p14:tracePt t="102073" x="2786063" y="4708525"/>
          <p14:tracePt t="102082" x="2701925" y="4708525"/>
          <p14:tracePt t="102089" x="2590800" y="4708525"/>
          <p14:tracePt t="102098" x="2481263" y="4708525"/>
          <p14:tracePt t="102106" x="2336800" y="4708525"/>
          <p14:tracePt t="102114" x="2225675" y="4708525"/>
          <p14:tracePt t="102122" x="2141538" y="4708525"/>
          <p14:tracePt t="102130" x="2038350" y="4708525"/>
          <p14:tracePt t="102138" x="1979613" y="4708525"/>
          <p14:tracePt t="102145" x="1920875" y="4716463"/>
          <p14:tracePt t="102155" x="1893888" y="4716463"/>
          <p14:tracePt t="102162" x="1843088" y="4733925"/>
          <p14:tracePt t="102170" x="1817688" y="4749800"/>
          <p14:tracePt t="102177" x="1766888" y="4767263"/>
          <p14:tracePt t="102186" x="1741488" y="4784725"/>
          <p14:tracePt t="102194" x="1708150" y="4802188"/>
          <p14:tracePt t="102201" x="1647825" y="4843463"/>
          <p14:tracePt t="102210" x="1606550" y="4860925"/>
          <p14:tracePt t="102218" x="1546225" y="4903788"/>
          <p14:tracePt t="102226" x="1512888" y="4911725"/>
          <p14:tracePt t="102233" x="1477963" y="4929188"/>
          <p14:tracePt t="102241" x="1452563" y="4937125"/>
          <p14:tracePt t="102250" x="1427163" y="4954588"/>
          <p14:tracePt t="102257" x="1409700" y="4972050"/>
          <p14:tracePt t="102266" x="1384300" y="4997450"/>
          <p14:tracePt t="102273" x="1358900" y="5013325"/>
          <p14:tracePt t="102281" x="1343025" y="5022850"/>
          <p14:tracePt t="102289" x="1308100" y="5056188"/>
          <p14:tracePt t="102298" x="1282700" y="5073650"/>
          <p14:tracePt t="102306" x="1257300" y="5091113"/>
          <p14:tracePt t="102314" x="1231900" y="5124450"/>
          <p14:tracePt t="102323" x="1206500" y="5167313"/>
          <p14:tracePt t="102330" x="1163638" y="5218113"/>
          <p14:tracePt t="102338" x="1130300" y="5251450"/>
          <p14:tracePt t="102347" x="1062038" y="5311775"/>
          <p14:tracePt t="102353" x="1019175" y="5345113"/>
          <p14:tracePt t="102361" x="968375" y="5395913"/>
          <p14:tracePt t="102370" x="950913" y="5421313"/>
          <p14:tracePt t="102377" x="917575" y="5472113"/>
          <p14:tracePt t="102386" x="909638" y="5489575"/>
          <p14:tracePt t="102394" x="892175" y="5514975"/>
          <p14:tracePt t="102403" x="892175" y="5532438"/>
          <p14:tracePt t="102410" x="892175" y="5549900"/>
          <p14:tracePt t="102417" x="892175" y="5565775"/>
          <p14:tracePt t="102426" x="892175" y="5583238"/>
          <p14:tracePt t="102433" x="925513" y="5626100"/>
          <p14:tracePt t="102442" x="968375" y="5651500"/>
          <p14:tracePt t="102450" x="1036638" y="5719763"/>
          <p14:tracePt t="102457" x="1112838" y="5803900"/>
          <p14:tracePt t="102466" x="1198563" y="5897563"/>
          <p14:tracePt t="102473" x="1343025" y="6024563"/>
          <p14:tracePt t="102481" x="1477963" y="6161088"/>
          <p14:tracePt t="102489" x="1571625" y="6246813"/>
          <p14:tracePt t="102498" x="1665288" y="6305550"/>
          <p14:tracePt t="102508" x="1766888" y="6373813"/>
          <p14:tracePt t="102514" x="1843088" y="6416675"/>
          <p14:tracePt t="102522" x="1920875" y="6457950"/>
          <p14:tracePt t="102530" x="2022475" y="6510338"/>
          <p14:tracePt t="102538" x="2090738" y="6535738"/>
          <p14:tracePt t="102546" x="2200275" y="6561138"/>
          <p14:tracePt t="102554" x="2260600" y="6569075"/>
          <p14:tracePt t="102562" x="2344738" y="6577013"/>
          <p14:tracePt t="102570" x="2395538" y="6594475"/>
          <p14:tracePt t="102578" x="2463800" y="6594475"/>
          <p14:tracePt t="102585" x="2524125" y="6594475"/>
          <p14:tracePt t="102593" x="2590800" y="6594475"/>
          <p14:tracePt t="102601" x="2641600" y="6594475"/>
          <p14:tracePt t="102609" x="2684463" y="6594475"/>
          <p14:tracePt t="102617" x="2727325" y="6611938"/>
          <p14:tracePt t="102625" x="2778125" y="6611938"/>
          <p14:tracePt t="102633" x="2828925" y="6611938"/>
          <p14:tracePt t="102641" x="2889250" y="6611938"/>
          <p14:tracePt t="102649" x="2973388" y="6611938"/>
          <p14:tracePt t="102657" x="3033713" y="6611938"/>
          <p14:tracePt t="102665" x="3117850" y="6611938"/>
          <p14:tracePt t="102673" x="3186113" y="6611938"/>
          <p14:tracePt t="102681" x="3279775" y="6594475"/>
          <p14:tracePt t="102689" x="3414713" y="6569075"/>
          <p14:tracePt t="102697" x="3517900" y="6561138"/>
          <p14:tracePt t="102706" x="3703638" y="6518275"/>
          <p14:tracePt t="102713" x="3832225" y="6500813"/>
          <p14:tracePt t="102722" x="3976688" y="6475413"/>
          <p14:tracePt t="102729" x="4078288" y="6467475"/>
          <p14:tracePt t="102738" x="4179888" y="6442075"/>
          <p14:tracePt t="102746" x="4248150" y="6416675"/>
          <p14:tracePt t="102753" x="4324350" y="6407150"/>
          <p14:tracePt t="102761" x="4435475" y="6399213"/>
          <p14:tracePt t="102769" x="4529138" y="6373813"/>
          <p14:tracePt t="102778" x="4595813" y="6365875"/>
          <p14:tracePt t="102786" x="4673600" y="6356350"/>
          <p14:tracePt t="102793" x="4757738" y="6323013"/>
          <p14:tracePt t="102802" x="4826000" y="6305550"/>
          <p14:tracePt t="102809" x="4902200" y="6254750"/>
          <p14:tracePt t="102817" x="4935538" y="6237288"/>
          <p14:tracePt t="102825" x="4995863" y="6221413"/>
          <p14:tracePt t="102833" x="5029200" y="6203950"/>
          <p14:tracePt t="102841" x="5064125" y="6186488"/>
          <p14:tracePt t="102849" x="5132388" y="6161088"/>
          <p14:tracePt t="102857" x="5157788" y="6153150"/>
          <p14:tracePt t="102865" x="5208588" y="6143625"/>
          <p14:tracePt t="102873" x="5241925" y="6135688"/>
          <p14:tracePt t="102881" x="5292725" y="6135688"/>
          <p14:tracePt t="102889" x="5343525" y="6127750"/>
          <p14:tracePt t="102897" x="5386388" y="6118225"/>
          <p14:tracePt t="102906" x="5462588" y="6110288"/>
          <p14:tracePt t="102913" x="5497513" y="6102350"/>
          <p14:tracePt t="102922" x="5556250" y="6092825"/>
          <p14:tracePt t="102929" x="5581650" y="6084888"/>
          <p14:tracePt t="102938" x="5616575" y="6067425"/>
          <p14:tracePt t="102945" x="5632450" y="6059488"/>
          <p14:tracePt t="102954" x="5657850" y="6042025"/>
          <p14:tracePt t="102961" x="5683250" y="6034088"/>
          <p14:tracePt t="102970" x="5708650" y="6024563"/>
          <p14:tracePt t="102978" x="5726113" y="6016625"/>
          <p14:tracePt t="102986" x="5743575" y="6008688"/>
          <p14:tracePt t="102993" x="5761038" y="6008688"/>
          <p14:tracePt t="103001" x="5761038" y="5999163"/>
          <p14:tracePt t="103010" x="5776913" y="5983288"/>
          <p14:tracePt t="103017" x="5776913" y="5973763"/>
          <p14:tracePt t="103025" x="5786438" y="5957888"/>
          <p14:tracePt t="103033" x="5794375" y="5922963"/>
          <p14:tracePt t="103041" x="5802313" y="5880100"/>
          <p14:tracePt t="103050" x="5827713" y="5753100"/>
          <p14:tracePt t="103057" x="5845175" y="5634038"/>
          <p14:tracePt t="103066" x="5888038" y="5413375"/>
          <p14:tracePt t="103073" x="5905500" y="5268913"/>
          <p14:tracePt t="103082" x="5905500" y="5099050"/>
          <p14:tracePt t="103089" x="5895975" y="5013325"/>
          <p14:tracePt t="103097" x="5888038" y="4954588"/>
          <p14:tracePt t="103106" x="5870575" y="4911725"/>
          <p14:tracePt t="103113" x="5862638" y="4903788"/>
          <p14:tracePt t="103122" x="5862638" y="4894263"/>
          <p14:tracePt t="103129" x="5862638" y="4886325"/>
          <p14:tracePt t="103138" x="5862638" y="4878388"/>
          <p14:tracePt t="103145" x="5853113" y="4868863"/>
          <p14:tracePt t="103153" x="5845175" y="4860925"/>
          <p14:tracePt t="103161" x="5837238" y="4852988"/>
          <p14:tracePt t="103170" x="5827713" y="4852988"/>
          <p14:tracePt t="103177" x="5811838" y="4843463"/>
          <p14:tracePt t="103187" x="5802313" y="4843463"/>
          <p14:tracePt t="103194" x="5786438" y="4835525"/>
          <p14:tracePt t="103201" x="5776913" y="4827588"/>
          <p14:tracePt t="103209" x="5768975" y="4827588"/>
          <p14:tracePt t="105619" x="5786438" y="4827588"/>
          <p14:tracePt t="105634" x="5802313" y="4827588"/>
          <p14:tracePt t="105642" x="5827713" y="4827588"/>
          <p14:tracePt t="105658" x="5853113" y="4827588"/>
          <p14:tracePt t="105666" x="5870575" y="4827588"/>
          <p14:tracePt t="105674" x="5905500" y="4827588"/>
          <p14:tracePt t="105682" x="5930900" y="4818063"/>
          <p14:tracePt t="105690" x="5964238" y="4810125"/>
          <p14:tracePt t="105698" x="5989638" y="4810125"/>
          <p14:tracePt t="105707" x="5997575" y="4810125"/>
          <p14:tracePt t="105714" x="6015038" y="4810125"/>
          <p14:tracePt t="105778" x="6024563" y="4810125"/>
          <p14:tracePt t="105786" x="6032500" y="4810125"/>
          <p14:tracePt t="105794" x="6040438" y="4827588"/>
          <p14:tracePt t="105803" x="6065838" y="4852988"/>
          <p14:tracePt t="105810" x="6100763" y="4878388"/>
          <p14:tracePt t="105821" x="6151563" y="4919663"/>
          <p14:tracePt t="105826" x="6210300" y="4954588"/>
          <p14:tracePt t="105834" x="6278563" y="5005388"/>
          <p14:tracePt t="105842" x="6311900" y="5030788"/>
          <p14:tracePt t="105850" x="6364288" y="5064125"/>
          <p14:tracePt t="105858" x="6440488" y="5106988"/>
          <p14:tracePt t="105866" x="6491288" y="5124450"/>
          <p14:tracePt t="105873" x="6550025" y="5149850"/>
          <p14:tracePt t="105882" x="6600825" y="5157788"/>
          <p14:tracePt t="105889" x="6643688" y="5167313"/>
          <p14:tracePt t="105898" x="6669088" y="5175250"/>
          <p14:tracePt t="105906" x="6686550" y="5175250"/>
          <p14:tracePt t="105914" x="6704013" y="5175250"/>
          <p14:tracePt t="105923" x="6711950" y="5175250"/>
          <p14:tracePt t="105962" x="6711950" y="5167313"/>
          <p14:tracePt t="105971" x="6704013" y="5141913"/>
          <p14:tracePt t="105978" x="6686550" y="5124450"/>
          <p14:tracePt t="106162" x="6678613" y="5124450"/>
          <p14:tracePt t="106178" x="6669088" y="5124450"/>
          <p14:tracePt t="106186" x="6653213" y="5132388"/>
          <p14:tracePt t="106194" x="6653213" y="5141913"/>
          <p14:tracePt t="106202" x="6643688" y="5149850"/>
          <p14:tracePt t="106210" x="6635750" y="5157788"/>
          <p14:tracePt t="106220" x="6635750" y="5167313"/>
          <p14:tracePt t="106226" x="6626225" y="5167313"/>
          <p14:tracePt t="106235" x="6626225" y="5175250"/>
          <p14:tracePt t="106298" x="6618288" y="5175250"/>
          <p14:tracePt t="106307" x="6610350" y="5175250"/>
          <p14:tracePt t="106323" x="6600825" y="5175250"/>
          <p14:tracePt t="106346" x="6592888" y="5175250"/>
          <p14:tracePt t="106356" x="6584950" y="5175250"/>
          <p14:tracePt t="106466" x="6575425" y="5175250"/>
          <p14:tracePt t="106561" x="6567488" y="5175250"/>
          <p14:tracePt t="106569" x="6567488" y="5167313"/>
          <p14:tracePt t="106584" x="6559550" y="5167313"/>
          <p14:tracePt t="106592" x="6559550" y="5157788"/>
          <p14:tracePt t="107002" x="6550025" y="5157788"/>
          <p14:tracePt t="107010" x="6542088" y="5157788"/>
          <p14:tracePt t="107019" x="6542088" y="5167313"/>
          <p14:tracePt t="107026" x="6524625" y="5167313"/>
          <p14:tracePt t="107034" x="6524625" y="5175250"/>
          <p14:tracePt t="107051" x="6524625" y="5183188"/>
          <p14:tracePt t="107058" x="6524625" y="5192713"/>
          <p14:tracePt t="107066" x="6534150" y="5192713"/>
          <p14:tracePt t="107074" x="6559550" y="5226050"/>
          <p14:tracePt t="107082" x="6584950" y="5276850"/>
          <p14:tracePt t="107091" x="6626225" y="5345113"/>
          <p14:tracePt t="107098" x="6694488" y="5438775"/>
          <p14:tracePt t="107108" x="6737350" y="5489575"/>
          <p14:tracePt t="107113" x="6797675" y="5549900"/>
          <p14:tracePt t="107122" x="6831013" y="5600700"/>
          <p14:tracePt t="107129" x="6873875" y="5641975"/>
          <p14:tracePt t="107137" x="6907213" y="5659438"/>
          <p14:tracePt t="107145" x="6932613" y="5676900"/>
          <p14:tracePt t="107154" x="6950075" y="5684838"/>
          <p14:tracePt t="107161" x="6958013" y="5684838"/>
          <p14:tracePt t="107169" x="6975475" y="5684838"/>
          <p14:tracePt t="107177" x="6983413" y="5684838"/>
          <p14:tracePt t="107193" x="6992938" y="5684838"/>
          <p14:tracePt t="107202" x="7000875" y="5684838"/>
          <p14:tracePt t="107209" x="7008813" y="5684838"/>
          <p14:tracePt t="107218" x="7018338" y="5684838"/>
          <p14:tracePt t="107266" x="7026275" y="5684838"/>
          <p14:tracePt t="107298" x="7034213" y="5684838"/>
          <p14:tracePt t="107313" x="7034213" y="5676900"/>
          <p14:tracePt t="107322" x="7018338" y="5659438"/>
          <p14:tracePt t="107330" x="6975475" y="5634038"/>
          <p14:tracePt t="107339" x="6958013" y="5626100"/>
          <p14:tracePt t="107501" x="6983413" y="5626100"/>
          <p14:tracePt t="107513" x="6950075" y="5676900"/>
          <p14:tracePt t="107521" x="6950075" y="5684838"/>
          <p14:tracePt t="107545" x="6950075" y="5694363"/>
          <p14:tracePt t="107561" x="6950075" y="5702300"/>
          <p14:tracePt t="107569" x="6950075" y="5710238"/>
          <p14:tracePt t="107577" x="6967538" y="5710238"/>
          <p14:tracePt t="107585" x="6967538" y="5719763"/>
          <p14:tracePt t="107594" x="6975475" y="5727700"/>
          <p14:tracePt t="107604" x="6983413" y="5727700"/>
          <p14:tracePt t="107610" x="6992938" y="5727700"/>
          <p14:tracePt t="107619" x="6992938" y="5735638"/>
          <p14:tracePt t="108040" x="6983413" y="5745163"/>
          <p14:tracePt t="108048" x="6950075" y="5745163"/>
          <p14:tracePt t="108056" x="6899275" y="5753100"/>
          <p14:tracePt t="108064" x="6797675" y="5778500"/>
          <p14:tracePt t="108072" x="6661150" y="5821363"/>
          <p14:tracePt t="108080" x="6516688" y="5872163"/>
          <p14:tracePt t="108088" x="6397625" y="5922963"/>
          <p14:tracePt t="108096" x="6321425" y="5948363"/>
          <p14:tracePt t="108105" x="6278563" y="5973763"/>
          <p14:tracePt t="108112" x="6261100" y="5983288"/>
          <p14:tracePt t="108176" x="6270625" y="5983288"/>
          <p14:tracePt t="108192" x="6286500" y="5983288"/>
          <p14:tracePt t="108200" x="6303963" y="5983288"/>
          <p14:tracePt t="108208" x="6311900" y="5983288"/>
          <p14:tracePt t="108216" x="6329363" y="5983288"/>
          <p14:tracePt t="108248" x="6329363" y="5973763"/>
          <p14:tracePt t="108256" x="6321425" y="5973763"/>
          <p14:tracePt t="108264" x="6261100" y="5973763"/>
          <p14:tracePt t="108408" x="6253163" y="5973763"/>
          <p14:tracePt t="108416" x="6253163" y="5957888"/>
          <p14:tracePt t="108424" x="6270625" y="5948363"/>
          <p14:tracePt t="108456" x="6278563" y="5948363"/>
          <p14:tracePt t="108488" x="6286500" y="5948363"/>
          <p14:tracePt t="108497" x="6296025" y="5948363"/>
          <p14:tracePt t="108529" x="6303963" y="5948363"/>
          <p14:tracePt t="108545" x="6321425" y="5948363"/>
          <p14:tracePt t="108553" x="6329363" y="5948363"/>
          <p14:tracePt t="108561" x="6338888" y="5948363"/>
          <p14:tracePt t="108569" x="6372225" y="5948363"/>
          <p14:tracePt t="108577" x="6380163" y="5948363"/>
          <p14:tracePt t="108585" x="6415088" y="5957888"/>
          <p14:tracePt t="108593" x="6440488" y="5965825"/>
          <p14:tracePt t="108601" x="6456363" y="5973763"/>
          <p14:tracePt t="108609" x="6473825" y="5983288"/>
          <p14:tracePt t="108618" x="6483350" y="5991225"/>
          <p14:tracePt t="109849" x="6483350" y="5983288"/>
          <p14:tracePt t="109857" x="6491288" y="5983288"/>
          <p14:tracePt t="109890" x="6499225" y="5983288"/>
          <p14:tracePt t="109906" x="6508750" y="5973763"/>
          <p14:tracePt t="109914" x="6516688" y="5973763"/>
          <p14:tracePt t="109922" x="6516688" y="5957888"/>
          <p14:tracePt t="110130" x="6524625" y="5957888"/>
          <p14:tracePt t="110154" x="6524625" y="5948363"/>
          <p14:tracePt t="110170" x="6516688" y="5948363"/>
          <p14:tracePt t="110178" x="6516688" y="5940425"/>
          <p14:tracePt t="110186" x="6483350" y="5957888"/>
          <p14:tracePt t="110194" x="6473825" y="5957888"/>
          <p14:tracePt t="110204" x="6465888" y="5965825"/>
          <p14:tracePt t="110210" x="6448425" y="5965825"/>
          <p14:tracePt t="110221" x="6440488" y="5965825"/>
          <p14:tracePt t="110226" x="6430963" y="5965825"/>
          <p14:tracePt t="110237" x="6423025" y="5965825"/>
          <p14:tracePt t="110242" x="6415088" y="5965825"/>
          <p14:tracePt t="110258" x="6405563" y="5965825"/>
          <p14:tracePt t="110274" x="6397625" y="5965825"/>
          <p14:tracePt t="110330" x="6389688" y="5965825"/>
          <p14:tracePt t="110346" x="6389688" y="5957888"/>
          <p14:tracePt t="110466" x="6389688" y="5948363"/>
          <p14:tracePt t="111529" x="6389688" y="5940425"/>
          <p14:tracePt t="111874" x="6397625" y="5940425"/>
          <p14:tracePt t="111882" x="6423025" y="5948363"/>
          <p14:tracePt t="111890" x="6430963" y="5948363"/>
          <p14:tracePt t="111898" x="6448425" y="5948363"/>
          <p14:tracePt t="111907" x="6456363" y="5940425"/>
          <p14:tracePt t="112162" x="6448425" y="5940425"/>
          <p14:tracePt t="112170" x="6440488" y="5940425"/>
          <p14:tracePt t="112178" x="6430963" y="5940425"/>
          <p14:tracePt t="112186" x="6423025" y="5940425"/>
          <p14:tracePt t="112192" x="6415088" y="5940425"/>
          <p14:tracePt t="112201" x="6405563" y="5940425"/>
          <p14:tracePt t="112209" x="6397625" y="5940425"/>
          <p14:tracePt t="112218" x="6389688" y="5932488"/>
          <p14:tracePt t="112226" x="6380163" y="5922963"/>
          <p14:tracePt t="112241" x="6380163" y="5915025"/>
          <p14:tracePt t="112273" x="6380163" y="5905500"/>
          <p14:tracePt t="112281" x="6372225" y="5905500"/>
          <p14:tracePt t="112298" x="6364288" y="5905500"/>
          <p14:tracePt t="112330" x="6354763" y="5905500"/>
          <p14:tracePt t="112419" x="6346825" y="5905500"/>
          <p14:tracePt t="112618" x="6346825" y="5897563"/>
          <p14:tracePt t="113578" x="6338888" y="5897563"/>
          <p14:tracePt t="113586" x="6329363" y="5897563"/>
          <p14:tracePt t="113594" x="6311900" y="5897563"/>
          <p14:tracePt t="113602" x="6303963" y="5897563"/>
          <p14:tracePt t="113609" x="6286500" y="5897563"/>
          <p14:tracePt t="113619" x="6253163" y="5897563"/>
          <p14:tracePt t="113626" x="6202363" y="5897563"/>
          <p14:tracePt t="113636" x="6142038" y="5897563"/>
          <p14:tracePt t="113642" x="6057900" y="5897563"/>
          <p14:tracePt t="113650" x="5930900" y="5889625"/>
          <p14:tracePt t="113657" x="5837238" y="5889625"/>
          <p14:tracePt t="113666" x="5692775" y="5889625"/>
          <p14:tracePt t="113674" x="5581650" y="5889625"/>
          <p14:tracePt t="113682" x="5429250" y="5889625"/>
          <p14:tracePt t="113690" x="5302250" y="5889625"/>
          <p14:tracePt t="113698" x="5080000" y="5889625"/>
          <p14:tracePt t="113706" x="4927600" y="5880100"/>
          <p14:tracePt t="113714" x="4749800" y="5846763"/>
          <p14:tracePt t="113722" x="4519613" y="5788025"/>
          <p14:tracePt t="113731" x="4298950" y="5745163"/>
          <p14:tracePt t="113738" x="4017963" y="5694363"/>
          <p14:tracePt t="113746" x="3848100" y="5659438"/>
          <p14:tracePt t="113754" x="3652838" y="5549900"/>
          <p14:tracePt t="113761" x="3517900" y="5489575"/>
          <p14:tracePt t="113770" x="3373438" y="5430838"/>
          <p14:tracePt t="113777" x="3262313" y="5380038"/>
          <p14:tracePt t="113787" x="3178175" y="5337175"/>
          <p14:tracePt t="113794" x="3084513" y="5276850"/>
          <p14:tracePt t="113802" x="3033713" y="5243513"/>
          <p14:tracePt t="113809" x="2973388" y="5200650"/>
          <p14:tracePt t="113819" x="2947988" y="5175250"/>
          <p14:tracePt t="113826" x="2922588" y="5157788"/>
          <p14:tracePt t="113836" x="2914650" y="5149850"/>
          <p14:tracePt t="113842" x="2914650" y="5141913"/>
          <p14:tracePt t="113857" x="2914650" y="5132388"/>
          <p14:tracePt t="113866" x="2930525" y="5132388"/>
          <p14:tracePt t="113873" x="2955925" y="5116513"/>
          <p14:tracePt t="114066" x="2955925" y="5124450"/>
          <p14:tracePt t="114074" x="2947988" y="5124450"/>
          <p14:tracePt t="114082" x="2940050" y="5124450"/>
          <p14:tracePt t="114090" x="2930525" y="5124450"/>
          <p14:tracePt t="114123" x="2922588" y="5124450"/>
          <p14:tracePt t="114130" x="2905125" y="5124450"/>
          <p14:tracePt t="114146" x="2879725" y="5124450"/>
          <p14:tracePt t="114155" x="2854325" y="5124450"/>
          <p14:tracePt t="114162" x="2828925" y="5124450"/>
          <p14:tracePt t="114170" x="2778125" y="5124450"/>
          <p14:tracePt t="114179" x="2727325" y="5124450"/>
          <p14:tracePt t="114187" x="2641600" y="5124450"/>
          <p14:tracePt t="114194" x="2590800" y="5124450"/>
          <p14:tracePt t="114203" x="2506663" y="5124450"/>
          <p14:tracePt t="114210" x="2446338" y="5116513"/>
          <p14:tracePt t="114220" x="2370138" y="5106988"/>
          <p14:tracePt t="114226" x="2293938" y="5099050"/>
          <p14:tracePt t="114236" x="2208213" y="5073650"/>
          <p14:tracePt t="114242" x="2106613" y="5064125"/>
          <p14:tracePt t="114250" x="2022475" y="5048250"/>
          <p14:tracePt t="114258" x="1936750" y="5030788"/>
          <p14:tracePt t="114266" x="1843088" y="5013325"/>
          <p14:tracePt t="114273" x="1733550" y="4997450"/>
          <p14:tracePt t="114282" x="1673225" y="4987925"/>
          <p14:tracePt t="114290" x="1571625" y="4979988"/>
          <p14:tracePt t="114298" x="1512888" y="4954588"/>
          <p14:tracePt t="114306" x="1452563" y="4946650"/>
          <p14:tracePt t="114314" x="1368425" y="4937125"/>
          <p14:tracePt t="114322" x="1333500" y="4929188"/>
          <p14:tracePt t="114330" x="1282700" y="4919663"/>
          <p14:tracePt t="114339" x="1265238" y="4919663"/>
          <p14:tracePt t="114346" x="1249363" y="4911725"/>
          <p14:tracePt t="114354" x="1231900" y="4911725"/>
          <p14:tracePt t="114361" x="1214438" y="4911725"/>
          <p14:tracePt t="114370" x="1206500" y="4903788"/>
          <p14:tracePt t="114378" x="1198563" y="4903788"/>
          <p14:tracePt t="114394" x="1189038" y="4903788"/>
          <p14:tracePt t="114402" x="1181100" y="4903788"/>
          <p14:tracePt t="114410" x="1173163" y="4903788"/>
          <p14:tracePt t="114419" x="1163638" y="4903788"/>
          <p14:tracePt t="114426" x="1155700" y="4903788"/>
          <p14:tracePt t="114441" x="1147763" y="4903788"/>
          <p14:tracePt t="114697" x="1138238" y="4903788"/>
          <p14:tracePt t="114707" x="1120775" y="4894263"/>
          <p14:tracePt t="114714" x="1069975" y="4886325"/>
          <p14:tracePt t="114724" x="1019175" y="4886325"/>
          <p14:tracePt t="114730" x="985838" y="4886325"/>
          <p14:tracePt t="114739" x="968375" y="4886325"/>
          <p14:tracePt t="114746" x="950913" y="4886325"/>
          <p14:tracePt t="114755" x="925513" y="4886325"/>
          <p14:tracePt t="114762" x="917575" y="4886325"/>
          <p14:tracePt t="114770" x="909638" y="4886325"/>
          <p14:tracePt t="114778" x="900113" y="4886325"/>
          <p14:tracePt t="114787" x="892175" y="4886325"/>
          <p14:tracePt t="114794" x="884238" y="4886325"/>
          <p14:tracePt t="114802" x="874713" y="4886325"/>
          <p14:tracePt t="114810" x="866775" y="4886325"/>
          <p14:tracePt t="114819" x="831850" y="4852988"/>
          <p14:tracePt t="114826" x="823913" y="4827588"/>
          <p14:tracePt t="114836" x="790575" y="4792663"/>
          <p14:tracePt t="114842" x="773113" y="4759325"/>
          <p14:tracePt t="114850" x="773113" y="4741863"/>
          <p14:tracePt t="115010" x="773113" y="4733925"/>
          <p14:tracePt t="115019" x="765175" y="4733925"/>
          <p14:tracePt t="115026" x="747713" y="4733925"/>
          <p14:tracePt t="115035" x="739775" y="4733925"/>
          <p14:tracePt t="115042" x="730250" y="4724400"/>
          <p14:tracePt t="115050" x="722313" y="4716463"/>
          <p14:tracePt t="115067" x="714375" y="4708525"/>
          <p14:tracePt t="115130" x="722313" y="4716463"/>
          <p14:tracePt t="115139" x="730250" y="4724400"/>
          <p14:tracePt t="115162" x="739775" y="4724400"/>
          <p14:tracePt t="115242" x="730250" y="4724400"/>
          <p14:tracePt t="115265" x="722313" y="4724400"/>
          <p14:tracePt t="115826" x="722313" y="4716463"/>
          <p14:tracePt t="115835" x="714375" y="4708525"/>
          <p14:tracePt t="115842" x="714375" y="4683125"/>
          <p14:tracePt t="115851" x="696913" y="4657725"/>
          <p14:tracePt t="115858" x="688975" y="4614863"/>
          <p14:tracePt t="115866" x="679450" y="4579938"/>
          <p14:tracePt t="115874" x="654050" y="4529138"/>
          <p14:tracePt t="115882" x="636588" y="4495800"/>
          <p14:tracePt t="115890" x="620713" y="4452938"/>
          <p14:tracePt t="115898" x="603250" y="4384675"/>
          <p14:tracePt t="115906" x="585788" y="4351338"/>
          <p14:tracePt t="115914" x="560388" y="4308475"/>
          <p14:tracePt t="115922" x="544513" y="4275138"/>
          <p14:tracePt t="115930" x="534988" y="4249738"/>
          <p14:tracePt t="115939" x="534988" y="4224338"/>
          <p14:tracePt t="115946" x="534988" y="4206875"/>
          <p14:tracePt t="115955" x="534988" y="4197350"/>
          <p14:tracePt t="115961" x="534988" y="4189413"/>
          <p14:tracePt t="115970" x="527050" y="4181475"/>
          <p14:tracePt t="115978" x="527050" y="4171950"/>
          <p14:tracePt t="115986" x="527050" y="4156075"/>
          <p14:tracePt t="116010" x="527050" y="4146550"/>
          <p14:tracePt t="116026" x="527050" y="4138613"/>
          <p14:tracePt t="116050" x="517525" y="4130675"/>
          <p14:tracePt t="116058" x="517525" y="4113213"/>
          <p14:tracePt t="116066" x="509588" y="4113213"/>
          <p14:tracePt t="116073" x="509588" y="4105275"/>
          <p14:tracePt t="116082" x="501650" y="4095750"/>
          <p14:tracePt t="116090" x="492125" y="4087813"/>
          <p14:tracePt t="116098" x="492125" y="4079875"/>
          <p14:tracePt t="116106" x="484188" y="4070350"/>
          <p14:tracePt t="116114" x="484188" y="4062413"/>
          <p14:tracePt t="116122" x="484188" y="4052888"/>
          <p14:tracePt t="116130" x="484188" y="4037013"/>
          <p14:tracePt t="116139" x="484188" y="4027488"/>
          <p14:tracePt t="116146" x="484188" y="4019550"/>
          <p14:tracePt t="116153" x="484188" y="4011613"/>
          <p14:tracePt t="116307" x="501650" y="4011613"/>
          <p14:tracePt t="116314" x="527050" y="4002088"/>
          <p14:tracePt t="116323" x="560388" y="4002088"/>
          <p14:tracePt t="116330" x="595313" y="3994150"/>
          <p14:tracePt t="116340" x="636588" y="3986213"/>
          <p14:tracePt t="116346" x="739775" y="3960813"/>
          <p14:tracePt t="116354" x="841375" y="3951288"/>
          <p14:tracePt t="116362" x="1062038" y="3925888"/>
          <p14:tracePt t="116370" x="1343025" y="3875088"/>
          <p14:tracePt t="116378" x="1606550" y="3857625"/>
          <p14:tracePt t="116387" x="2022475" y="3816350"/>
          <p14:tracePt t="116394" x="2336800" y="3816350"/>
          <p14:tracePt t="116403" x="2828925" y="3816350"/>
          <p14:tracePt t="116410" x="3143250" y="3816350"/>
          <p14:tracePt t="116420" x="3551238" y="3816350"/>
          <p14:tracePt t="116426" x="3814763" y="3816350"/>
          <p14:tracePt t="116437" x="4044950" y="3816350"/>
          <p14:tracePt t="116442" x="4332288" y="3816350"/>
          <p14:tracePt t="116451" x="4519613" y="3841750"/>
          <p14:tracePt t="116458" x="4749800" y="3900488"/>
          <p14:tracePt t="116466" x="4919663" y="3925888"/>
          <p14:tracePt t="116475" x="5132388" y="3951288"/>
          <p14:tracePt t="116482" x="5267325" y="3986213"/>
          <p14:tracePt t="116490" x="5429250" y="4037013"/>
          <p14:tracePt t="116498" x="5530850" y="4087813"/>
          <p14:tracePt t="116506" x="5624513" y="4121150"/>
          <p14:tracePt t="116514" x="5726113" y="4156075"/>
          <p14:tracePt t="116522" x="5786438" y="4171950"/>
          <p14:tracePt t="116530" x="5837238" y="4206875"/>
          <p14:tracePt t="116543" x="5862638" y="4214813"/>
          <p14:tracePt t="116546" x="5870575" y="4214813"/>
          <p14:tracePt t="116600" x="5862638" y="4224338"/>
          <p14:tracePt t="116609" x="5853113" y="4232275"/>
          <p14:tracePt t="116617" x="5827713" y="4249738"/>
          <p14:tracePt t="116625" x="5802313" y="4257675"/>
          <p14:tracePt t="116634" x="5768975" y="4265613"/>
          <p14:tracePt t="116641" x="5743575" y="4275138"/>
          <p14:tracePt t="116649" x="5726113" y="4283075"/>
          <p14:tracePt t="116657" x="5700713" y="4300538"/>
          <p14:tracePt t="116666" x="5683250" y="4308475"/>
          <p14:tracePt t="116673" x="5667375" y="4325938"/>
          <p14:tracePt t="116681" x="5657850" y="4333875"/>
          <p14:tracePt t="116690" x="5641975" y="4351338"/>
          <p14:tracePt t="116698" x="5624513" y="4351338"/>
          <p14:tracePt t="116714" x="5616575" y="4359275"/>
          <p14:tracePt t="116730" x="5616575" y="4376738"/>
          <p14:tracePt t="116737" x="5616575" y="4394200"/>
          <p14:tracePt t="116746" x="5616575" y="4435475"/>
          <p14:tracePt t="116753" x="5616575" y="4513263"/>
          <p14:tracePt t="116761" x="5616575" y="4597400"/>
          <p14:tracePt t="116770" x="5616575" y="4657725"/>
          <p14:tracePt t="116778" x="5616575" y="4699000"/>
          <p14:tracePt t="116786" x="5616575" y="4749800"/>
          <p14:tracePt t="116794" x="5607050" y="4784725"/>
          <p14:tracePt t="116802" x="5599113" y="4818063"/>
          <p14:tracePt t="116809" x="5591175" y="4843463"/>
          <p14:tracePt t="116818" x="5591175" y="4852988"/>
          <p14:tracePt t="116826" x="5591175" y="4860925"/>
          <p14:tracePt t="116842" x="5591175" y="4868863"/>
          <p14:tracePt t="116857" x="5591175" y="4878388"/>
          <p14:tracePt t="116873" x="5591175" y="4886325"/>
          <p14:tracePt t="116882" x="5591175" y="4894263"/>
          <p14:tracePt t="116898" x="5591175" y="4903788"/>
          <p14:tracePt t="118490" x="5591175" y="4911725"/>
          <p14:tracePt t="118497" x="5591175" y="4972050"/>
          <p14:tracePt t="118505" x="5599113" y="5099050"/>
          <p14:tracePt t="118513" x="5657850" y="5302250"/>
          <p14:tracePt t="118521" x="5675313" y="5446713"/>
          <p14:tracePt t="118528" x="5700713" y="5608638"/>
          <p14:tracePt t="118537" x="5726113" y="5676900"/>
          <p14:tracePt t="118545" x="5761038" y="5770563"/>
          <p14:tracePt t="118553" x="5776913" y="5829300"/>
          <p14:tracePt t="118562" x="5786438" y="5880100"/>
          <p14:tracePt t="118569" x="5794375" y="5948363"/>
          <p14:tracePt t="118577" x="5802313" y="5973763"/>
          <p14:tracePt t="118585" x="5811838" y="6008688"/>
          <p14:tracePt t="118592" x="5811838" y="6016625"/>
          <p14:tracePt t="118601" x="5811838" y="6042025"/>
          <p14:tracePt t="118608" x="5811838" y="6049963"/>
          <p14:tracePt t="118624" x="5811838" y="6059488"/>
          <p14:tracePt t="118737" x="5819775" y="6059488"/>
          <p14:tracePt t="118745" x="5827713" y="6067425"/>
          <p14:tracePt t="118753" x="5827713" y="6076950"/>
          <p14:tracePt t="118761" x="5845175" y="6084888"/>
          <p14:tracePt t="118769" x="5853113" y="6084888"/>
          <p14:tracePt t="118777" x="5862638" y="6084888"/>
          <p14:tracePt t="118785" x="5870575" y="6059488"/>
          <p14:tracePt t="119082" x="5888038" y="6059488"/>
          <p14:tracePt t="119091" x="5895975" y="6059488"/>
          <p14:tracePt t="119098" x="5913438" y="6059488"/>
          <p14:tracePt t="119107" x="5938838" y="6059488"/>
          <p14:tracePt t="119114" x="5946775" y="6059488"/>
          <p14:tracePt t="119123" x="5913438" y="6076950"/>
          <p14:tracePt t="119129" x="5956300" y="6059488"/>
          <p14:tracePt t="119137" x="5964238" y="6059488"/>
          <p14:tracePt t="119160" x="5972175" y="6059488"/>
          <p14:tracePt t="119314" x="5972175" y="6067425"/>
          <p14:tracePt t="119825" x="5981700" y="6059488"/>
          <p14:tracePt t="119833" x="5981700" y="6067425"/>
          <p14:tracePt t="119841" x="5964238" y="6102350"/>
          <p14:tracePt t="119850" x="5956300" y="6161088"/>
          <p14:tracePt t="119857" x="5956300" y="6221413"/>
          <p14:tracePt t="119865" x="5956300" y="6330950"/>
          <p14:tracePt t="119873" x="5956300" y="6399213"/>
          <p14:tracePt t="119881" x="5972175" y="6492875"/>
          <p14:tracePt t="119890" x="5972175" y="6510338"/>
          <p14:tracePt t="119897" x="5989638" y="6535738"/>
          <p14:tracePt t="127251" x="5981700" y="6535738"/>
          <p14:tracePt t="127258" x="5972175" y="6535738"/>
          <p14:tracePt t="127267" x="5964238" y="6526213"/>
          <p14:tracePt t="127274" x="5956300" y="6518275"/>
          <p14:tracePt t="127282" x="5946775" y="6500813"/>
          <p14:tracePt t="127290" x="5938838" y="6475413"/>
          <p14:tracePt t="127298" x="5938838" y="6442075"/>
          <p14:tracePt t="127306" x="5930900" y="6381750"/>
          <p14:tracePt t="127314" x="5921375" y="6330950"/>
          <p14:tracePt t="127322" x="5913438" y="6246813"/>
          <p14:tracePt t="127330" x="5905500" y="6186488"/>
          <p14:tracePt t="127338" x="5895975" y="6110288"/>
          <p14:tracePt t="127346" x="5888038" y="6067425"/>
          <p14:tracePt t="127354" x="5853113" y="5991225"/>
          <p14:tracePt t="127362" x="5845175" y="5932488"/>
          <p14:tracePt t="127371" x="5819775" y="5872163"/>
          <p14:tracePt t="127377" x="5811838" y="5770563"/>
          <p14:tracePt t="127386" x="5802313" y="5727700"/>
          <p14:tracePt t="127393" x="5794375" y="5651500"/>
          <p14:tracePt t="127401" x="5776913" y="5608638"/>
          <p14:tracePt t="127410" x="5768975" y="5549900"/>
          <p14:tracePt t="127418" x="5768975" y="5514975"/>
          <p14:tracePt t="127426" x="5761038" y="5481638"/>
          <p14:tracePt t="127434" x="5761038" y="5464175"/>
          <p14:tracePt t="127441" x="5761038" y="5456238"/>
          <p14:tracePt t="127451" x="5761038" y="5438775"/>
          <p14:tracePt t="127458" x="5761038" y="5430838"/>
          <p14:tracePt t="127467" x="5761038" y="5421313"/>
          <p14:tracePt t="127474" x="5776913" y="5413375"/>
          <p14:tracePt t="127481" x="5786438" y="5395913"/>
          <p14:tracePt t="127498" x="5794375" y="5395913"/>
          <p14:tracePt t="127506" x="5811838" y="5387975"/>
          <p14:tracePt t="127522" x="5837238" y="5380038"/>
          <p14:tracePt t="127530" x="5853113" y="5370513"/>
          <p14:tracePt t="127546" x="5837238" y="5380038"/>
          <p14:tracePt t="127754" x="5845175" y="5387975"/>
          <p14:tracePt t="127762" x="5870575" y="5395913"/>
          <p14:tracePt t="127770" x="5888038" y="5405438"/>
          <p14:tracePt t="127778" x="5905500" y="5405438"/>
          <p14:tracePt t="127834" x="5895975" y="5405438"/>
          <p14:tracePt t="127858" x="5888038" y="5405438"/>
          <p14:tracePt t="127867" x="5888038" y="5395913"/>
          <p14:tracePt t="128114" x="5880100" y="5395913"/>
          <p14:tracePt t="128122" x="5880100" y="5387975"/>
          <p14:tracePt t="128130" x="5870575" y="5370513"/>
          <p14:tracePt t="128139" x="5853113" y="5362575"/>
          <p14:tracePt t="128146" x="5837238" y="5345113"/>
          <p14:tracePt t="128155" x="5802313" y="5319713"/>
          <p14:tracePt t="128162" x="5768975" y="5302250"/>
          <p14:tracePt t="128170" x="5735638" y="5260975"/>
          <p14:tracePt t="128178" x="5692775" y="5243513"/>
          <p14:tracePt t="128185" x="5657850" y="5208588"/>
          <p14:tracePt t="128194" x="5624513" y="5175250"/>
          <p14:tracePt t="128201" x="5581650" y="5149850"/>
          <p14:tracePt t="128210" x="5522913" y="5099050"/>
          <p14:tracePt t="128217" x="5437188" y="5048250"/>
          <p14:tracePt t="128226" x="5327650" y="4929188"/>
          <p14:tracePt t="128234" x="5249863" y="4843463"/>
          <p14:tracePt t="128242" x="5106988" y="4741863"/>
          <p14:tracePt t="128250" x="4962525" y="4648200"/>
          <p14:tracePt t="128258" x="4732338" y="4503738"/>
          <p14:tracePt t="128267" x="4554538" y="4435475"/>
          <p14:tracePt t="128273" x="4367213" y="4359275"/>
          <p14:tracePt t="128281" x="4070350" y="4257675"/>
          <p14:tracePt t="128290" x="3883025" y="4232275"/>
          <p14:tracePt t="128297" x="3662363" y="4206875"/>
          <p14:tracePt t="128306" x="3500438" y="4181475"/>
          <p14:tracePt t="128313" x="3297238" y="4181475"/>
          <p14:tracePt t="128321" x="3168650" y="4181475"/>
          <p14:tracePt t="128329" x="2990850" y="4206875"/>
          <p14:tracePt t="128337" x="2871788" y="4232275"/>
          <p14:tracePt t="128345" x="2752725" y="4283075"/>
          <p14:tracePt t="128353" x="2625725" y="4325938"/>
          <p14:tracePt t="128361" x="2549525" y="4359275"/>
          <p14:tracePt t="128369" x="2446338" y="4419600"/>
          <p14:tracePt t="128377" x="2395538" y="4460875"/>
          <p14:tracePt t="128386" x="2327275" y="4503738"/>
          <p14:tracePt t="128393" x="2301875" y="4521200"/>
          <p14:tracePt t="128401" x="2293938" y="4546600"/>
          <p14:tracePt t="128410" x="2293938" y="4554538"/>
          <p14:tracePt t="128417" x="2293938" y="4564063"/>
          <p14:tracePt t="128426" x="2301875" y="4572000"/>
          <p14:tracePt t="128434" x="2319338" y="4589463"/>
          <p14:tracePt t="128441" x="2327275" y="4614863"/>
          <p14:tracePt t="128450" x="2336800" y="4622800"/>
          <p14:tracePt t="128457" x="2336800" y="4648200"/>
          <p14:tracePt t="128466" x="2336800" y="4657725"/>
          <p14:tracePt t="128473" x="2336800" y="4665663"/>
          <p14:tracePt t="128481" x="2336800" y="4673600"/>
          <p14:tracePt t="128490" x="2327275" y="4683125"/>
          <p14:tracePt t="128497" x="2293938" y="4691063"/>
          <p14:tracePt t="128506" x="2268538" y="4699000"/>
          <p14:tracePt t="128513" x="2243138" y="4699000"/>
          <p14:tracePt t="128521" x="2200275" y="4708525"/>
          <p14:tracePt t="128529" x="2106613" y="4724400"/>
          <p14:tracePt t="128537" x="2047875" y="4741863"/>
          <p14:tracePt t="128545" x="1946275" y="4749800"/>
          <p14:tracePt t="128553" x="1860550" y="4767263"/>
          <p14:tracePt t="128561" x="1749425" y="4792663"/>
          <p14:tracePt t="128569" x="1606550" y="4818063"/>
          <p14:tracePt t="128577" x="1503363" y="4843463"/>
          <p14:tracePt t="128586" x="1358900" y="4860925"/>
          <p14:tracePt t="128593" x="1257300" y="4878388"/>
          <p14:tracePt t="128602" x="1155700" y="4894263"/>
          <p14:tracePt t="128609" x="1095375" y="4911725"/>
          <p14:tracePt t="128617" x="1019175" y="4929188"/>
          <p14:tracePt t="128626" x="1003300" y="4946650"/>
          <p14:tracePt t="128635" x="976313" y="4954588"/>
          <p14:tracePt t="128642" x="960438" y="4962525"/>
          <p14:tracePt t="128658" x="960438" y="4972050"/>
          <p14:tracePt t="128668" x="960438" y="4987925"/>
          <p14:tracePt t="128674" x="960438" y="5030788"/>
          <p14:tracePt t="128683" x="976313" y="5073650"/>
          <p14:tracePt t="128690" x="1044575" y="5183188"/>
          <p14:tracePt t="128698" x="1138238" y="5286375"/>
          <p14:tracePt t="128706" x="1257300" y="5413375"/>
          <p14:tracePt t="128713" x="1487488" y="5565775"/>
          <p14:tracePt t="128722" x="1657350" y="5659438"/>
          <p14:tracePt t="128729" x="1979613" y="5788025"/>
          <p14:tracePt t="128737" x="2116138" y="5846763"/>
          <p14:tracePt t="128745" x="2301875" y="5932488"/>
          <p14:tracePt t="128753" x="2430463" y="5957888"/>
          <p14:tracePt t="128761" x="2616200" y="5983288"/>
          <p14:tracePt t="128772" x="2744788" y="5991225"/>
          <p14:tracePt t="128778" x="2828925" y="5991225"/>
          <p14:tracePt t="128786" x="2940050" y="5991225"/>
          <p14:tracePt t="128794" x="3024188" y="5991225"/>
          <p14:tracePt t="128802" x="3109913" y="5973763"/>
          <p14:tracePt t="128810" x="3160713" y="5948363"/>
          <p14:tracePt t="128818" x="3219450" y="5932488"/>
          <p14:tracePt t="128826" x="3244850" y="5922963"/>
          <p14:tracePt t="128834" x="3254375" y="5915025"/>
          <p14:tracePt t="128841" x="3254375" y="5905500"/>
          <p14:tracePt t="128866" x="3244850" y="5897563"/>
          <p14:tracePt t="128874" x="3211513" y="5889625"/>
          <p14:tracePt t="128882" x="3186113" y="5880100"/>
          <p14:tracePt t="128890" x="3160713" y="5880100"/>
          <p14:tracePt t="128898" x="3152775" y="5880100"/>
          <p14:tracePt t="128906" x="3127375" y="5880100"/>
          <p14:tracePt t="128938" x="3135313" y="5880100"/>
          <p14:tracePt t="128945" x="3168650" y="5889625"/>
          <p14:tracePt t="128953" x="3203575" y="5897563"/>
          <p14:tracePt t="128962" x="3297238" y="5897563"/>
          <p14:tracePt t="128970" x="3398838" y="5897563"/>
          <p14:tracePt t="128978" x="3533775" y="5897563"/>
          <p14:tracePt t="128986" x="3662363" y="5889625"/>
          <p14:tracePt t="128994" x="3797300" y="5872163"/>
          <p14:tracePt t="129002" x="3976688" y="5829300"/>
          <p14:tracePt t="129010" x="4095750" y="5821363"/>
          <p14:tracePt t="129018" x="4222750" y="5795963"/>
          <p14:tracePt t="129026" x="4324350" y="5761038"/>
          <p14:tracePt t="129034" x="4443413" y="5710238"/>
          <p14:tracePt t="129041" x="4503738" y="5694363"/>
          <p14:tracePt t="129050" x="4562475" y="5651500"/>
          <p14:tracePt t="129057" x="4587875" y="5626100"/>
          <p14:tracePt t="129065" x="4605338" y="5608638"/>
          <p14:tracePt t="129073" x="4613275" y="5600700"/>
          <p14:tracePt t="129434" x="4605338" y="5591175"/>
          <p14:tracePt t="129442" x="4595813" y="5583238"/>
          <p14:tracePt t="129450" x="4570413" y="5575300"/>
          <p14:tracePt t="129458" x="4537075" y="5557838"/>
          <p14:tracePt t="129468" x="4486275" y="5540375"/>
          <p14:tracePt t="129474" x="4468813" y="5532438"/>
          <p14:tracePt t="129482" x="4451350" y="5524500"/>
          <p14:tracePt t="129490" x="4451350" y="5514975"/>
          <p14:tracePt t="129499" x="4451350" y="5497513"/>
          <p14:tracePt t="129507" x="4443413" y="5464175"/>
          <p14:tracePt t="129514" x="4435475" y="5421313"/>
          <p14:tracePt t="129523" x="4425950" y="5362575"/>
          <p14:tracePt t="129530" x="4418013" y="5327650"/>
          <p14:tracePt t="129539" x="4410075" y="5268913"/>
          <p14:tracePt t="129546" x="4410075" y="5235575"/>
          <p14:tracePt t="129556" x="4392613" y="5200650"/>
          <p14:tracePt t="129562" x="4384675" y="5175250"/>
          <p14:tracePt t="129570" x="4384675" y="5157788"/>
          <p14:tracePt t="129578" x="4375150" y="5124450"/>
          <p14:tracePt t="129586" x="4375150" y="5116513"/>
          <p14:tracePt t="131498" x="4392613" y="5132388"/>
          <p14:tracePt t="131507" x="4425950" y="5149850"/>
          <p14:tracePt t="131514" x="4486275" y="5157788"/>
          <p14:tracePt t="131523" x="4562475" y="5167313"/>
          <p14:tracePt t="131530" x="4638675" y="5157788"/>
          <p14:tracePt t="131539" x="4724400" y="5149850"/>
          <p14:tracePt t="131546" x="4808538" y="5124450"/>
          <p14:tracePt t="131556" x="4927600" y="5099050"/>
          <p14:tracePt t="131562" x="5029200" y="5081588"/>
          <p14:tracePt t="131572" x="5114925" y="5064125"/>
          <p14:tracePt t="131578" x="5216525" y="5048250"/>
          <p14:tracePt t="131586" x="5276850" y="5048250"/>
          <p14:tracePt t="131594" x="5343525" y="5038725"/>
          <p14:tracePt t="131602" x="5378450" y="5038725"/>
          <p14:tracePt t="131610" x="5421313" y="5038725"/>
          <p14:tracePt t="131617" x="5454650" y="5038725"/>
          <p14:tracePt t="131625" x="5505450" y="5038725"/>
          <p14:tracePt t="131634" x="5530850" y="5048250"/>
          <p14:tracePt t="131641" x="5565775" y="5056188"/>
          <p14:tracePt t="131649" x="5599113" y="5064125"/>
          <p14:tracePt t="131657" x="5607050" y="5064125"/>
          <p14:tracePt t="131666" x="5624513" y="5064125"/>
          <p14:tracePt t="131681" x="5632450" y="5048250"/>
          <p14:tracePt t="131689" x="5632450" y="5038725"/>
          <p14:tracePt t="131834" x="5641975" y="5038725"/>
          <p14:tracePt t="131842" x="5667375" y="5038725"/>
          <p14:tracePt t="131850" x="5692775" y="5038725"/>
          <p14:tracePt t="131868" x="5708650" y="5038725"/>
          <p14:tracePt t="131891" x="5700713" y="5038725"/>
          <p14:tracePt t="131898" x="5683250" y="5038725"/>
          <p14:tracePt t="131906" x="5657850" y="5030788"/>
          <p14:tracePt t="131914" x="5624513" y="5022850"/>
          <p14:tracePt t="131923" x="5591175" y="5005388"/>
          <p14:tracePt t="131930" x="5548313" y="4987925"/>
          <p14:tracePt t="131939" x="5487988" y="4979988"/>
          <p14:tracePt t="131946" x="5411788" y="4972050"/>
          <p14:tracePt t="131956" x="5310188" y="4946650"/>
          <p14:tracePt t="131962" x="5199063" y="4937125"/>
          <p14:tracePt t="131971" x="5072063" y="4911725"/>
          <p14:tracePt t="131978" x="4935538" y="4886325"/>
          <p14:tracePt t="131986" x="4757738" y="4860925"/>
          <p14:tracePt t="131995" x="4595813" y="4835525"/>
          <p14:tracePt t="132002" x="4316413" y="4767263"/>
          <p14:tracePt t="132009" x="4146550" y="4741863"/>
          <p14:tracePt t="132017" x="3959225" y="4716463"/>
          <p14:tracePt t="132025" x="3703638" y="4673600"/>
          <p14:tracePt t="132033" x="3508375" y="4630738"/>
          <p14:tracePt t="132040" x="3262313" y="4579938"/>
          <p14:tracePt t="132049" x="3067050" y="4554538"/>
          <p14:tracePt t="132057" x="2786063" y="4486275"/>
          <p14:tracePt t="132065" x="2625725" y="4460875"/>
          <p14:tracePt t="132073" x="2344738" y="4410075"/>
          <p14:tracePt t="132081" x="2174875" y="4376738"/>
          <p14:tracePt t="132089" x="1979613" y="4333875"/>
          <p14:tracePt t="132097" x="1784350" y="4308475"/>
          <p14:tracePt t="132105" x="1657350" y="4291013"/>
          <p14:tracePt t="132113" x="1528763" y="4291013"/>
          <p14:tracePt t="132121" x="1444625" y="4291013"/>
          <p14:tracePt t="132129" x="1376363" y="4291013"/>
          <p14:tracePt t="132137" x="1343025" y="4291013"/>
          <p14:tracePt t="132145" x="1308100" y="4291013"/>
          <p14:tracePt t="132152" x="1290638" y="4291013"/>
          <p14:tracePt t="132161" x="1274763" y="4291013"/>
          <p14:tracePt t="132169" x="1249363" y="4291013"/>
          <p14:tracePt t="132177" x="1239838" y="4291013"/>
          <p14:tracePt t="132185" x="1206500" y="4300538"/>
          <p14:tracePt t="132193" x="1189038" y="4300538"/>
          <p14:tracePt t="132201" x="1163638" y="4308475"/>
          <p14:tracePt t="132209" x="1155700" y="4308475"/>
          <p14:tracePt t="132217" x="1138238" y="4308475"/>
          <p14:tracePt t="132226" x="1130300" y="4308475"/>
          <p14:tracePt t="132233" x="1120775" y="4308475"/>
          <p14:tracePt t="132241" x="1104900" y="4308475"/>
          <p14:tracePt t="132250" x="1079500" y="4308475"/>
          <p14:tracePt t="132257" x="1054100" y="4308475"/>
          <p14:tracePt t="132266" x="1044575" y="4308475"/>
          <p14:tracePt t="132273" x="1003300" y="4308475"/>
          <p14:tracePt t="132281" x="950913" y="4308475"/>
          <p14:tracePt t="132290" x="900113" y="4308475"/>
          <p14:tracePt t="132297" x="841375" y="4308475"/>
          <p14:tracePt t="132306" x="755650" y="4308475"/>
          <p14:tracePt t="132313" x="679450" y="4308475"/>
          <p14:tracePt t="132321" x="628650" y="4308475"/>
          <p14:tracePt t="132329" x="569913" y="4308475"/>
          <p14:tracePt t="132337" x="509588" y="4308475"/>
          <p14:tracePt t="132345" x="433388" y="4291013"/>
          <p14:tracePt t="132353" x="390525" y="4283075"/>
          <p14:tracePt t="132361" x="331788" y="4275138"/>
          <p14:tracePt t="132369" x="296863" y="4265613"/>
          <p14:tracePt t="132377" x="263525" y="4257675"/>
          <p14:tracePt t="132385" x="255588" y="4257675"/>
          <p14:tracePt t="132394" x="246063" y="4257675"/>
          <p14:tracePt t="132417" x="246063" y="4249738"/>
          <p14:tracePt t="132923" x="255588" y="4249738"/>
          <p14:tracePt t="132930" x="263525" y="4240213"/>
          <p14:tracePt t="132938" x="263525" y="4232275"/>
          <p14:tracePt t="132946" x="271463" y="4232275"/>
          <p14:tracePt t="132970" x="271463" y="4224338"/>
          <p14:tracePt t="132985" x="271463" y="4214813"/>
          <p14:tracePt t="133091" x="271463" y="4206875"/>
          <p14:tracePt t="133098" x="271463" y="4197350"/>
          <p14:tracePt t="133242" x="280988" y="4197350"/>
          <p14:tracePt t="133250" x="280988" y="4189413"/>
          <p14:tracePt t="136146" x="288925" y="4189413"/>
          <p14:tracePt t="136162" x="296863" y="4181475"/>
          <p14:tracePt t="136171" x="306388" y="4181475"/>
          <p14:tracePt t="136178" x="306388" y="4171950"/>
          <p14:tracePt t="143874" x="306388" y="4181475"/>
          <p14:tracePt t="143882" x="314325" y="4189413"/>
          <p14:tracePt t="143890" x="331788" y="4206875"/>
          <p14:tracePt t="143899" x="357188" y="4224338"/>
          <p14:tracePt t="143906" x="373063" y="4232275"/>
          <p14:tracePt t="143915" x="382588" y="4240213"/>
          <p14:tracePt t="143922" x="400050" y="4249738"/>
          <p14:tracePt t="143931" x="407988" y="4249738"/>
          <p14:tracePt t="143939" x="425450" y="4257675"/>
          <p14:tracePt t="143946" x="450850" y="4257675"/>
          <p14:tracePt t="143955" x="458788" y="4265613"/>
          <p14:tracePt t="143962" x="492125" y="4275138"/>
          <p14:tracePt t="143970" x="517525" y="4275138"/>
          <p14:tracePt t="143978" x="544513" y="4283075"/>
          <p14:tracePt t="143988" x="552450" y="4283075"/>
          <p14:tracePt t="143994" x="569913" y="4283075"/>
          <p14:tracePt t="144002" x="577850" y="4283075"/>
          <p14:tracePt t="144058" x="585788" y="4283075"/>
          <p14:tracePt t="144066" x="595313" y="4283075"/>
          <p14:tracePt t="144082" x="620713" y="4283075"/>
          <p14:tracePt t="144090" x="654050" y="4283075"/>
          <p14:tracePt t="144099" x="679450" y="4283075"/>
          <p14:tracePt t="144106" x="747713" y="4283075"/>
          <p14:tracePt t="144115" x="806450" y="4283075"/>
          <p14:tracePt t="144123" x="935038" y="4283075"/>
          <p14:tracePt t="144131" x="1019175" y="4283075"/>
          <p14:tracePt t="144139" x="1189038" y="4283075"/>
          <p14:tracePt t="144146" x="1300163" y="4283075"/>
          <p14:tracePt t="144155" x="1495425" y="4291013"/>
          <p14:tracePt t="144162" x="1657350" y="4308475"/>
          <p14:tracePt t="144171" x="1835150" y="4333875"/>
          <p14:tracePt t="144178" x="2116138" y="4384675"/>
          <p14:tracePt t="144188" x="2362200" y="4410075"/>
          <p14:tracePt t="144194" x="2820988" y="4427538"/>
          <p14:tracePt t="144203" x="3178175" y="4452938"/>
          <p14:tracePt t="144209" x="3721100" y="4452938"/>
          <p14:tracePt t="144218" x="4010025" y="4452938"/>
          <p14:tracePt t="144226" x="4443413" y="4452938"/>
          <p14:tracePt t="144233" x="4706938" y="4452938"/>
          <p14:tracePt t="144242" x="4935538" y="4452938"/>
          <p14:tracePt t="144250" x="5140325" y="4452938"/>
          <p14:tracePt t="144258" x="5284788" y="4452938"/>
          <p14:tracePt t="144266" x="5411788" y="4460875"/>
          <p14:tracePt t="144274" x="5480050" y="4470400"/>
          <p14:tracePt t="144283" x="5538788" y="4478338"/>
          <p14:tracePt t="144290" x="5573713" y="4486275"/>
          <p14:tracePt t="144299" x="5591175" y="4503738"/>
          <p14:tracePt t="144306" x="5599113" y="4503738"/>
          <p14:tracePt t="144314" x="5599113" y="4513263"/>
          <p14:tracePt t="144322" x="5599113" y="4521200"/>
          <p14:tracePt t="144330" x="5599113" y="4538663"/>
          <p14:tracePt t="144338" x="5599113" y="4564063"/>
          <p14:tracePt t="144346" x="5599113" y="4589463"/>
          <p14:tracePt t="144354" x="5599113" y="4640263"/>
          <p14:tracePt t="144362" x="5591175" y="4665663"/>
          <p14:tracePt t="144369" x="5591175" y="4716463"/>
          <p14:tracePt t="144378" x="5591175" y="4733925"/>
          <p14:tracePt t="144385" x="5591175" y="4759325"/>
          <p14:tracePt t="144393" x="5607050" y="4784725"/>
          <p14:tracePt t="144401" x="5624513" y="4802188"/>
          <p14:tracePt t="144409" x="5641975" y="4802188"/>
          <p14:tracePt t="144418" x="5657850" y="4810125"/>
          <p14:tracePt t="144434" x="5657850" y="4818063"/>
          <p14:tracePt t="144458" x="5649913" y="4818063"/>
          <p14:tracePt t="144466" x="5607050" y="4810125"/>
          <p14:tracePt t="144474" x="5581650" y="4802188"/>
          <p14:tracePt t="144680" x="5573713" y="4792663"/>
          <p14:tracePt t="144714" x="5565775" y="4792663"/>
          <p14:tracePt t="144730" x="5565775" y="4784725"/>
          <p14:tracePt t="144755" x="5573713" y="4784725"/>
          <p14:tracePt t="144762" x="5581650" y="4775200"/>
          <p14:tracePt t="144770" x="5591175" y="4775200"/>
          <p14:tracePt t="144778" x="5607050" y="4775200"/>
          <p14:tracePt t="144834" x="5607050" y="4784725"/>
          <p14:tracePt t="144841" x="5607050" y="4810125"/>
          <p14:tracePt t="144850" x="5607050" y="4835525"/>
          <p14:tracePt t="144858" x="5607050" y="4860925"/>
          <p14:tracePt t="144866" x="5616575" y="4886325"/>
          <p14:tracePt t="144874" x="5624513" y="4929188"/>
          <p14:tracePt t="144883" x="5624513" y="4972050"/>
          <p14:tracePt t="144890" x="5641975" y="5030788"/>
          <p14:tracePt t="144900" x="5657850" y="5132388"/>
          <p14:tracePt t="144906" x="5667375" y="5226050"/>
          <p14:tracePt t="144914" x="5683250" y="5353050"/>
          <p14:tracePt t="144923" x="5683250" y="5464175"/>
          <p14:tracePt t="144931" x="5683250" y="5600700"/>
          <p14:tracePt t="144938" x="5683250" y="5694363"/>
          <p14:tracePt t="144946" x="5683250" y="5778500"/>
          <p14:tracePt t="144954" x="5683250" y="5872163"/>
          <p14:tracePt t="144962" x="5683250" y="5932488"/>
          <p14:tracePt t="144969" x="5700713" y="5991225"/>
          <p14:tracePt t="144979" x="5708650" y="6024563"/>
          <p14:tracePt t="144986" x="5718175" y="6049963"/>
          <p14:tracePt t="144994" x="5726113" y="6067425"/>
          <p14:tracePt t="145002" x="5735638" y="6067425"/>
          <p14:tracePt t="145010" x="5735638" y="6076950"/>
          <p14:tracePt t="145018" x="5743575" y="6092825"/>
          <p14:tracePt t="145034" x="5751513" y="6102350"/>
          <p14:tracePt t="145042" x="5751513" y="6118225"/>
          <p14:tracePt t="145050" x="5761038" y="6127750"/>
          <p14:tracePt t="145058" x="5761038" y="6143625"/>
          <p14:tracePt t="145082" x="5761038" y="6153150"/>
          <p14:tracePt t="145099" x="5761038" y="6161088"/>
          <p14:tracePt t="145418" x="5761038" y="6169025"/>
          <p14:tracePt t="145426" x="5761038" y="6194425"/>
          <p14:tracePt t="145434" x="5768975" y="6229350"/>
          <p14:tracePt t="145442" x="5786438" y="6262688"/>
          <p14:tracePt t="145450" x="5802313" y="6323013"/>
          <p14:tracePt t="145458" x="5802313" y="6356350"/>
          <p14:tracePt t="145467" x="5802313" y="6373813"/>
          <p14:tracePt t="145474" x="5811838" y="6399213"/>
          <p14:tracePt t="145482" x="5811838" y="6416675"/>
          <p14:tracePt t="148346" x="5819775" y="6416675"/>
          <p14:tracePt t="148378" x="5827713" y="6416675"/>
          <p14:tracePt t="148401" x="5837238" y="6416675"/>
          <p14:tracePt t="148409" x="5845175" y="6399213"/>
          <p14:tracePt t="148417" x="5862638" y="6365875"/>
          <p14:tracePt t="148426" x="5870575" y="6323013"/>
          <p14:tracePt t="148434" x="5880100" y="6246813"/>
          <p14:tracePt t="148442" x="5880100" y="6178550"/>
          <p14:tracePt t="148450" x="5880100" y="6110288"/>
          <p14:tracePt t="148458" x="5880100" y="5983288"/>
          <p14:tracePt t="148466" x="5880100" y="5864225"/>
          <p14:tracePt t="148474" x="5880100" y="5727700"/>
          <p14:tracePt t="148482" x="5880100" y="5626100"/>
          <p14:tracePt t="148490" x="5880100" y="5497513"/>
          <p14:tracePt t="148499" x="5888038" y="5413375"/>
          <p14:tracePt t="148505" x="5905500" y="5302250"/>
          <p14:tracePt t="148515" x="5921375" y="5226050"/>
          <p14:tracePt t="148522" x="5946775" y="5167313"/>
          <p14:tracePt t="148530" x="5989638" y="5099050"/>
          <p14:tracePt t="148538" x="6007100" y="5064125"/>
          <p14:tracePt t="148546" x="6032500" y="5030788"/>
          <p14:tracePt t="148554" x="6057900" y="5013325"/>
          <p14:tracePt t="148562" x="6083300" y="4997450"/>
          <p14:tracePt t="148569" x="6091238" y="4997450"/>
          <p14:tracePt t="148577" x="6126163" y="4987925"/>
          <p14:tracePt t="148585" x="6159500" y="4979988"/>
          <p14:tracePt t="148594" x="6184900" y="4979988"/>
          <p14:tracePt t="148601" x="6210300" y="4979988"/>
          <p14:tracePt t="148609" x="6227763" y="4979988"/>
          <p14:tracePt t="148922" x="6219825" y="4987925"/>
          <p14:tracePt t="148930" x="6202363" y="4997450"/>
          <p14:tracePt t="148939" x="6194425" y="5013325"/>
          <p14:tracePt t="148946" x="6184900" y="5022850"/>
          <p14:tracePt t="148955" x="6176963" y="5030788"/>
          <p14:tracePt t="148962" x="6167438" y="5030788"/>
          <p14:tracePt t="148994" x="6159500" y="5030788"/>
          <p14:tracePt t="149010" x="6159500" y="5013325"/>
          <p14:tracePt t="149018" x="6159500" y="4997450"/>
          <p14:tracePt t="149026" x="6184900" y="4946650"/>
          <p14:tracePt t="149034" x="6261100" y="4843463"/>
          <p14:tracePt t="149041" x="6311900" y="4767263"/>
          <p14:tracePt t="149050" x="6397625" y="4657725"/>
          <p14:tracePt t="149057" x="6465888" y="4554538"/>
          <p14:tracePt t="149065" x="6542088" y="4402138"/>
          <p14:tracePt t="149073" x="6618288" y="4257675"/>
          <p14:tracePt t="149081" x="6745288" y="4062413"/>
          <p14:tracePt t="149089" x="6813550" y="3875088"/>
          <p14:tracePt t="149097" x="6907213" y="3662363"/>
          <p14:tracePt t="149104" x="7000875" y="3424238"/>
          <p14:tracePt t="149114" x="7059613" y="3305175"/>
          <p14:tracePt t="149121" x="7119938" y="3152775"/>
          <p14:tracePt t="149129" x="7170738" y="3051175"/>
          <p14:tracePt t="149137" x="7229475" y="2932113"/>
          <p14:tracePt t="149145" x="7264400" y="2871788"/>
          <p14:tracePt t="149154" x="7297738" y="2820988"/>
          <p14:tracePt t="149161" x="7315200" y="2795588"/>
          <p14:tracePt t="149169" x="7323138" y="2787650"/>
          <p14:tracePt t="149178" x="7332663" y="2778125"/>
          <p14:tracePt t="149193" x="7332663" y="2787650"/>
          <p14:tracePt t="149201" x="7315200" y="2813050"/>
          <p14:tracePt t="149210" x="7281863" y="2855913"/>
          <p14:tracePt t="149217" x="7239000" y="2897188"/>
          <p14:tracePt t="149515" x="7239000" y="2906713"/>
          <p14:tracePt t="149523" x="7246938" y="2906713"/>
          <p14:tracePt t="149531" x="7264400" y="2906713"/>
          <p14:tracePt t="149547" x="7272338" y="2906713"/>
          <p14:tracePt t="149554" x="7281863" y="2914650"/>
          <p14:tracePt t="149571" x="7297738" y="2922588"/>
          <p14:tracePt t="149586" x="7307263" y="2922588"/>
          <p14:tracePt t="149634" x="7315200" y="2922588"/>
          <p14:tracePt t="149650" x="7323138" y="2922588"/>
          <p14:tracePt t="149658" x="7332663" y="2922588"/>
          <p14:tracePt t="149674" x="7340600" y="2914650"/>
          <p14:tracePt t="149683" x="7358063" y="2906713"/>
          <p14:tracePt t="149690" x="7358063" y="2897188"/>
          <p14:tracePt t="149697" x="7373938" y="2889250"/>
          <p14:tracePt t="149705" x="7373938" y="2871788"/>
          <p14:tracePt t="149714" x="7383463" y="2863850"/>
          <p14:tracePt t="149729" x="7391400" y="2863850"/>
          <p14:tracePt t="149745" x="7391400" y="2855913"/>
          <p14:tracePt t="149753" x="7391400" y="2846388"/>
          <p14:tracePt t="149761" x="7400925" y="2846388"/>
          <p14:tracePt t="149769" x="7416800" y="2830513"/>
          <p14:tracePt t="149777" x="7416800" y="2813050"/>
          <p14:tracePt t="149785" x="7434263" y="2795588"/>
          <p14:tracePt t="149793" x="7451725" y="2787650"/>
          <p14:tracePt t="149801" x="7459663" y="2770188"/>
          <p14:tracePt t="149809" x="7467600" y="2752725"/>
          <p14:tracePt t="149826" x="7477125" y="2744788"/>
          <p14:tracePt t="149833" x="7485063" y="2736850"/>
          <p14:tracePt t="149858" x="7493000" y="2736850"/>
          <p14:tracePt t="149930" x="7485063" y="2736850"/>
          <p14:tracePt t="149939" x="7477125" y="2727325"/>
          <p14:tracePt t="149947" x="7451725" y="2719388"/>
          <p14:tracePt t="149955" x="7426325" y="2719388"/>
          <p14:tracePt t="149962" x="7383463" y="2693988"/>
          <p14:tracePt t="149971" x="7348538" y="2676525"/>
          <p14:tracePt t="149978" x="7315200" y="2668588"/>
          <p14:tracePt t="149986" x="7256463" y="2651125"/>
          <p14:tracePt t="149994" x="7196138" y="2643188"/>
          <p14:tracePt t="150002" x="7102475" y="2633663"/>
          <p14:tracePt t="150011" x="7034213" y="2617788"/>
          <p14:tracePt t="150018" x="6915150" y="2600325"/>
          <p14:tracePt t="150026" x="6805613" y="2582863"/>
          <p14:tracePt t="150034" x="6678613" y="2566988"/>
          <p14:tracePt t="150042" x="6542088" y="2541588"/>
          <p14:tracePt t="150050" x="6415088" y="2516188"/>
          <p14:tracePt t="150058" x="6194425" y="2473325"/>
          <p14:tracePt t="150066" x="5997575" y="2430463"/>
          <p14:tracePt t="150074" x="5735638" y="2371725"/>
          <p14:tracePt t="150082" x="5530850" y="2311400"/>
          <p14:tracePt t="150090" x="5208588" y="2184400"/>
          <p14:tracePt t="150099" x="5021263" y="2098675"/>
          <p14:tracePt t="150105" x="4714875" y="1954213"/>
          <p14:tracePt t="150115" x="4529138" y="1860550"/>
          <p14:tracePt t="150122" x="4392613" y="1801813"/>
          <p14:tracePt t="150130" x="4240213" y="1725613"/>
          <p14:tracePt t="150138" x="4162425" y="1682750"/>
          <p14:tracePt t="150146" x="4103688" y="1665288"/>
          <p14:tracePt t="150154" x="4095750" y="1657350"/>
          <p14:tracePt t="150178" x="4121150" y="1657350"/>
          <p14:tracePt t="150185" x="4187825" y="1657350"/>
          <p14:tracePt t="150194" x="4291013" y="1657350"/>
          <p14:tracePt t="150201" x="4400550" y="1657350"/>
          <p14:tracePt t="150211" x="4503738" y="1674813"/>
          <p14:tracePt t="150217" x="4529138" y="1674813"/>
          <p14:tracePt t="150417" x="4511675" y="1674813"/>
          <p14:tracePt t="150425" x="4503738" y="1682750"/>
          <p14:tracePt t="150433" x="4476750" y="1682750"/>
          <p14:tracePt t="150441" x="4460875" y="1690688"/>
          <p14:tracePt t="150450" x="4425950" y="1700213"/>
          <p14:tracePt t="150458" x="4392613" y="1700213"/>
          <p14:tracePt t="150465" x="4349750" y="1708150"/>
          <p14:tracePt t="150474" x="4316413" y="1716088"/>
          <p14:tracePt t="150482" x="4256088" y="1716088"/>
          <p14:tracePt t="150490" x="4187825" y="1716088"/>
          <p14:tracePt t="150499" x="4129088" y="1716088"/>
          <p14:tracePt t="150505" x="4002088" y="1716088"/>
          <p14:tracePt t="150514" x="3890963" y="1716088"/>
          <p14:tracePt t="150521" x="3721100" y="1716088"/>
          <p14:tracePt t="150530" x="3576638" y="1716088"/>
          <p14:tracePt t="150538" x="3313113" y="1682750"/>
          <p14:tracePt t="150546" x="3059113" y="1639888"/>
          <p14:tracePt t="150554" x="2701925" y="1581150"/>
          <p14:tracePt t="150561" x="2387600" y="1512888"/>
          <p14:tracePt t="150570" x="2098675" y="1427163"/>
          <p14:tracePt t="150578" x="1657350" y="1266825"/>
          <p14:tracePt t="150585" x="1409700" y="1130300"/>
          <p14:tracePt t="150594" x="1104900" y="968375"/>
          <p14:tracePt t="150601" x="884238" y="858838"/>
          <p14:tracePt t="150610" x="552450" y="714375"/>
          <p14:tracePt t="150617" x="382588" y="611188"/>
          <p14:tracePt t="150626" x="177800" y="492125"/>
          <p14:tracePt t="150634" x="58738" y="425450"/>
          <p14:tracePt t="152187" x="296863" y="671513"/>
          <p14:tracePt t="152194" x="603250" y="790575"/>
          <p14:tracePt t="152202" x="730250" y="849313"/>
          <p14:tracePt t="152210" x="849313" y="909638"/>
          <p14:tracePt t="152219" x="935038" y="952500"/>
          <p14:tracePt t="152226" x="1003300" y="977900"/>
          <p14:tracePt t="152233" x="1011238" y="993775"/>
          <p14:tracePt t="152242" x="1019175" y="993775"/>
          <p14:tracePt t="152289" x="1003300" y="993775"/>
          <p14:tracePt t="152297" x="993775" y="993775"/>
          <p14:tracePt t="152305" x="950913" y="993775"/>
          <p14:tracePt t="152314" x="909638" y="993775"/>
          <p14:tracePt t="152321" x="831850" y="977900"/>
          <p14:tracePt t="152330" x="755650" y="968375"/>
          <p14:tracePt t="152338" x="646113" y="960438"/>
          <p14:tracePt t="152346" x="569913" y="935038"/>
          <p14:tracePt t="152355" x="492125" y="925513"/>
          <p14:tracePt t="152361" x="407988" y="917575"/>
          <p14:tracePt t="152370" x="339725" y="900113"/>
          <p14:tracePt t="152378" x="246063" y="884238"/>
          <p14:tracePt t="152387" x="187325" y="874713"/>
          <p14:tracePt t="152394" x="76200" y="858838"/>
          <p14:tracePt t="152402" x="0" y="849313"/>
        </p14:tracePtLst>
      </p14:laserTraceLst>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92442E0-36DE-4890-8639-5921EA54385B}"/>
              </a:ext>
            </a:extLst>
          </p:cNvPr>
          <p:cNvSpPr>
            <a:spLocks noGrp="1"/>
          </p:cNvSpPr>
          <p:nvPr>
            <p:ph sz="quarter" idx="14"/>
          </p:nvPr>
        </p:nvSpPr>
        <p:spPr>
          <a:xfrm>
            <a:off x="345385" y="1424914"/>
            <a:ext cx="5960035" cy="4008171"/>
          </a:xfrm>
        </p:spPr>
        <p:txBody>
          <a:bodyPr/>
          <a:lstStyle/>
          <a:p>
            <a:r>
              <a:rPr lang="en-US" dirty="0"/>
              <a:t>All critical services must function even if the network becomes oversaturated</a:t>
            </a:r>
          </a:p>
          <a:p>
            <a:pPr lvl="1"/>
            <a:r>
              <a:rPr lang="en-US" dirty="0"/>
              <a:t>Must inject scalable background traffic to congest the links</a:t>
            </a:r>
          </a:p>
          <a:p>
            <a:r>
              <a:rPr lang="en-US" dirty="0"/>
              <a:t>Network must function even if the terrain/weather is unfavorable</a:t>
            </a:r>
          </a:p>
          <a:p>
            <a:pPr lvl="1"/>
            <a:r>
              <a:rPr lang="en-US" dirty="0"/>
              <a:t>Intentionally inject delay, jitter, drops, reorder, duplications, corruption</a:t>
            </a:r>
          </a:p>
          <a:p>
            <a:pPr lvl="1"/>
            <a:r>
              <a:rPr lang="en-US" dirty="0"/>
              <a:t>Measure the impact to content delivery</a:t>
            </a:r>
          </a:p>
          <a:p>
            <a:r>
              <a:rPr lang="en-US" dirty="0"/>
              <a:t>Network must function even if nodes are destroyed</a:t>
            </a:r>
          </a:p>
          <a:p>
            <a:pPr lvl="1"/>
            <a:r>
              <a:rPr lang="en-US" dirty="0"/>
              <a:t>Test high-availability (active/active) or redundancy (active/standby)</a:t>
            </a:r>
          </a:p>
          <a:p>
            <a:pPr lvl="1"/>
            <a:r>
              <a:rPr lang="en-US" dirty="0"/>
              <a:t>Test disaster recovery mechanism and measure failover time</a:t>
            </a:r>
          </a:p>
        </p:txBody>
      </p:sp>
      <p:sp>
        <p:nvSpPr>
          <p:cNvPr id="3" name="Text Placeholder 2">
            <a:extLst>
              <a:ext uri="{FF2B5EF4-FFF2-40B4-BE49-F238E27FC236}">
                <a16:creationId xmlns:a16="http://schemas.microsoft.com/office/drawing/2014/main" id="{43112B86-6212-4C9A-8477-5A26C0A5B954}"/>
              </a:ext>
            </a:extLst>
          </p:cNvPr>
          <p:cNvSpPr>
            <a:spLocks noGrp="1"/>
          </p:cNvSpPr>
          <p:nvPr>
            <p:ph type="body" sz="quarter" idx="13"/>
          </p:nvPr>
        </p:nvSpPr>
        <p:spPr>
          <a:xfrm>
            <a:off x="449201" y="920555"/>
            <a:ext cx="7453790" cy="322458"/>
          </a:xfrm>
        </p:spPr>
        <p:txBody>
          <a:bodyPr/>
          <a:lstStyle/>
          <a:p>
            <a:r>
              <a:rPr lang="en-US" dirty="0"/>
              <a:t>…under STRESSFUL CONDITIONS</a:t>
            </a:r>
          </a:p>
        </p:txBody>
      </p:sp>
      <p:sp>
        <p:nvSpPr>
          <p:cNvPr id="5" name="Title 4">
            <a:extLst>
              <a:ext uri="{FF2B5EF4-FFF2-40B4-BE49-F238E27FC236}">
                <a16:creationId xmlns:a16="http://schemas.microsoft.com/office/drawing/2014/main" id="{08342C5E-E071-4AB2-88B1-E5FBCCA1C8A3}"/>
              </a:ext>
            </a:extLst>
          </p:cNvPr>
          <p:cNvSpPr>
            <a:spLocks noGrp="1"/>
          </p:cNvSpPr>
          <p:nvPr>
            <p:ph type="title"/>
          </p:nvPr>
        </p:nvSpPr>
        <p:spPr/>
        <p:txBody>
          <a:bodyPr/>
          <a:lstStyle/>
          <a:p>
            <a:r>
              <a:rPr lang="en-US" dirty="0"/>
              <a:t>Testing IP</a:t>
            </a:r>
          </a:p>
        </p:txBody>
      </p:sp>
      <p:pic>
        <p:nvPicPr>
          <p:cNvPr id="7" name="Picture 6">
            <a:extLst>
              <a:ext uri="{FF2B5EF4-FFF2-40B4-BE49-F238E27FC236}">
                <a16:creationId xmlns:a16="http://schemas.microsoft.com/office/drawing/2014/main" id="{A5E60A45-0194-45EC-BBF4-3E19DEE40C8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54026" y="4271915"/>
            <a:ext cx="4839743" cy="1996278"/>
          </a:xfrm>
          <a:prstGeom prst="rect">
            <a:avLst/>
          </a:prstGeom>
        </p:spPr>
      </p:pic>
      <p:sp>
        <p:nvSpPr>
          <p:cNvPr id="10" name="TextBox 9">
            <a:extLst>
              <a:ext uri="{FF2B5EF4-FFF2-40B4-BE49-F238E27FC236}">
                <a16:creationId xmlns:a16="http://schemas.microsoft.com/office/drawing/2014/main" id="{6ACEA1B6-858F-4A87-A948-468526B4C359}"/>
              </a:ext>
            </a:extLst>
          </p:cNvPr>
          <p:cNvSpPr txBox="1"/>
          <p:nvPr/>
        </p:nvSpPr>
        <p:spPr>
          <a:xfrm>
            <a:off x="9898347" y="5941635"/>
            <a:ext cx="740233" cy="307777"/>
          </a:xfrm>
          <a:prstGeom prst="rect">
            <a:avLst/>
          </a:prstGeom>
          <a:noFill/>
        </p:spPr>
        <p:txBody>
          <a:bodyPr wrap="square" rtlCol="0">
            <a:spAutoFit/>
          </a:bodyPr>
          <a:lstStyle/>
          <a:p>
            <a:pPr algn="ctr"/>
            <a:r>
              <a:rPr lang="en-US" sz="1400" dirty="0">
                <a:latin typeface="Arial"/>
              </a:rPr>
              <a:t>DUT B</a:t>
            </a:r>
          </a:p>
        </p:txBody>
      </p:sp>
      <p:sp>
        <p:nvSpPr>
          <p:cNvPr id="11" name="TextBox 17">
            <a:extLst>
              <a:ext uri="{FF2B5EF4-FFF2-40B4-BE49-F238E27FC236}">
                <a16:creationId xmlns:a16="http://schemas.microsoft.com/office/drawing/2014/main" id="{AF3A45DA-95EC-4F23-B110-933D19A62E6A}"/>
              </a:ext>
            </a:extLst>
          </p:cNvPr>
          <p:cNvSpPr txBox="1"/>
          <p:nvPr/>
        </p:nvSpPr>
        <p:spPr>
          <a:xfrm>
            <a:off x="8393662" y="5112728"/>
            <a:ext cx="632254" cy="276999"/>
          </a:xfrm>
          <a:prstGeom prst="rect">
            <a:avLst/>
          </a:prstGeom>
          <a:noFill/>
        </p:spPr>
        <p:txBody>
          <a:bodyPr wrap="square" rtlCol="0">
            <a:spAutoFit/>
          </a:bodyPr>
          <a:lstStyle>
            <a:defPPr>
              <a:defRPr lang="en-US"/>
            </a:defPPr>
            <a:lvl1pPr algn="ctr">
              <a:defRPr sz="1400">
                <a:solidFill>
                  <a:schemeClr val="accent6">
                    <a:lumMod val="10000"/>
                  </a:schemeClr>
                </a:solidFill>
                <a:latin typeface="Arial"/>
              </a:defRPr>
            </a:lvl1pPr>
          </a:lstStyle>
          <a:p>
            <a:r>
              <a:rPr lang="en-US" sz="1200" dirty="0">
                <a:solidFill>
                  <a:schemeClr val="accent2">
                    <a:lumMod val="75000"/>
                  </a:schemeClr>
                </a:solidFill>
              </a:rPr>
              <a:t>Traffic</a:t>
            </a:r>
          </a:p>
        </p:txBody>
      </p:sp>
      <p:sp>
        <p:nvSpPr>
          <p:cNvPr id="13" name="TextBox 17">
            <a:extLst>
              <a:ext uri="{FF2B5EF4-FFF2-40B4-BE49-F238E27FC236}">
                <a16:creationId xmlns:a16="http://schemas.microsoft.com/office/drawing/2014/main" id="{C646A149-8A31-4D6B-A1E0-28AAC250731A}"/>
              </a:ext>
            </a:extLst>
          </p:cNvPr>
          <p:cNvSpPr txBox="1"/>
          <p:nvPr/>
        </p:nvSpPr>
        <p:spPr>
          <a:xfrm>
            <a:off x="9151238" y="5112727"/>
            <a:ext cx="632254" cy="276999"/>
          </a:xfrm>
          <a:prstGeom prst="rect">
            <a:avLst/>
          </a:prstGeom>
          <a:noFill/>
        </p:spPr>
        <p:txBody>
          <a:bodyPr wrap="square" rtlCol="0">
            <a:spAutoFit/>
          </a:bodyPr>
          <a:lstStyle>
            <a:defPPr>
              <a:defRPr lang="en-US"/>
            </a:defPPr>
            <a:lvl1pPr algn="ctr">
              <a:defRPr sz="1400">
                <a:solidFill>
                  <a:schemeClr val="accent6">
                    <a:lumMod val="10000"/>
                  </a:schemeClr>
                </a:solidFill>
                <a:latin typeface="Arial"/>
              </a:defRPr>
            </a:lvl1pPr>
          </a:lstStyle>
          <a:p>
            <a:r>
              <a:rPr lang="en-US" sz="1200" dirty="0">
                <a:solidFill>
                  <a:schemeClr val="accent2">
                    <a:lumMod val="75000"/>
                  </a:schemeClr>
                </a:solidFill>
              </a:rPr>
              <a:t>Traffic</a:t>
            </a:r>
          </a:p>
        </p:txBody>
      </p:sp>
      <p:pic>
        <p:nvPicPr>
          <p:cNvPr id="14" name="Picture 13">
            <a:extLst>
              <a:ext uri="{FF2B5EF4-FFF2-40B4-BE49-F238E27FC236}">
                <a16:creationId xmlns:a16="http://schemas.microsoft.com/office/drawing/2014/main" id="{C0593387-C89C-4101-AD20-5421E7201420}"/>
              </a:ext>
            </a:extLst>
          </p:cNvPr>
          <p:cNvPicPr>
            <a:picLocks noChangeAspect="1"/>
          </p:cNvPicPr>
          <p:nvPr/>
        </p:nvPicPr>
        <p:blipFill>
          <a:blip r:embed="rId6"/>
          <a:stretch>
            <a:fillRect/>
          </a:stretch>
        </p:blipFill>
        <p:spPr>
          <a:xfrm flipH="1">
            <a:off x="6223908" y="5398040"/>
            <a:ext cx="2441958" cy="767006"/>
          </a:xfrm>
          <a:prstGeom prst="rect">
            <a:avLst/>
          </a:prstGeom>
          <a:scene3d>
            <a:camera prst="orthographicFront">
              <a:rot lat="0" lon="0" rev="0"/>
            </a:camera>
            <a:lightRig rig="threePt" dir="t"/>
          </a:scene3d>
        </p:spPr>
      </p:pic>
      <p:sp>
        <p:nvSpPr>
          <p:cNvPr id="15" name="TextBox 14">
            <a:extLst>
              <a:ext uri="{FF2B5EF4-FFF2-40B4-BE49-F238E27FC236}">
                <a16:creationId xmlns:a16="http://schemas.microsoft.com/office/drawing/2014/main" id="{E3FC2352-0D39-4E53-A9A1-8DC2153BAC62}"/>
              </a:ext>
            </a:extLst>
          </p:cNvPr>
          <p:cNvSpPr txBox="1"/>
          <p:nvPr/>
        </p:nvSpPr>
        <p:spPr>
          <a:xfrm>
            <a:off x="7498130" y="5960416"/>
            <a:ext cx="758419" cy="307777"/>
          </a:xfrm>
          <a:prstGeom prst="rect">
            <a:avLst/>
          </a:prstGeom>
          <a:noFill/>
        </p:spPr>
        <p:txBody>
          <a:bodyPr wrap="square" rtlCol="0">
            <a:spAutoFit/>
          </a:bodyPr>
          <a:lstStyle/>
          <a:p>
            <a:pPr algn="ctr"/>
            <a:r>
              <a:rPr lang="en-US" sz="1400" dirty="0">
                <a:latin typeface="Arial"/>
              </a:rPr>
              <a:t>DUT A</a:t>
            </a:r>
          </a:p>
        </p:txBody>
      </p:sp>
      <p:sp>
        <p:nvSpPr>
          <p:cNvPr id="18" name="Rectangle 17">
            <a:extLst>
              <a:ext uri="{FF2B5EF4-FFF2-40B4-BE49-F238E27FC236}">
                <a16:creationId xmlns:a16="http://schemas.microsoft.com/office/drawing/2014/main" id="{41B25E2B-2233-43BA-9501-DF8EB726AB15}"/>
              </a:ext>
            </a:extLst>
          </p:cNvPr>
          <p:cNvSpPr/>
          <p:nvPr/>
        </p:nvSpPr>
        <p:spPr>
          <a:xfrm>
            <a:off x="8165580" y="4234260"/>
            <a:ext cx="3291839" cy="369332"/>
          </a:xfrm>
          <a:prstGeom prst="rect">
            <a:avLst/>
          </a:prstGeom>
        </p:spPr>
        <p:txBody>
          <a:bodyPr wrap="square">
            <a:spAutoFit/>
          </a:bodyPr>
          <a:lstStyle/>
          <a:p>
            <a:r>
              <a:rPr lang="en-US" dirty="0"/>
              <a:t>HW-based impairment injector</a:t>
            </a:r>
          </a:p>
        </p:txBody>
      </p:sp>
      <p:pic>
        <p:nvPicPr>
          <p:cNvPr id="21" name="Picture 3" descr="page30image1255871008">
            <a:extLst>
              <a:ext uri="{FF2B5EF4-FFF2-40B4-BE49-F238E27FC236}">
                <a16:creationId xmlns:a16="http://schemas.microsoft.com/office/drawing/2014/main" id="{0F793433-94D7-48FB-B8C5-0D5DC5BF51C3}"/>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8070575" y="715008"/>
            <a:ext cx="4564927" cy="2270558"/>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66E5B44D-22DF-424E-91A3-3006357CEF74}"/>
              </a:ext>
            </a:extLst>
          </p:cNvPr>
          <p:cNvSpPr/>
          <p:nvPr/>
        </p:nvSpPr>
        <p:spPr>
          <a:xfrm>
            <a:off x="9219658" y="2848370"/>
            <a:ext cx="2464525" cy="923330"/>
          </a:xfrm>
          <a:prstGeom prst="rect">
            <a:avLst/>
          </a:prstGeom>
        </p:spPr>
        <p:txBody>
          <a:bodyPr wrap="square">
            <a:spAutoFit/>
          </a:bodyPr>
          <a:lstStyle/>
          <a:p>
            <a:pPr algn="ctr"/>
            <a:r>
              <a:rPr lang="en-US" dirty="0"/>
              <a:t>Realistic and scalable application traffic generation</a:t>
            </a:r>
          </a:p>
        </p:txBody>
      </p:sp>
      <p:pic>
        <p:nvPicPr>
          <p:cNvPr id="8" name="Audio 7">
            <a:hlinkClick r:id="" action="ppaction://media"/>
            <a:extLst>
              <a:ext uri="{FF2B5EF4-FFF2-40B4-BE49-F238E27FC236}">
                <a16:creationId xmlns:a16="http://schemas.microsoft.com/office/drawing/2014/main" id="{E869A303-9855-4504-8C81-44296B697456}"/>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3155253323"/>
      </p:ext>
    </p:extLst>
  </p:cSld>
  <p:clrMapOvr>
    <a:masterClrMapping/>
  </p:clrMapOvr>
  <mc:AlternateContent xmlns:mc="http://schemas.openxmlformats.org/markup-compatibility/2006" xmlns:p14="http://schemas.microsoft.com/office/powerpoint/2010/main">
    <mc:Choice Requires="p14">
      <p:transition spd="slow" p14:dur="2000" advTm="86168"/>
    </mc:Choice>
    <mc:Fallback xmlns="">
      <p:transition spd="slow" advTm="8616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extLst>
    <p:ext uri="{3A86A75C-4F4B-4683-9AE1-C65F6400EC91}">
      <p14:laserTraceLst xmlns:p14="http://schemas.microsoft.com/office/powerpoint/2010/main">
        <p14:tracePtLst>
          <p14:tracePt t="3938" x="144463" y="849313"/>
          <p14:tracePt t="3944" x="230188" y="917575"/>
          <p14:tracePt t="3953" x="306388" y="985838"/>
          <p14:tracePt t="3961" x="357188" y="1011238"/>
          <p14:tracePt t="3968" x="400050" y="1028700"/>
          <p14:tracePt t="3977" x="415925" y="1028700"/>
          <p14:tracePt t="3985" x="433388" y="1028700"/>
          <p14:tracePt t="3994" x="441325" y="1028700"/>
          <p14:tracePt t="4001" x="466725" y="1036638"/>
          <p14:tracePt t="4009" x="501650" y="1044575"/>
          <p14:tracePt t="4017" x="552450" y="1079500"/>
          <p14:tracePt t="4024" x="628650" y="1130300"/>
          <p14:tracePt t="4032" x="704850" y="1173163"/>
          <p14:tracePt t="4040" x="806450" y="1257300"/>
          <p14:tracePt t="4048" x="892175" y="1317625"/>
          <p14:tracePt t="4056" x="976313" y="1360488"/>
          <p14:tracePt t="4064" x="1069975" y="1419225"/>
          <p14:tracePt t="4073" x="1130300" y="1444625"/>
          <p14:tracePt t="4080" x="1198563" y="1477963"/>
          <p14:tracePt t="4089" x="1214438" y="1487488"/>
          <p14:tracePt t="4096" x="1231900" y="1487488"/>
          <p14:tracePt t="4137" x="1249363" y="1487488"/>
          <p14:tracePt t="4145" x="1257300" y="1487488"/>
          <p14:tracePt t="4153" x="1290638" y="1487488"/>
          <p14:tracePt t="4160" x="1317625" y="1487488"/>
          <p14:tracePt t="4168" x="1368425" y="1487488"/>
          <p14:tracePt t="4176" x="1401763" y="1487488"/>
          <p14:tracePt t="4183" x="1427163" y="1487488"/>
          <p14:tracePt t="4193" x="1462088" y="1487488"/>
          <p14:tracePt t="4200" x="1503363" y="1487488"/>
          <p14:tracePt t="4208" x="1528763" y="1487488"/>
          <p14:tracePt t="4216" x="1563688" y="1487488"/>
          <p14:tracePt t="4224" x="1579563" y="1487488"/>
          <p14:tracePt t="4232" x="1606550" y="1487488"/>
          <p14:tracePt t="4240" x="1631950" y="1487488"/>
          <p14:tracePt t="4248" x="1647825" y="1487488"/>
          <p14:tracePt t="4256" x="1682750" y="1477963"/>
          <p14:tracePt t="4264" x="1708150" y="1477963"/>
          <p14:tracePt t="4273" x="1733550" y="1477963"/>
          <p14:tracePt t="4280" x="1749425" y="1477963"/>
          <p14:tracePt t="4289" x="1784350" y="1477963"/>
          <p14:tracePt t="4296" x="1827213" y="1477963"/>
          <p14:tracePt t="4304" x="1868488" y="1477963"/>
          <p14:tracePt t="4312" x="1928813" y="1477963"/>
          <p14:tracePt t="4320" x="1971675" y="1477963"/>
          <p14:tracePt t="4328" x="2038350" y="1477963"/>
          <p14:tracePt t="4336" x="2090738" y="1477963"/>
          <p14:tracePt t="4343" x="2132013" y="1477963"/>
          <p14:tracePt t="4352" x="2174875" y="1477963"/>
          <p14:tracePt t="4360" x="2235200" y="1477963"/>
          <p14:tracePt t="4368" x="2301875" y="1477963"/>
          <p14:tracePt t="4376" x="2362200" y="1477963"/>
          <p14:tracePt t="4384" x="2446338" y="1477963"/>
          <p14:tracePt t="4393" x="2514600" y="1477963"/>
          <p14:tracePt t="4400" x="2633663" y="1477963"/>
          <p14:tracePt t="4408" x="2727325" y="1477963"/>
          <p14:tracePt t="4416" x="2811463" y="1477963"/>
          <p14:tracePt t="4424" x="2914650" y="1470025"/>
          <p14:tracePt t="4432" x="2998788" y="1470025"/>
          <p14:tracePt t="4440" x="3100388" y="1462088"/>
          <p14:tracePt t="4448" x="3143250" y="1444625"/>
          <p14:tracePt t="4456" x="3203575" y="1436688"/>
          <p14:tracePt t="4464" x="3236913" y="1436688"/>
          <p14:tracePt t="4473" x="3270250" y="1436688"/>
          <p14:tracePt t="4480" x="3305175" y="1436688"/>
          <p14:tracePt t="4488" x="3313113" y="1427163"/>
          <p14:tracePt t="4496" x="3348038" y="1427163"/>
          <p14:tracePt t="4505" x="3355975" y="1427163"/>
          <p14:tracePt t="4512" x="3373438" y="1411288"/>
          <p14:tracePt t="4520" x="3398838" y="1393825"/>
          <p14:tracePt t="4528" x="3424238" y="1385888"/>
          <p14:tracePt t="4536" x="3432175" y="1376363"/>
          <p14:tracePt t="4561" x="3389313" y="1376363"/>
          <p14:tracePt t="4568" x="3322638" y="1401763"/>
          <p14:tracePt t="4578" x="3203575" y="1411288"/>
          <p14:tracePt t="4585" x="3024188" y="1436688"/>
          <p14:tracePt t="4594" x="2846388" y="1436688"/>
          <p14:tracePt t="4601" x="2616200" y="1436688"/>
          <p14:tracePt t="4609" x="2608263" y="1436688"/>
          <p14:tracePt t="4794" x="2616200" y="1444625"/>
          <p14:tracePt t="4801" x="2625725" y="1452563"/>
          <p14:tracePt t="4809" x="2641600" y="1462088"/>
          <p14:tracePt t="4817" x="2676525" y="1462088"/>
          <p14:tracePt t="4825" x="2684463" y="1462088"/>
          <p14:tracePt t="4833" x="2709863" y="1462088"/>
          <p14:tracePt t="4841" x="2735263" y="1462088"/>
          <p14:tracePt t="4849" x="2760663" y="1462088"/>
          <p14:tracePt t="4857" x="2795588" y="1462088"/>
          <p14:tracePt t="4865" x="2854325" y="1462088"/>
          <p14:tracePt t="4880" x="2940050" y="1487488"/>
          <p14:tracePt t="4885" x="3024188" y="1495425"/>
          <p14:tracePt t="4889" x="3143250" y="1520825"/>
          <p14:tracePt t="4896" x="3236913" y="1520825"/>
          <p14:tracePt t="4904" x="3381375" y="1520825"/>
          <p14:tracePt t="4912" x="3492500" y="1520825"/>
          <p14:tracePt t="4919" x="3644900" y="1520825"/>
          <p14:tracePt t="4928" x="3771900" y="1520825"/>
          <p14:tracePt t="4935" x="3883025" y="1520825"/>
          <p14:tracePt t="4944" x="4010025" y="1520825"/>
          <p14:tracePt t="4952" x="4129088" y="1520825"/>
          <p14:tracePt t="4960" x="4256088" y="1520825"/>
          <p14:tracePt t="4967" x="4341813" y="1520825"/>
          <p14:tracePt t="4976" x="4425950" y="1520825"/>
          <p14:tracePt t="4984" x="4494213" y="1520825"/>
          <p14:tracePt t="4992" x="4554538" y="1520825"/>
          <p14:tracePt t="4999" x="4579938" y="1512888"/>
          <p14:tracePt t="5007" x="4587875" y="1512888"/>
          <p14:tracePt t="5016" x="4605338" y="1504950"/>
          <p14:tracePt t="5023" x="4613275" y="1504950"/>
          <p14:tracePt t="5040" x="4621213" y="1495425"/>
          <p14:tracePt t="5577" x="4638675" y="1487488"/>
          <p14:tracePt t="5585" x="4646613" y="1487488"/>
          <p14:tracePt t="5593" x="4714875" y="1477963"/>
          <p14:tracePt t="5600" x="4800600" y="1470025"/>
          <p14:tracePt t="5608" x="4945063" y="1444625"/>
          <p14:tracePt t="5616" x="5046663" y="1427163"/>
          <p14:tracePt t="5624" x="5148263" y="1401763"/>
          <p14:tracePt t="5632" x="5224463" y="1393825"/>
          <p14:tracePt t="5640" x="5310188" y="1376363"/>
          <p14:tracePt t="5648" x="5378450" y="1376363"/>
          <p14:tracePt t="5656" x="5454650" y="1376363"/>
          <p14:tracePt t="5664" x="5565775" y="1376363"/>
          <p14:tracePt t="5673" x="5632450" y="1376363"/>
          <p14:tracePt t="5680" x="5718175" y="1376363"/>
          <p14:tracePt t="5690" x="5776913" y="1376363"/>
          <p14:tracePt t="5697" x="5819775" y="1376363"/>
          <p14:tracePt t="5706" x="5845175" y="1376363"/>
          <p14:tracePt t="5713" x="5862638" y="1376363"/>
          <p14:tracePt t="5722" x="5870575" y="1376363"/>
          <p14:tracePt t="5729" x="5880100" y="1376363"/>
          <p14:tracePt t="5738" x="5895975" y="1393825"/>
          <p14:tracePt t="5746" x="5905500" y="1411288"/>
          <p14:tracePt t="5754" x="5938838" y="1452563"/>
          <p14:tracePt t="5762" x="5956300" y="1512888"/>
          <p14:tracePt t="5769" x="5989638" y="1589088"/>
          <p14:tracePt t="5779" x="6007100" y="1649413"/>
          <p14:tracePt t="5785" x="6032500" y="1741488"/>
          <p14:tracePt t="5795" x="6049963" y="1819275"/>
          <p14:tracePt t="5801" x="6065838" y="1885950"/>
          <p14:tracePt t="5809" x="6075363" y="1963738"/>
          <p14:tracePt t="5818" x="6083300" y="2022475"/>
          <p14:tracePt t="5825" x="6083300" y="2108200"/>
          <p14:tracePt t="5833" x="6083300" y="2149475"/>
          <p14:tracePt t="5841" x="6083300" y="2209800"/>
          <p14:tracePt t="5849" x="6083300" y="2252663"/>
          <p14:tracePt t="5857" x="6083300" y="2286000"/>
          <p14:tracePt t="5865" x="6091238" y="2311400"/>
          <p14:tracePt t="5874" x="6100763" y="2328863"/>
          <p14:tracePt t="5883" x="6116638" y="2336800"/>
          <p14:tracePt t="5889" x="6126163" y="2344738"/>
          <p14:tracePt t="5897" x="6142038" y="2344738"/>
          <p14:tracePt t="5905" x="6151563" y="2344738"/>
          <p14:tracePt t="5912" x="6176963" y="2336800"/>
          <p14:tracePt t="5921" x="6184900" y="2328863"/>
          <p14:tracePt t="5929" x="6202363" y="2311400"/>
          <p14:tracePt t="5937" x="6235700" y="2260600"/>
          <p14:tracePt t="5944" x="6270625" y="2192338"/>
          <p14:tracePt t="5953" x="6321425" y="2082800"/>
          <p14:tracePt t="5962" x="6380163" y="1989138"/>
          <p14:tracePt t="5968" x="6465888" y="1870075"/>
          <p14:tracePt t="5977" x="6524625" y="1793875"/>
          <p14:tracePt t="5985" x="6550025" y="1741488"/>
          <p14:tracePt t="6106" x="6559550" y="1741488"/>
          <p14:tracePt t="6122" x="6575425" y="1741488"/>
          <p14:tracePt t="6129" x="6524625" y="1766888"/>
          <p14:tracePt t="6137" x="6534150" y="1776413"/>
          <p14:tracePt t="6146" x="6542088" y="1776413"/>
          <p14:tracePt t="6160" x="6550025" y="1776413"/>
          <p14:tracePt t="6168" x="6559550" y="1776413"/>
          <p14:tracePt t="6184" x="6567488" y="1776413"/>
          <p14:tracePt t="6192" x="6575425" y="1776413"/>
          <p14:tracePt t="6233" x="6559550" y="1776413"/>
          <p14:tracePt t="6240" x="6524625" y="1776413"/>
          <p14:tracePt t="6249" x="6483350" y="1776413"/>
          <p14:tracePt t="6257" x="6380163" y="1784350"/>
          <p14:tracePt t="6265" x="6296025" y="1809750"/>
          <p14:tracePt t="6274" x="6151563" y="1819275"/>
          <p14:tracePt t="6281" x="6007100" y="1844675"/>
          <p14:tracePt t="6290" x="5845175" y="1878013"/>
          <p14:tracePt t="6298" x="5718175" y="1928813"/>
          <p14:tracePt t="6306" x="5581650" y="1971675"/>
          <p14:tracePt t="6313" x="5421313" y="2022475"/>
          <p14:tracePt t="6321" x="5318125" y="2073275"/>
          <p14:tracePt t="6329" x="5208588" y="2116138"/>
          <p14:tracePt t="6337" x="5148263" y="2141538"/>
          <p14:tracePt t="6345" x="5097463" y="2159000"/>
          <p14:tracePt t="6353" x="5089525" y="2159000"/>
          <p14:tracePt t="7001" x="5122863" y="2159000"/>
          <p14:tracePt t="7009" x="5224463" y="2149475"/>
          <p14:tracePt t="7017" x="5327650" y="2124075"/>
          <p14:tracePt t="7025" x="5411788" y="2116138"/>
          <p14:tracePt t="7033" x="5497513" y="2082800"/>
          <p14:tracePt t="7041" x="5573713" y="2055813"/>
          <p14:tracePt t="7049" x="5667375" y="2022475"/>
          <p14:tracePt t="7058" x="5726113" y="1997075"/>
          <p14:tracePt t="7066" x="5786438" y="1971675"/>
          <p14:tracePt t="7074" x="5853113" y="1946275"/>
          <p14:tracePt t="7082" x="5930900" y="1911350"/>
          <p14:tracePt t="7089" x="5989638" y="1870075"/>
          <p14:tracePt t="7098" x="6065838" y="1827213"/>
          <p14:tracePt t="7105" x="6142038" y="1776413"/>
          <p14:tracePt t="7113" x="6210300" y="1733550"/>
          <p14:tracePt t="7121" x="6270625" y="1690688"/>
          <p14:tracePt t="7129" x="6311900" y="1665288"/>
          <p14:tracePt t="7137" x="6321425" y="1649413"/>
          <p14:tracePt t="7145" x="6329363" y="1649413"/>
          <p14:tracePt t="7177" x="6303963" y="1649413"/>
          <p14:tracePt t="7185" x="6286500" y="1649413"/>
          <p14:tracePt t="7195" x="6253163" y="1657350"/>
          <p14:tracePt t="7201" x="6227763" y="1665288"/>
          <p14:tracePt t="7209" x="6202363" y="1708150"/>
          <p14:tracePt t="7218" x="6202363" y="1733550"/>
          <p14:tracePt t="7225" x="6219825" y="1784350"/>
          <p14:tracePt t="7233" x="6296025" y="1819275"/>
          <p14:tracePt t="7241" x="6372225" y="1860550"/>
          <p14:tracePt t="7248" x="6516688" y="1903413"/>
          <p14:tracePt t="7257" x="6653213" y="1928813"/>
          <p14:tracePt t="7264" x="6788150" y="1946275"/>
          <p14:tracePt t="7273" x="6873875" y="1946275"/>
          <p14:tracePt t="7281" x="6975475" y="1946275"/>
          <p14:tracePt t="7289" x="7034213" y="1928813"/>
          <p14:tracePt t="7296" x="7069138" y="1928813"/>
          <p14:tracePt t="7305" x="7112000" y="1903413"/>
          <p14:tracePt t="7314" x="7162800" y="1885950"/>
          <p14:tracePt t="7320" x="7221538" y="1852613"/>
          <p14:tracePt t="7329" x="7264400" y="1827213"/>
          <p14:tracePt t="7337" x="7281863" y="1801813"/>
          <p14:tracePt t="7345" x="7307263" y="1784350"/>
          <p14:tracePt t="7353" x="7315200" y="1758950"/>
          <p14:tracePt t="7361" x="7315200" y="1751013"/>
          <p14:tracePt t="7368" x="7315200" y="1733550"/>
          <p14:tracePt t="7378" x="7315200" y="1708150"/>
          <p14:tracePt t="7385" x="7297738" y="1700213"/>
          <p14:tracePt t="7395" x="7289800" y="1682750"/>
          <p14:tracePt t="7401" x="7264400" y="1682750"/>
          <p14:tracePt t="7409" x="7229475" y="1682750"/>
          <p14:tracePt t="7417" x="7204075" y="1682750"/>
          <p14:tracePt t="7425" x="7162800" y="1682750"/>
          <p14:tracePt t="7433" x="7127875" y="1682750"/>
          <p14:tracePt t="7440" x="7085013" y="1682750"/>
          <p14:tracePt t="7448" x="7051675" y="1700213"/>
          <p14:tracePt t="7457" x="7018338" y="1708150"/>
          <p14:tracePt t="7464" x="7000875" y="1716088"/>
          <p14:tracePt t="7912" x="6992938" y="1716088"/>
          <p14:tracePt t="7920" x="6975475" y="1716088"/>
          <p14:tracePt t="7928" x="6915150" y="1733550"/>
          <p14:tracePt t="7936" x="6848475" y="1741488"/>
          <p14:tracePt t="7945" x="6754813" y="1758950"/>
          <p14:tracePt t="7961" x="6600825" y="1835150"/>
          <p14:tracePt t="7968" x="6550025" y="1878013"/>
          <p14:tracePt t="7977" x="6524625" y="1903413"/>
          <p14:tracePt t="7984" x="6508750" y="1938338"/>
          <p14:tracePt t="7993" x="6491288" y="1971675"/>
          <p14:tracePt t="8000" x="6491288" y="1997075"/>
          <p14:tracePt t="8008" x="6491288" y="2022475"/>
          <p14:tracePt t="8016" x="6524625" y="2047875"/>
          <p14:tracePt t="8025" x="6575425" y="2055813"/>
          <p14:tracePt t="8033" x="6618288" y="2055813"/>
          <p14:tracePt t="8040" x="6669088" y="2047875"/>
          <p14:tracePt t="8048" x="6704013" y="2005013"/>
          <p14:tracePt t="8057" x="6754813" y="1963738"/>
          <p14:tracePt t="8064" x="6770688" y="1928813"/>
          <p14:tracePt t="8073" x="6805613" y="1878013"/>
          <p14:tracePt t="8256" x="6797675" y="1885950"/>
          <p14:tracePt t="8273" x="6788150" y="1885950"/>
          <p14:tracePt t="8321" x="6780213" y="1885950"/>
          <p14:tracePt t="8345" x="6770688" y="1885950"/>
          <p14:tracePt t="8361" x="6762750" y="1885950"/>
          <p14:tracePt t="8369" x="6754813" y="1885950"/>
          <p14:tracePt t="8377" x="6745288" y="1885950"/>
          <p14:tracePt t="8386" x="6737350" y="1878013"/>
          <p14:tracePt t="8409" x="6729413" y="1878013"/>
          <p14:tracePt t="8607" x="6737350" y="1878013"/>
          <p14:tracePt t="8616" x="6754813" y="1885950"/>
          <p14:tracePt t="9322" x="6770688" y="1885950"/>
          <p14:tracePt t="9329" x="6780213" y="1878013"/>
          <p14:tracePt t="9337" x="6788150" y="1878013"/>
          <p14:tracePt t="9346" x="6805613" y="1878013"/>
          <p14:tracePt t="9353" x="6823075" y="1878013"/>
          <p14:tracePt t="9362" x="6838950" y="1878013"/>
          <p14:tracePt t="9369" x="6864350" y="1878013"/>
          <p14:tracePt t="9380" x="6881813" y="1878013"/>
          <p14:tracePt t="9385" x="6899275" y="1870075"/>
          <p14:tracePt t="9395" x="6915150" y="1844675"/>
          <p14:tracePt t="9402" x="6915150" y="1819275"/>
          <p14:tracePt t="9411" x="6915150" y="1766888"/>
          <p14:tracePt t="9417" x="6907213" y="1733550"/>
          <p14:tracePt t="9425" x="6899275" y="1725613"/>
          <p14:tracePt t="9576" x="6889750" y="1725613"/>
          <p14:tracePt t="9601" x="6881813" y="1725613"/>
          <p14:tracePt t="9608" x="6873875" y="1725613"/>
          <p14:tracePt t="9616" x="6864350" y="1725613"/>
          <p14:tracePt t="9624" x="6838950" y="1733550"/>
          <p14:tracePt t="9632" x="6823075" y="1741488"/>
          <p14:tracePt t="9640" x="6805613" y="1751013"/>
          <p14:tracePt t="9648" x="6780213" y="1751013"/>
          <p14:tracePt t="9657" x="6762750" y="1751013"/>
          <p14:tracePt t="9665" x="6754813" y="1758950"/>
          <p14:tracePt t="9681" x="6737350" y="1758950"/>
          <p14:tracePt t="9697" x="6729413" y="1766888"/>
          <p14:tracePt t="9714" x="6719888" y="1766888"/>
          <p14:tracePt t="9721" x="6711950" y="1766888"/>
          <p14:tracePt t="11897" x="6704013" y="1766888"/>
          <p14:tracePt t="11905" x="6694488" y="1784350"/>
          <p14:tracePt t="11912" x="6686550" y="1819275"/>
          <p14:tracePt t="11920" x="6678613" y="1860550"/>
          <p14:tracePt t="11928" x="6661150" y="1938338"/>
          <p14:tracePt t="11936" x="6661150" y="2022475"/>
          <p14:tracePt t="11944" x="6661150" y="2108200"/>
          <p14:tracePt t="11952" x="6661150" y="2174875"/>
          <p14:tracePt t="11960" x="6653213" y="2235200"/>
          <p14:tracePt t="11968" x="6653213" y="2268538"/>
          <p14:tracePt t="11976" x="6653213" y="2303463"/>
          <p14:tracePt t="11984" x="6653213" y="2328863"/>
          <p14:tracePt t="11993" x="6653213" y="2354263"/>
          <p14:tracePt t="12000" x="6653213" y="2387600"/>
          <p14:tracePt t="12010" x="6653213" y="2397125"/>
          <p14:tracePt t="12017" x="6653213" y="2422525"/>
          <p14:tracePt t="12025" x="6669088" y="2430463"/>
          <p14:tracePt t="12033" x="6694488" y="2430463"/>
          <p14:tracePt t="12040" x="6704013" y="2430463"/>
          <p14:tracePt t="12049" x="6719888" y="2422525"/>
          <p14:tracePt t="12056" x="6729413" y="2405063"/>
          <p14:tracePt t="12064" x="6729413" y="2379663"/>
          <p14:tracePt t="12073" x="6729413" y="2319338"/>
          <p14:tracePt t="12080" x="6729413" y="2260600"/>
          <p14:tracePt t="12089" x="6694488" y="2174875"/>
          <p14:tracePt t="12096" x="6661150" y="2098675"/>
          <p14:tracePt t="12105" x="6610350" y="1979613"/>
          <p14:tracePt t="12112" x="6610350" y="1971675"/>
          <p14:tracePt t="12353" x="6610350" y="1989138"/>
          <p14:tracePt t="12361" x="6600825" y="1997075"/>
          <p14:tracePt t="12369" x="6600825" y="2014538"/>
          <p14:tracePt t="12378" x="6600825" y="2039938"/>
          <p14:tracePt t="12384" x="6618288" y="2047875"/>
          <p14:tracePt t="12393" x="6626225" y="2055813"/>
          <p14:tracePt t="12400" x="6635750" y="2073275"/>
          <p14:tracePt t="12409" x="6643688" y="2090738"/>
          <p14:tracePt t="12416" x="6653213" y="2098675"/>
          <p14:tracePt t="12424" x="6669088" y="2116138"/>
          <p14:tracePt t="12432" x="6678613" y="2133600"/>
          <p14:tracePt t="12441" x="6686550" y="2149475"/>
          <p14:tracePt t="12448" x="6704013" y="2166938"/>
          <p14:tracePt t="12464" x="6711950" y="2174875"/>
          <p14:tracePt t="12473" x="6711950" y="2184400"/>
          <p14:tracePt t="13265" x="6719888" y="2184400"/>
          <p14:tracePt t="13274" x="6770688" y="2217738"/>
          <p14:tracePt t="13281" x="6873875" y="2293938"/>
          <p14:tracePt t="13290" x="6983413" y="2422525"/>
          <p14:tracePt t="13297" x="7059613" y="2516188"/>
          <p14:tracePt t="13306" x="7077075" y="2592388"/>
          <p14:tracePt t="13313" x="7077075" y="2676525"/>
          <p14:tracePt t="13321" x="7069138" y="2719388"/>
          <p14:tracePt t="13330" x="7008813" y="2787650"/>
          <p14:tracePt t="13337" x="6975475" y="2830513"/>
          <p14:tracePt t="13344" x="6907213" y="2871788"/>
          <p14:tracePt t="13353" x="6831013" y="2922588"/>
          <p14:tracePt t="13361" x="6780213" y="2957513"/>
          <p14:tracePt t="13369" x="6719888" y="2974975"/>
          <p14:tracePt t="13377" x="6686550" y="2990850"/>
          <p14:tracePt t="13385" x="6661150" y="3000375"/>
          <p14:tracePt t="13395" x="6653213" y="3008313"/>
          <p14:tracePt t="13401" x="6635750" y="3008313"/>
          <p14:tracePt t="13410" x="6610350" y="3016250"/>
          <p14:tracePt t="13417" x="6600825" y="3025775"/>
          <p14:tracePt t="13425" x="6559550" y="3025775"/>
          <p14:tracePt t="13433" x="6524625" y="3033713"/>
          <p14:tracePt t="13441" x="6440488" y="3041650"/>
          <p14:tracePt t="13448" x="6380163" y="3051175"/>
          <p14:tracePt t="13457" x="6278563" y="3076575"/>
          <p14:tracePt t="13464" x="6202363" y="3094038"/>
          <p14:tracePt t="13474" x="6083300" y="3109913"/>
          <p14:tracePt t="13480" x="6024563" y="3119438"/>
          <p14:tracePt t="13489" x="5981700" y="3135313"/>
          <p14:tracePt t="13497" x="5913438" y="3170238"/>
          <p14:tracePt t="13504" x="5870575" y="3186113"/>
          <p14:tracePt t="13512" x="5802313" y="3203575"/>
          <p14:tracePt t="13520" x="5768975" y="3221038"/>
          <p14:tracePt t="13528" x="5726113" y="3221038"/>
          <p14:tracePt t="13536" x="5692775" y="3228975"/>
          <p14:tracePt t="13544" x="5649913" y="3246438"/>
          <p14:tracePt t="13552" x="5616575" y="3246438"/>
          <p14:tracePt t="13560" x="5591175" y="3246438"/>
          <p14:tracePt t="13568" x="5573713" y="3246438"/>
          <p14:tracePt t="13577" x="5556250" y="3246438"/>
          <p14:tracePt t="13584" x="5530850" y="3246438"/>
          <p14:tracePt t="13601" x="5522913" y="3246438"/>
          <p14:tracePt t="13633" x="5513388" y="3246438"/>
          <p14:tracePt t="13641" x="5505450" y="3246438"/>
          <p14:tracePt t="13649" x="5472113" y="3246438"/>
          <p14:tracePt t="13657" x="5394325" y="3246438"/>
          <p14:tracePt t="13665" x="5310188" y="3263900"/>
          <p14:tracePt t="13674" x="5183188" y="3279775"/>
          <p14:tracePt t="13681" x="5064125" y="3297238"/>
          <p14:tracePt t="13689" x="4927600" y="3322638"/>
          <p14:tracePt t="13698" x="4808538" y="3340100"/>
          <p14:tracePt t="13706" x="4706938" y="3365500"/>
          <p14:tracePt t="13713" x="4537075" y="3365500"/>
          <p14:tracePt t="13721" x="4410075" y="3365500"/>
          <p14:tracePt t="13728" x="4240213" y="3365500"/>
          <p14:tracePt t="13737" x="4103688" y="3340100"/>
          <p14:tracePt t="13745" x="3951288" y="3314700"/>
          <p14:tracePt t="13753" x="3848100" y="3305175"/>
          <p14:tracePt t="13762" x="3771900" y="3279775"/>
          <p14:tracePt t="13768" x="3713163" y="3271838"/>
          <p14:tracePt t="13778" x="3695700" y="3271838"/>
          <p14:tracePt t="13849" x="3713163" y="3263900"/>
          <p14:tracePt t="13857" x="3738563" y="3263900"/>
          <p14:tracePt t="13865" x="3781425" y="3254375"/>
          <p14:tracePt t="13873" x="3865563" y="3246438"/>
          <p14:tracePt t="13880" x="3951288" y="3246438"/>
          <p14:tracePt t="13889" x="4086225" y="3246438"/>
          <p14:tracePt t="13896" x="4205288" y="3246438"/>
          <p14:tracePt t="13905" x="4316413" y="3246438"/>
          <p14:tracePt t="13912" x="4468813" y="3246438"/>
          <p14:tracePt t="13921" x="4595813" y="3246438"/>
          <p14:tracePt t="13932" x="4740275" y="3246438"/>
          <p14:tracePt t="13936" x="4826000" y="3246438"/>
          <p14:tracePt t="13959" x="4953000" y="3246438"/>
          <p14:tracePt t="13960" x="5013325" y="3246438"/>
          <p14:tracePt t="13968" x="5038725" y="3246438"/>
          <p14:tracePt t="13976" x="5072063" y="3246438"/>
          <p14:tracePt t="13984" x="5106988" y="3246438"/>
          <p14:tracePt t="13992" x="5132388" y="3246438"/>
          <p14:tracePt t="14000" x="5140325" y="3246438"/>
          <p14:tracePt t="14081" x="5157788" y="3246438"/>
          <p14:tracePt t="14090" x="5199063" y="3238500"/>
          <p14:tracePt t="14097" x="5259388" y="3228975"/>
          <p14:tracePt t="14106" x="5368925" y="3211513"/>
          <p14:tracePt t="14114" x="5487988" y="3203575"/>
          <p14:tracePt t="14122" x="5599113" y="3203575"/>
          <p14:tracePt t="14129" x="5743575" y="3203575"/>
          <p14:tracePt t="14136" x="5837238" y="3203575"/>
          <p14:tracePt t="14144" x="5921375" y="3203575"/>
          <p14:tracePt t="14152" x="5964238" y="3203575"/>
          <p14:tracePt t="14160" x="5997575" y="3203575"/>
          <p14:tracePt t="14832" x="6007100" y="3203575"/>
          <p14:tracePt t="14840" x="6024563" y="3211513"/>
          <p14:tracePt t="14848" x="6057900" y="3221038"/>
          <p14:tracePt t="14857" x="6100763" y="3228975"/>
          <p14:tracePt t="14864" x="6167438" y="3228975"/>
          <p14:tracePt t="14873" x="6245225" y="3228975"/>
          <p14:tracePt t="14880" x="6354763" y="3228975"/>
          <p14:tracePt t="14889" x="6465888" y="3228975"/>
          <p14:tracePt t="14897" x="6600825" y="3203575"/>
          <p14:tracePt t="14905" x="6669088" y="3195638"/>
          <p14:tracePt t="14913" x="6745288" y="3170238"/>
          <p14:tracePt t="14921" x="6831013" y="3160713"/>
          <p14:tracePt t="14929" x="6915150" y="3152775"/>
          <p14:tracePt t="14939" x="7008813" y="3127375"/>
          <p14:tracePt t="14946" x="7077075" y="3119438"/>
          <p14:tracePt t="14962" x="7137400" y="3109913"/>
          <p14:tracePt t="14969" x="7153275" y="3109913"/>
          <p14:tracePt t="15033" x="7145338" y="3109913"/>
          <p14:tracePt t="15081" x="7145338" y="3101975"/>
          <p14:tracePt t="15097" x="7137400" y="3094038"/>
          <p14:tracePt t="15106" x="7119938" y="3084513"/>
          <p14:tracePt t="15113" x="7102475" y="3051175"/>
          <p14:tracePt t="15122" x="7102475" y="3041650"/>
          <p14:tracePt t="15377" x="7112000" y="3041650"/>
          <p14:tracePt t="15433" x="7119938" y="3041650"/>
          <p14:tracePt t="15481" x="7112000" y="3041650"/>
          <p14:tracePt t="15490" x="7102475" y="3041650"/>
          <p14:tracePt t="15506" x="7085013" y="3041650"/>
          <p14:tracePt t="15513" x="7059613" y="3025775"/>
          <p14:tracePt t="15522" x="7034213" y="2990850"/>
          <p14:tracePt t="15529" x="6992938" y="2940050"/>
          <p14:tracePt t="15536" x="6958013" y="2889250"/>
          <p14:tracePt t="15544" x="6899275" y="2795588"/>
          <p14:tracePt t="15553" x="6856413" y="2727325"/>
          <p14:tracePt t="15560" x="6797675" y="2643188"/>
          <p14:tracePt t="15569" x="6780213" y="2574925"/>
          <p14:tracePt t="15576" x="6737350" y="2516188"/>
          <p14:tracePt t="15584" x="6704013" y="2447925"/>
          <p14:tracePt t="15593" x="6686550" y="2430463"/>
          <p14:tracePt t="15601" x="6669088" y="2405063"/>
          <p14:tracePt t="15610" x="6661150" y="2387600"/>
          <p14:tracePt t="15617" x="6661150" y="2379663"/>
          <p14:tracePt t="15625" x="6661150" y="2371725"/>
          <p14:tracePt t="15633" x="6661150" y="2354263"/>
          <p14:tracePt t="15640" x="6661150" y="2344738"/>
          <p14:tracePt t="15648" x="6653213" y="2336800"/>
          <p14:tracePt t="15656" x="6653213" y="2328863"/>
          <p14:tracePt t="15673" x="6653213" y="2311400"/>
          <p14:tracePt t="15680" x="6653213" y="2303463"/>
          <p14:tracePt t="15689" x="6643688" y="2303463"/>
          <p14:tracePt t="15696" x="6643688" y="2293938"/>
          <p14:tracePt t="15704" x="6643688" y="2286000"/>
          <p14:tracePt t="15720" x="6635750" y="2278063"/>
          <p14:tracePt t="15728" x="6635750" y="2268538"/>
          <p14:tracePt t="16241" x="6626225" y="2268538"/>
          <p14:tracePt t="16249" x="6618288" y="2268538"/>
          <p14:tracePt t="16257" x="6584950" y="2268538"/>
          <p14:tracePt t="16265" x="6524625" y="2252663"/>
          <p14:tracePt t="16274" x="6473825" y="2217738"/>
          <p14:tracePt t="16281" x="6415088" y="2192338"/>
          <p14:tracePt t="16290" x="6321425" y="2133600"/>
          <p14:tracePt t="16298" x="6270625" y="2090738"/>
          <p14:tracePt t="16306" x="6219825" y="2039938"/>
          <p14:tracePt t="16312" x="6184900" y="2005013"/>
          <p14:tracePt t="16321" x="6142038" y="1963738"/>
          <p14:tracePt t="16329" x="6134100" y="1938338"/>
          <p14:tracePt t="16338" x="6126163" y="1920875"/>
          <p14:tracePt t="16344" x="6126163" y="1903413"/>
          <p14:tracePt t="16353" x="6134100" y="1895475"/>
          <p14:tracePt t="16361" x="6176963" y="1885950"/>
          <p14:tracePt t="16368" x="6194425" y="1885950"/>
          <p14:tracePt t="16377" x="6235700" y="1885950"/>
          <p14:tracePt t="16385" x="6261100" y="1885950"/>
          <p14:tracePt t="16393" x="6311900" y="1885950"/>
          <p14:tracePt t="16401" x="6338888" y="1885950"/>
          <p14:tracePt t="16410" x="6364288" y="1903413"/>
          <p14:tracePt t="16624" x="6372225" y="1903413"/>
          <p14:tracePt t="16648" x="6364288" y="1903413"/>
          <p14:tracePt t="16656" x="6338888" y="1911350"/>
          <p14:tracePt t="16664" x="6329363" y="1911350"/>
          <p14:tracePt t="16680" x="6321425" y="1911350"/>
          <p14:tracePt t="16696" x="6321425" y="1903413"/>
          <p14:tracePt t="16712" x="6321425" y="1895475"/>
          <p14:tracePt t="16719" x="6321425" y="1885950"/>
          <p14:tracePt t="17041" x="6321425" y="1878013"/>
          <p14:tracePt t="17274" x="6338888" y="1878013"/>
          <p14:tracePt t="17281" x="6346825" y="1878013"/>
          <p14:tracePt t="17290" x="6364288" y="1878013"/>
          <p14:tracePt t="17297" x="6389688" y="1878013"/>
          <p14:tracePt t="17306" x="6405563" y="1885950"/>
          <p14:tracePt t="17313" x="6440488" y="1903413"/>
          <p14:tracePt t="17322" x="6465888" y="1920875"/>
          <p14:tracePt t="17329" x="6499225" y="1928813"/>
          <p14:tracePt t="17337" x="6524625" y="1928813"/>
          <p14:tracePt t="17345" x="6550025" y="1946275"/>
          <p14:tracePt t="17353" x="6567488" y="1954213"/>
          <p14:tracePt t="17361" x="6592888" y="1963738"/>
          <p14:tracePt t="17368" x="6626225" y="1971675"/>
          <p14:tracePt t="17376" x="6643688" y="1989138"/>
          <p14:tracePt t="17385" x="6669088" y="1997075"/>
          <p14:tracePt t="17393" x="6694488" y="2005013"/>
          <p14:tracePt t="17401" x="6719888" y="2014538"/>
          <p14:tracePt t="17410" x="6762750" y="2030413"/>
          <p14:tracePt t="17417" x="6788150" y="2047875"/>
          <p14:tracePt t="17425" x="6813550" y="2055813"/>
          <p14:tracePt t="17433" x="6838950" y="2065338"/>
          <p14:tracePt t="17441" x="6856413" y="2073275"/>
          <p14:tracePt t="17449" x="6873875" y="2082800"/>
          <p14:tracePt t="17457" x="6899275" y="2098675"/>
          <p14:tracePt t="17465" x="6915150" y="2108200"/>
          <p14:tracePt t="17473" x="6932613" y="2124075"/>
          <p14:tracePt t="17480" x="6950075" y="2133600"/>
          <p14:tracePt t="17489" x="6967538" y="2141538"/>
          <p14:tracePt t="17497" x="6992938" y="2149475"/>
          <p14:tracePt t="17506" x="7000875" y="2149475"/>
          <p14:tracePt t="17512" x="7008813" y="2159000"/>
          <p14:tracePt t="17521" x="7018338" y="2159000"/>
          <p14:tracePt t="17593" x="7018338" y="2166938"/>
          <p14:tracePt t="17601" x="7018338" y="2174875"/>
          <p14:tracePt t="17610" x="7018338" y="2192338"/>
          <p14:tracePt t="17617" x="7018338" y="2209800"/>
          <p14:tracePt t="17626" x="7018338" y="2217738"/>
          <p14:tracePt t="17632" x="7018338" y="2243138"/>
          <p14:tracePt t="17639" x="7018338" y="2268538"/>
          <p14:tracePt t="17648" x="7018338" y="2278063"/>
          <p14:tracePt t="17656" x="7018338" y="2303463"/>
          <p14:tracePt t="17664" x="7018338" y="2311400"/>
          <p14:tracePt t="17672" x="7018338" y="2328863"/>
          <p14:tracePt t="17680" x="7018338" y="2336800"/>
          <p14:tracePt t="17697" x="7018338" y="2344738"/>
          <p14:tracePt t="17706" x="7026275" y="2344738"/>
          <p14:tracePt t="17761" x="7026275" y="2354263"/>
          <p14:tracePt t="17769" x="7018338" y="2362200"/>
          <p14:tracePt t="17777" x="7000875" y="2371725"/>
          <p14:tracePt t="17785" x="6967538" y="2379663"/>
          <p14:tracePt t="17794" x="6932613" y="2397125"/>
          <p14:tracePt t="17801" x="6899275" y="2413000"/>
          <p14:tracePt t="17812" x="6864350" y="2422525"/>
          <p14:tracePt t="17817" x="6813550" y="2438400"/>
          <p14:tracePt t="17827" x="6780213" y="2463800"/>
          <p14:tracePt t="17833" x="6762750" y="2463800"/>
          <p14:tracePt t="17842" x="6737350" y="2473325"/>
          <p14:tracePt t="17849" x="6704013" y="2489200"/>
          <p14:tracePt t="17857" x="6669088" y="2498725"/>
          <p14:tracePt t="17865" x="6635750" y="2506663"/>
          <p14:tracePt t="17873" x="6592888" y="2506663"/>
          <p14:tracePt t="17880" x="6559550" y="2516188"/>
          <p14:tracePt t="17889" x="6516688" y="2516188"/>
          <p14:tracePt t="17897" x="6483350" y="2524125"/>
          <p14:tracePt t="17905" x="6448425" y="2532063"/>
          <p14:tracePt t="17912" x="6430963" y="2532063"/>
          <p14:tracePt t="17921" x="6423025" y="2532063"/>
          <p14:tracePt t="17929" x="6415088" y="2532063"/>
          <p14:tracePt t="17945" x="6423025" y="2532063"/>
          <p14:tracePt t="17961" x="6483350" y="2473325"/>
          <p14:tracePt t="17968" x="6534150" y="2430463"/>
          <p14:tracePt t="17978" x="6600825" y="2387600"/>
          <p14:tracePt t="17985" x="6653213" y="2354263"/>
          <p14:tracePt t="17993" x="6704013" y="2311400"/>
          <p14:tracePt t="18001" x="6737350" y="2286000"/>
          <p14:tracePt t="18010" x="6797675" y="2268538"/>
          <p14:tracePt t="18129" x="6823075" y="2268538"/>
          <p14:tracePt t="18137" x="6848475" y="2268538"/>
          <p14:tracePt t="18145" x="6864350" y="2268538"/>
          <p14:tracePt t="18153" x="6873875" y="2268538"/>
          <p14:tracePt t="18169" x="6889750" y="2278063"/>
          <p14:tracePt t="18178" x="6899275" y="2278063"/>
          <p14:tracePt t="18193" x="6907213" y="2286000"/>
          <p14:tracePt t="18201" x="6915150" y="2286000"/>
          <p14:tracePt t="18241" x="6907213" y="2286000"/>
          <p14:tracePt t="18248" x="6889750" y="2286000"/>
          <p14:tracePt t="18257" x="6881813" y="2286000"/>
          <p14:tracePt t="18265" x="6873875" y="2286000"/>
          <p14:tracePt t="18274" x="6856413" y="2286000"/>
          <p14:tracePt t="18280" x="6848475" y="2286000"/>
          <p14:tracePt t="18289" x="6838950" y="2286000"/>
          <p14:tracePt t="18297" x="6823075" y="2286000"/>
          <p14:tracePt t="18312" x="6797675" y="2286000"/>
          <p14:tracePt t="18320" x="6780213" y="2293938"/>
          <p14:tracePt t="18328" x="6762750" y="2293938"/>
          <p14:tracePt t="18336" x="6729413" y="2303463"/>
          <p14:tracePt t="18344" x="6704013" y="2303463"/>
          <p14:tracePt t="18352" x="6694488" y="2311400"/>
          <p14:tracePt t="18360" x="6669088" y="2311400"/>
          <p14:tracePt t="18368" x="6653213" y="2311400"/>
          <p14:tracePt t="18497" x="6669088" y="2303463"/>
          <p14:tracePt t="18506" x="6678613" y="2303463"/>
          <p14:tracePt t="18513" x="6711950" y="2286000"/>
          <p14:tracePt t="18521" x="6737350" y="2278063"/>
          <p14:tracePt t="18528" x="6762750" y="2260600"/>
          <p14:tracePt t="18537" x="6780213" y="2252663"/>
          <p14:tracePt t="18545" x="6788150" y="2235200"/>
          <p14:tracePt t="18553" x="6805613" y="2217738"/>
          <p14:tracePt t="18560" x="6813550" y="2217738"/>
          <p14:tracePt t="18568" x="6823075" y="2209800"/>
          <p14:tracePt t="18577" x="6823075" y="2200275"/>
          <p14:tracePt t="18626" x="6823075" y="2192338"/>
          <p14:tracePt t="18633" x="6813550" y="2192338"/>
          <p14:tracePt t="18641" x="6797675" y="2184400"/>
          <p14:tracePt t="18649" x="6762750" y="2166938"/>
          <p14:tracePt t="18659" x="6711950" y="2133600"/>
          <p14:tracePt t="18666" x="6661150" y="2098675"/>
          <p14:tracePt t="18674" x="6584950" y="2039938"/>
          <p14:tracePt t="18681" x="6508750" y="1997075"/>
          <p14:tracePt t="18690" x="6440488" y="1954213"/>
          <p14:tracePt t="18697" x="6354763" y="1911350"/>
          <p14:tracePt t="18706" x="6286500" y="1885950"/>
          <p14:tracePt t="18714" x="6245225" y="1870075"/>
          <p14:tracePt t="18720" x="6210300" y="1860550"/>
          <p14:tracePt t="18729" x="6184900" y="1852613"/>
          <p14:tracePt t="18737" x="6176963" y="1844675"/>
          <p14:tracePt t="18833" x="6184900" y="1844675"/>
          <p14:tracePt t="18849" x="6194425" y="1844675"/>
          <p14:tracePt t="18938" x="6194425" y="1835150"/>
          <p14:tracePt t="19474" x="6184900" y="1835150"/>
          <p14:tracePt t="19481" x="6167438" y="1835150"/>
          <p14:tracePt t="19490" x="6151563" y="1835150"/>
          <p14:tracePt t="19496" x="6116638" y="1835150"/>
          <p14:tracePt t="19504" x="6040438" y="1844675"/>
          <p14:tracePt t="19511" x="5972175" y="1852613"/>
          <p14:tracePt t="19520" x="5870575" y="1878013"/>
          <p14:tracePt t="19528" x="5776913" y="1920875"/>
          <p14:tracePt t="19536" x="5675313" y="1971675"/>
          <p14:tracePt t="19544" x="5556250" y="2039938"/>
          <p14:tracePt t="19552" x="5497513" y="2073275"/>
          <p14:tracePt t="19560" x="5386388" y="2133600"/>
          <p14:tracePt t="19568" x="5335588" y="2159000"/>
          <p14:tracePt t="19577" x="5259388" y="2227263"/>
          <p14:tracePt t="19584" x="5199063" y="2260600"/>
          <p14:tracePt t="19593" x="5148263" y="2286000"/>
          <p14:tracePt t="19601" x="5114925" y="2319338"/>
          <p14:tracePt t="19609" x="5089525" y="2336800"/>
          <p14:tracePt t="19617" x="5072063" y="2354263"/>
          <p14:tracePt t="19626" x="5054600" y="2362200"/>
          <p14:tracePt t="19633" x="5054600" y="2371725"/>
          <p14:tracePt t="19657" x="5064125" y="2379663"/>
          <p14:tracePt t="19665" x="5106988" y="2387600"/>
          <p14:tracePt t="19674" x="5157788" y="2413000"/>
          <p14:tracePt t="19681" x="5241925" y="2422525"/>
          <p14:tracePt t="19690" x="5327650" y="2430463"/>
          <p14:tracePt t="19697" x="5429250" y="2438400"/>
          <p14:tracePt t="19706" x="5565775" y="2438400"/>
          <p14:tracePt t="19715" x="5667375" y="2438400"/>
          <p14:tracePt t="19722" x="5811838" y="2430463"/>
          <p14:tracePt t="19730" x="5913438" y="2413000"/>
          <p14:tracePt t="19737" x="6024563" y="2397125"/>
          <p14:tracePt t="19745" x="6083300" y="2379663"/>
          <p14:tracePt t="19753" x="6134100" y="2371725"/>
          <p14:tracePt t="19792" x="6116638" y="2371725"/>
          <p14:tracePt t="19800" x="6091238" y="2371725"/>
          <p14:tracePt t="19809" x="6040438" y="2362200"/>
          <p14:tracePt t="19817" x="5972175" y="2362200"/>
          <p14:tracePt t="19826" x="5845175" y="2362200"/>
          <p14:tracePt t="19833" x="5718175" y="2362200"/>
          <p14:tracePt t="19840" x="5548313" y="2362200"/>
          <p14:tracePt t="19848" x="5233988" y="2362200"/>
          <p14:tracePt t="19857" x="4945063" y="2362200"/>
          <p14:tracePt t="19865" x="4476750" y="2362200"/>
          <p14:tracePt t="19873" x="4187825" y="2362200"/>
          <p14:tracePt t="19880" x="3873500" y="2362200"/>
          <p14:tracePt t="19889" x="3695700" y="2362200"/>
          <p14:tracePt t="19896" x="3568700" y="2362200"/>
          <p14:tracePt t="19905" x="3517900" y="2362200"/>
          <p14:tracePt t="19912" x="3482975" y="2362200"/>
          <p14:tracePt t="19921" x="3475038" y="2362200"/>
          <p14:tracePt t="19953" x="3482975" y="2362200"/>
          <p14:tracePt t="19960" x="3517900" y="2362200"/>
          <p14:tracePt t="19968" x="3586163" y="2354263"/>
          <p14:tracePt t="19978" x="3652838" y="2354263"/>
          <p14:tracePt t="19984" x="3756025" y="2354263"/>
          <p14:tracePt t="19993" x="3900488" y="2354263"/>
          <p14:tracePt t="20000" x="4010025" y="2354263"/>
          <p14:tracePt t="20010" x="4137025" y="2354263"/>
          <p14:tracePt t="20017" x="4222750" y="2354263"/>
          <p14:tracePt t="20026" x="4306888" y="2354263"/>
          <p14:tracePt t="20032" x="4341813" y="2354263"/>
          <p14:tracePt t="20041" x="4349750" y="2354263"/>
          <p14:tracePt t="20073" x="4332288" y="2354263"/>
          <p14:tracePt t="20080" x="4298950" y="2354263"/>
          <p14:tracePt t="20089" x="4256088" y="2354263"/>
          <p14:tracePt t="20096" x="4214813" y="2354263"/>
          <p14:tracePt t="20104" x="4129088" y="2354263"/>
          <p14:tracePt t="20112" x="4060825" y="2354263"/>
          <p14:tracePt t="20120" x="3984625" y="2354263"/>
          <p14:tracePt t="20128" x="3933825" y="2354263"/>
          <p14:tracePt t="20137" x="3848100" y="2354263"/>
          <p14:tracePt t="20144" x="3789363" y="2354263"/>
          <p14:tracePt t="20153" x="3713163" y="2354263"/>
          <p14:tracePt t="20160" x="3670300" y="2354263"/>
          <p14:tracePt t="20168" x="3586163" y="2354263"/>
          <p14:tracePt t="20176" x="3543300" y="2344738"/>
          <p14:tracePt t="20185" x="3482975" y="2336800"/>
          <p14:tracePt t="20193" x="3432175" y="2328863"/>
          <p14:tracePt t="20200" x="3406775" y="2328863"/>
          <p14:tracePt t="20209" x="3355975" y="2319338"/>
          <p14:tracePt t="20216" x="3348038" y="2311400"/>
          <p14:tracePt t="20226" x="3322638" y="2311400"/>
          <p14:tracePt t="20232" x="3305175" y="2311400"/>
          <p14:tracePt t="20281" x="3297238" y="2311400"/>
          <p14:tracePt t="20297" x="3287713" y="2311400"/>
          <p14:tracePt t="20313" x="3279775" y="2311400"/>
          <p14:tracePt t="20321" x="3270250" y="2311400"/>
          <p14:tracePt t="20329" x="3262313" y="2311400"/>
          <p14:tracePt t="20344" x="3254375" y="2311400"/>
          <p14:tracePt t="20369" x="3244850" y="2311400"/>
          <p14:tracePt t="20408" x="3219450" y="2311400"/>
          <p14:tracePt t="20417" x="3194050" y="2311400"/>
          <p14:tracePt t="20425" x="3178175" y="2319338"/>
          <p14:tracePt t="20433" x="3152775" y="2319338"/>
          <p14:tracePt t="20440" x="3117850" y="2328863"/>
          <p14:tracePt t="20448" x="3109913" y="2328863"/>
          <p14:tracePt t="20457" x="3084513" y="2336800"/>
          <p14:tracePt t="20464" x="3067050" y="2336800"/>
          <p14:tracePt t="20593" x="3059113" y="2336800"/>
          <p14:tracePt t="20601" x="3049588" y="2336800"/>
          <p14:tracePt t="20609" x="3033713" y="2344738"/>
          <p14:tracePt t="20617" x="3016250" y="2344738"/>
          <p14:tracePt t="20628" x="2982913" y="2354263"/>
          <p14:tracePt t="20634" x="2947988" y="2362200"/>
          <p14:tracePt t="20641" x="2905125" y="2371725"/>
          <p14:tracePt t="20649" x="2863850" y="2371725"/>
          <p14:tracePt t="20656" x="2803525" y="2379663"/>
          <p14:tracePt t="20665" x="2744788" y="2405063"/>
          <p14:tracePt t="20672" x="2651125" y="2413000"/>
          <p14:tracePt t="20680" x="2608263" y="2422525"/>
          <p14:tracePt t="20688" x="2565400" y="2430463"/>
          <p14:tracePt t="20696" x="2514600" y="2438400"/>
          <p14:tracePt t="20704" x="2506663" y="2438400"/>
          <p14:tracePt t="20712" x="2497138" y="2438400"/>
          <p14:tracePt t="20720" x="2489200" y="2438400"/>
          <p14:tracePt t="20865" x="2481263" y="2438400"/>
          <p14:tracePt t="21074" x="2497138" y="2438400"/>
          <p14:tracePt t="21081" x="2514600" y="2438400"/>
          <p14:tracePt t="21090" x="2565400" y="2430463"/>
          <p14:tracePt t="21097" x="2616200" y="2430463"/>
          <p14:tracePt t="21106" x="2668588" y="2422525"/>
          <p14:tracePt t="21113" x="2770188" y="2413000"/>
          <p14:tracePt t="21121" x="2838450" y="2413000"/>
          <p14:tracePt t="21129" x="2947988" y="2413000"/>
          <p14:tracePt t="21137" x="3008313" y="2413000"/>
          <p14:tracePt t="21145" x="3092450" y="2413000"/>
          <p14:tracePt t="21153" x="3152775" y="2413000"/>
          <p14:tracePt t="21161" x="3194050" y="2413000"/>
          <p14:tracePt t="21168" x="3219450" y="2413000"/>
          <p14:tracePt t="21177" x="3228975" y="2413000"/>
          <p14:tracePt t="21240" x="3211513" y="2413000"/>
          <p14:tracePt t="21249" x="3194050" y="2413000"/>
          <p14:tracePt t="21257" x="3186113" y="2413000"/>
          <p14:tracePt t="21265" x="3168650" y="2413000"/>
          <p14:tracePt t="21274" x="3160713" y="2413000"/>
          <p14:tracePt t="21280" x="3152775" y="2413000"/>
          <p14:tracePt t="21288" x="3143250" y="2413000"/>
          <p14:tracePt t="21328" x="3127375" y="2413000"/>
          <p14:tracePt t="21336" x="3117850" y="2405063"/>
          <p14:tracePt t="21353" x="3109913" y="2397125"/>
          <p14:tracePt t="21360" x="3092450" y="2397125"/>
          <p14:tracePt t="21376" x="3084513" y="2387600"/>
          <p14:tracePt t="21425" x="3084513" y="2379663"/>
          <p14:tracePt t="21433" x="3092450" y="2371725"/>
          <p14:tracePt t="21441" x="3117850" y="2362200"/>
          <p14:tracePt t="21449" x="3152775" y="2354263"/>
          <p14:tracePt t="21458" x="3178175" y="2336800"/>
          <p14:tracePt t="21465" x="3194050" y="2328863"/>
          <p14:tracePt t="21474" x="3219450" y="2311400"/>
          <p14:tracePt t="21482" x="3236913" y="2311400"/>
          <p14:tracePt t="21490" x="3254375" y="2303463"/>
          <p14:tracePt t="21496" x="3262313" y="2293938"/>
          <p14:tracePt t="21512" x="3270250" y="2293938"/>
          <p14:tracePt t="22137" x="3305175" y="2293938"/>
          <p14:tracePt t="22145" x="3363913" y="2303463"/>
          <p14:tracePt t="22153" x="3441700" y="2328863"/>
          <p14:tracePt t="22161" x="3508375" y="2354263"/>
          <p14:tracePt t="22169" x="3586163" y="2387600"/>
          <p14:tracePt t="22178" x="3627438" y="2387600"/>
          <p14:tracePt t="22185" x="3670300" y="2387600"/>
          <p14:tracePt t="22194" x="3703638" y="2387600"/>
          <p14:tracePt t="22202" x="3729038" y="2387600"/>
          <p14:tracePt t="22211" x="3756025" y="2362200"/>
          <p14:tracePt t="22217" x="3771900" y="2336800"/>
          <p14:tracePt t="22409" x="3738563" y="2336800"/>
          <p14:tracePt t="22417" x="3721100" y="2336800"/>
          <p14:tracePt t="22426" x="3703638" y="2336800"/>
          <p14:tracePt t="22433" x="3687763" y="2336800"/>
          <p14:tracePt t="22441" x="3670300" y="2336800"/>
          <p14:tracePt t="22481" x="3670300" y="2344738"/>
          <p14:tracePt t="22490" x="3670300" y="2354263"/>
          <p14:tracePt t="22497" x="3670300" y="2371725"/>
          <p14:tracePt t="22506" x="3670300" y="2379663"/>
          <p14:tracePt t="22513" x="3662363" y="2387600"/>
          <p14:tracePt t="22521" x="3652838" y="2413000"/>
          <p14:tracePt t="22528" x="3652838" y="2447925"/>
          <p14:tracePt t="22537" x="3644900" y="2489200"/>
          <p14:tracePt t="22546" x="3644900" y="2532063"/>
          <p14:tracePt t="22553" x="3644900" y="2608263"/>
          <p14:tracePt t="22561" x="3652838" y="2668588"/>
          <p14:tracePt t="22569" x="3713163" y="2762250"/>
          <p14:tracePt t="22577" x="3781425" y="2838450"/>
          <p14:tracePt t="22585" x="3890963" y="2932113"/>
          <p14:tracePt t="22593" x="3967163" y="2990850"/>
          <p14:tracePt t="22601" x="4070350" y="3041650"/>
          <p14:tracePt t="22609" x="4197350" y="3094038"/>
          <p14:tracePt t="22617" x="4273550" y="3127375"/>
          <p14:tracePt t="22626" x="4367213" y="3144838"/>
          <p14:tracePt t="22633" x="4425950" y="3160713"/>
          <p14:tracePt t="22640" x="4476750" y="3160713"/>
          <p14:tracePt t="22649" x="4503738" y="3160713"/>
          <p14:tracePt t="22657" x="4511675" y="3160713"/>
          <p14:tracePt t="22665" x="4519613" y="3160713"/>
          <p14:tracePt t="23177" x="4545013" y="3160713"/>
          <p14:tracePt t="23185" x="4587875" y="3160713"/>
          <p14:tracePt t="23193" x="4673600" y="3144838"/>
          <p14:tracePt t="23201" x="4833938" y="3119438"/>
          <p14:tracePt t="23210" x="5003800" y="3084513"/>
          <p14:tracePt t="23217" x="5224463" y="3051175"/>
          <p14:tracePt t="23227" x="5378450" y="3041650"/>
          <p14:tracePt t="23233" x="5565775" y="3041650"/>
          <p14:tracePt t="23241" x="5692775" y="3041650"/>
          <p14:tracePt t="23249" x="5837238" y="3041650"/>
          <p14:tracePt t="23258" x="5938838" y="3059113"/>
          <p14:tracePt t="23265" x="6083300" y="3076575"/>
          <p14:tracePt t="23275" x="6219825" y="3101975"/>
          <p14:tracePt t="23281" x="6354763" y="3135313"/>
          <p14:tracePt t="23290" x="6456363" y="3170238"/>
          <p14:tracePt t="23297" x="6542088" y="3203575"/>
          <p14:tracePt t="23306" x="6635750" y="3254375"/>
          <p14:tracePt t="23314" x="6678613" y="3271838"/>
          <p14:tracePt t="23322" x="6719888" y="3289300"/>
          <p14:tracePt t="23329" x="6729413" y="3289300"/>
          <p14:tracePt t="23337" x="6737350" y="3297238"/>
          <p14:tracePt t="23345" x="6745288" y="3297238"/>
          <p14:tracePt t="23361" x="6745288" y="3314700"/>
          <p14:tracePt t="23368" x="6754813" y="3330575"/>
          <p14:tracePt t="23377" x="6770688" y="3365500"/>
          <p14:tracePt t="23385" x="6788150" y="3373438"/>
          <p14:tracePt t="23393" x="6813550" y="3382963"/>
          <p14:tracePt t="23401" x="6823075" y="3382963"/>
          <p14:tracePt t="23409" x="6838950" y="3382963"/>
          <p14:tracePt t="23417" x="6856413" y="3373438"/>
          <p14:tracePt t="23426" x="6856413" y="3365500"/>
          <p14:tracePt t="23433" x="6864350" y="3355975"/>
          <p14:tracePt t="23552" x="6873875" y="3355975"/>
          <p14:tracePt t="23560" x="6881813" y="3355975"/>
          <p14:tracePt t="23569" x="6889750" y="3348038"/>
          <p14:tracePt t="23577" x="6899275" y="3348038"/>
          <p14:tracePt t="23585" x="6907213" y="3348038"/>
          <p14:tracePt t="23601" x="6915150" y="3348038"/>
          <p14:tracePt t="23626" x="6915150" y="3340100"/>
          <p14:tracePt t="23633" x="6924675" y="3330575"/>
          <p14:tracePt t="23642" x="6915150" y="3330575"/>
          <p14:tracePt t="23661" x="6889750" y="3330575"/>
          <p14:tracePt t="23665" x="6856413" y="3340100"/>
          <p14:tracePt t="23674" x="6823075" y="3373438"/>
          <p14:tracePt t="23681" x="6745288" y="3441700"/>
          <p14:tracePt t="23690" x="6653213" y="3509963"/>
          <p14:tracePt t="23697" x="6542088" y="3578225"/>
          <p14:tracePt t="23706" x="6380163" y="3697288"/>
          <p14:tracePt t="23714" x="6261100" y="3781425"/>
          <p14:tracePt t="23722" x="6142038" y="3883025"/>
          <p14:tracePt t="23729" x="6075363" y="3925888"/>
          <p14:tracePt t="23737" x="6040438" y="3951288"/>
          <p14:tracePt t="23745" x="6015038" y="3960813"/>
          <p14:tracePt t="23753" x="6007100" y="3968750"/>
          <p14:tracePt t="24329" x="5989638" y="3951288"/>
          <p14:tracePt t="24337" x="5981700" y="3925888"/>
          <p14:tracePt t="24346" x="5964238" y="3900488"/>
          <p14:tracePt t="24353" x="5938838" y="3867150"/>
          <p14:tracePt t="24362" x="5913438" y="3841750"/>
          <p14:tracePt t="24369" x="5870575" y="3773488"/>
          <p14:tracePt t="24378" x="5827713" y="3722688"/>
          <p14:tracePt t="24385" x="5786438" y="3662363"/>
          <p14:tracePt t="24394" x="5751513" y="3619500"/>
          <p14:tracePt t="24401" x="5683250" y="3560763"/>
          <p14:tracePt t="24409" x="5641975" y="3509963"/>
          <p14:tracePt t="24417" x="5607050" y="3492500"/>
          <p14:tracePt t="24426" x="5573713" y="3459163"/>
          <p14:tracePt t="24433" x="5556250" y="3449638"/>
          <p14:tracePt t="24441" x="5548313" y="3449638"/>
          <p14:tracePt t="24481" x="5573713" y="3441700"/>
          <p14:tracePt t="24489" x="5607050" y="3441700"/>
          <p14:tracePt t="24496" x="5649913" y="3441700"/>
          <p14:tracePt t="24506" x="5700713" y="3449638"/>
          <p14:tracePt t="24512" x="5751513" y="3475038"/>
          <p14:tracePt t="24520" x="5776913" y="3475038"/>
          <p14:tracePt t="24528" x="5811838" y="3475038"/>
          <p14:tracePt t="24536" x="5819775" y="3475038"/>
          <p14:tracePt t="24544" x="5827713" y="3467100"/>
          <p14:tracePt t="24552" x="5837238" y="3459163"/>
          <p14:tracePt t="24729" x="5837238" y="3449638"/>
          <p14:tracePt t="24769" x="5827713" y="3449638"/>
          <p14:tracePt t="24785" x="5819775" y="3449638"/>
          <p14:tracePt t="24841" x="5811838" y="3449638"/>
          <p14:tracePt t="24849" x="5802313" y="3449638"/>
          <p14:tracePt t="24858" x="5794375" y="3449638"/>
          <p14:tracePt t="24881" x="5786438" y="3449638"/>
          <p14:tracePt t="24890" x="5776913" y="3449638"/>
          <p14:tracePt t="24929" x="5768975" y="3459163"/>
          <p14:tracePt t="24937" x="5768975" y="3467100"/>
          <p14:tracePt t="24954" x="5768975" y="3475038"/>
          <p14:tracePt t="24961" x="5768975" y="3484563"/>
          <p14:tracePt t="24968" x="5768975" y="3492500"/>
          <p14:tracePt t="25016" x="5776913" y="3492500"/>
          <p14:tracePt t="25033" x="5786438" y="3492500"/>
          <p14:tracePt t="25048" x="5794375" y="3492500"/>
          <p14:tracePt t="25208" x="5802313" y="3492500"/>
          <p14:tracePt t="25216" x="5819775" y="3492500"/>
          <p14:tracePt t="25224" x="5853113" y="3492500"/>
          <p14:tracePt t="25233" x="5913438" y="3492500"/>
          <p14:tracePt t="25240" x="5972175" y="3475038"/>
          <p14:tracePt t="25248" x="6057900" y="3475038"/>
          <p14:tracePt t="25257" x="6116638" y="3475038"/>
          <p14:tracePt t="25264" x="6184900" y="3475038"/>
          <p14:tracePt t="25273" x="6227763" y="3475038"/>
          <p14:tracePt t="25280" x="6278563" y="3467100"/>
          <p14:tracePt t="25289" x="6321425" y="3459163"/>
          <p14:tracePt t="25296" x="6354763" y="3449638"/>
          <p14:tracePt t="25305" x="6380163" y="3441700"/>
          <p14:tracePt t="25312" x="6389688" y="3441700"/>
          <p14:tracePt t="25321" x="6415088" y="3433763"/>
          <p14:tracePt t="25328" x="6423025" y="3433763"/>
          <p14:tracePt t="25337" x="6430963" y="3424238"/>
          <p14:tracePt t="25344" x="6440488" y="3416300"/>
          <p14:tracePt t="25353" x="6448425" y="3416300"/>
          <p14:tracePt t="25360" x="6448425" y="3408363"/>
          <p14:tracePt t="25377" x="6456363" y="3398838"/>
          <p14:tracePt t="25385" x="6456363" y="3382963"/>
          <p14:tracePt t="25393" x="6456363" y="3373438"/>
          <p14:tracePt t="25401" x="6456363" y="3355975"/>
          <p14:tracePt t="25409" x="6456363" y="3330575"/>
          <p14:tracePt t="25417" x="6448425" y="3322638"/>
          <p14:tracePt t="25425" x="6440488" y="3314700"/>
          <p14:tracePt t="25592" x="6423025" y="3314700"/>
          <p14:tracePt t="25608" x="6397625" y="3314700"/>
          <p14:tracePt t="25616" x="6389688" y="3314700"/>
          <p14:tracePt t="25640" x="6372225" y="3322638"/>
          <p14:tracePt t="25648" x="6354763" y="3340100"/>
          <p14:tracePt t="25658" x="6346825" y="3340100"/>
          <p14:tracePt t="25665" x="6329363" y="3340100"/>
          <p14:tracePt t="25673" x="6321425" y="3348038"/>
          <p14:tracePt t="25681" x="6311900" y="3348038"/>
          <p14:tracePt t="25689" x="6303963" y="3348038"/>
          <p14:tracePt t="25696" x="6286500" y="3348038"/>
          <p14:tracePt t="25721" x="6278563" y="3348038"/>
          <p14:tracePt t="25881" x="6278563" y="3330575"/>
          <p14:tracePt t="25890" x="6270625" y="3330575"/>
          <p14:tracePt t="25897" x="6253163" y="3314700"/>
          <p14:tracePt t="25906" x="6235700" y="3305175"/>
          <p14:tracePt t="25913" x="6194425" y="3297238"/>
          <p14:tracePt t="25921" x="6159500" y="3289300"/>
          <p14:tracePt t="25931" x="6126163" y="3279775"/>
          <p14:tracePt t="25938" x="6108700" y="3279775"/>
          <p14:tracePt t="25945" x="6083300" y="3271838"/>
          <p14:tracePt t="25952" x="6057900" y="3271838"/>
          <p14:tracePt t="25960" x="6049963" y="3271838"/>
          <p14:tracePt t="25970" x="6032500" y="3271838"/>
          <p14:tracePt t="25976" x="6015038" y="3271838"/>
          <p14:tracePt t="25985" x="6007100" y="3271838"/>
          <p14:tracePt t="25992" x="5997575" y="3271838"/>
          <p14:tracePt t="26001" x="5981700" y="3271838"/>
          <p14:tracePt t="26009" x="5972175" y="3271838"/>
          <p14:tracePt t="26016" x="5964238" y="3271838"/>
          <p14:tracePt t="26025" x="5946775" y="3271838"/>
          <p14:tracePt t="26033" x="5938838" y="3271838"/>
          <p14:tracePt t="26041" x="5930900" y="3271838"/>
          <p14:tracePt t="26048" x="5921375" y="3271838"/>
          <p14:tracePt t="26057" x="5905500" y="3271838"/>
          <p14:tracePt t="26064" x="5895975" y="3271838"/>
          <p14:tracePt t="26073" x="5880100" y="3279775"/>
          <p14:tracePt t="26080" x="5862638" y="3279775"/>
          <p14:tracePt t="26096" x="5853113" y="3289300"/>
          <p14:tracePt t="26137" x="5862638" y="3297238"/>
          <p14:tracePt t="26145" x="5880100" y="3314700"/>
          <p14:tracePt t="26153" x="5930900" y="3330575"/>
          <p14:tracePt t="26162" x="5972175" y="3348038"/>
          <p14:tracePt t="26169" x="6049963" y="3373438"/>
          <p14:tracePt t="26177" x="6108700" y="3373438"/>
          <p14:tracePt t="26185" x="6176963" y="3382963"/>
          <p14:tracePt t="26193" x="6210300" y="3390900"/>
          <p14:tracePt t="26201" x="6253163" y="3390900"/>
          <p14:tracePt t="26209" x="6278563" y="3390900"/>
          <p14:tracePt t="26216" x="6286500" y="3390900"/>
          <p14:tracePt t="26226" x="6296025" y="3390900"/>
          <p14:tracePt t="26233" x="6296025" y="3382963"/>
          <p14:tracePt t="26242" x="6296025" y="3373438"/>
          <p14:tracePt t="26248" x="6296025" y="3365500"/>
          <p14:tracePt t="26259" x="6303963" y="3348038"/>
          <p14:tracePt t="26265" x="6303963" y="3330575"/>
          <p14:tracePt t="26273" x="6296025" y="3314700"/>
          <p14:tracePt t="26425" x="6296025" y="3330575"/>
          <p14:tracePt t="26433" x="6303963" y="3330575"/>
          <p14:tracePt t="26441" x="6311900" y="3348038"/>
          <p14:tracePt t="26448" x="6311900" y="3355975"/>
          <p14:tracePt t="26457" x="6311900" y="3365500"/>
          <p14:tracePt t="26472" x="6321425" y="3365500"/>
          <p14:tracePt t="26480" x="6321425" y="3373438"/>
          <p14:tracePt t="26504" x="6321425" y="3382963"/>
          <p14:tracePt t="26520" x="6311900" y="3382963"/>
          <p14:tracePt t="26528" x="6296025" y="3390900"/>
          <p14:tracePt t="26537" x="6278563" y="3390900"/>
          <p14:tracePt t="26544" x="6261100" y="3390900"/>
          <p14:tracePt t="26553" x="6245225" y="3390900"/>
          <p14:tracePt t="26560" x="6227763" y="3390900"/>
          <p14:tracePt t="26568" x="6202363" y="3390900"/>
          <p14:tracePt t="26576" x="6176963" y="3390900"/>
          <p14:tracePt t="26585" x="6151563" y="3390900"/>
          <p14:tracePt t="26593" x="6116638" y="3398838"/>
          <p14:tracePt t="26600" x="6065838" y="3408363"/>
          <p14:tracePt t="26609" x="6049963" y="3408363"/>
          <p14:tracePt t="26616" x="6024563" y="3408363"/>
          <p14:tracePt t="26626" x="6015038" y="3408363"/>
          <p14:tracePt t="26633" x="6007100" y="3408363"/>
          <p14:tracePt t="26642" x="5997575" y="3408363"/>
          <p14:tracePt t="26745" x="5989638" y="3408363"/>
          <p14:tracePt t="26769" x="5981700" y="3408363"/>
          <p14:tracePt t="26777" x="5964238" y="3408363"/>
          <p14:tracePt t="26793" x="5956300" y="3408363"/>
          <p14:tracePt t="26802" x="5946775" y="3408363"/>
          <p14:tracePt t="26818" x="5938838" y="3408363"/>
          <p14:tracePt t="26840" x="5930900" y="3408363"/>
          <p14:tracePt t="26848" x="5921375" y="3408363"/>
          <p14:tracePt t="26872" x="5913438" y="3408363"/>
          <p14:tracePt t="26880" x="5895975" y="3408363"/>
          <p14:tracePt t="26888" x="5888038" y="3408363"/>
          <p14:tracePt t="26896" x="5870575" y="3408363"/>
          <p14:tracePt t="26904" x="5845175" y="3408363"/>
          <p14:tracePt t="26912" x="5827713" y="3408363"/>
          <p14:tracePt t="26920" x="5811838" y="3398838"/>
          <p14:tracePt t="26928" x="5786438" y="3390900"/>
          <p14:tracePt t="26936" x="5776913" y="3390900"/>
          <p14:tracePt t="26958" x="5735638" y="3365500"/>
          <p14:tracePt t="26960" x="5718175" y="3355975"/>
          <p14:tracePt t="26968" x="5700713" y="3348038"/>
          <p14:tracePt t="26976" x="5683250" y="3340100"/>
          <p14:tracePt t="26984" x="5667375" y="3340100"/>
          <p14:tracePt t="26992" x="5649913" y="3340100"/>
          <p14:tracePt t="27000" x="5632450" y="3330575"/>
          <p14:tracePt t="27008" x="5607050" y="3322638"/>
          <p14:tracePt t="27016" x="5565775" y="3314700"/>
          <p14:tracePt t="27024" x="5530850" y="3305175"/>
          <p14:tracePt t="27032" x="5462588" y="3297238"/>
          <p14:tracePt t="27041" x="5386388" y="3279775"/>
          <p14:tracePt t="27048" x="5284788" y="3263900"/>
          <p14:tracePt t="27056" x="5199063" y="3238500"/>
          <p14:tracePt t="27064" x="5080000" y="3203575"/>
          <p14:tracePt t="27073" x="4970463" y="3195638"/>
          <p14:tracePt t="27080" x="4868863" y="3170238"/>
          <p14:tracePt t="27089" x="4740275" y="3144838"/>
          <p14:tracePt t="27096" x="4638675" y="3127375"/>
          <p14:tracePt t="27105" x="4503738" y="3101975"/>
          <p14:tracePt t="27112" x="4435475" y="3094038"/>
          <p14:tracePt t="27120" x="4349750" y="3076575"/>
          <p14:tracePt t="27128" x="4298950" y="3067050"/>
          <p14:tracePt t="27136" x="4256088" y="3059113"/>
          <p14:tracePt t="27144" x="4222750" y="3059113"/>
          <p14:tracePt t="27152" x="4214813" y="3051175"/>
          <p14:tracePt t="27160" x="4205288" y="3051175"/>
          <p14:tracePt t="27201" x="4222750" y="3051175"/>
          <p14:tracePt t="27209" x="4256088" y="3051175"/>
          <p14:tracePt t="27217" x="4273550" y="3051175"/>
          <p14:tracePt t="27227" x="4306888" y="3033713"/>
          <p14:tracePt t="27233" x="4349750" y="3008313"/>
          <p14:tracePt t="27244" x="4349750" y="3000375"/>
          <p14:tracePt t="27425" x="4367213" y="3000375"/>
          <p14:tracePt t="27433" x="4349750" y="3000375"/>
          <p14:tracePt t="27442" x="4341813" y="3016250"/>
          <p14:tracePt t="27449" x="4316413" y="3016250"/>
          <p14:tracePt t="27460" x="4298950" y="3016250"/>
          <p14:tracePt t="27465" x="4273550" y="3016250"/>
          <p14:tracePt t="27474" x="4256088" y="3016250"/>
          <p14:tracePt t="27481" x="4230688" y="3016250"/>
          <p14:tracePt t="27490" x="4205288" y="3016250"/>
          <p14:tracePt t="27497" x="4179888" y="3016250"/>
          <p14:tracePt t="27506" x="4137025" y="3016250"/>
          <p14:tracePt t="27513" x="4111625" y="3016250"/>
          <p14:tracePt t="27521" x="4052888" y="3016250"/>
          <p14:tracePt t="27529" x="3984625" y="3016250"/>
          <p14:tracePt t="27537" x="3883025" y="3016250"/>
          <p14:tracePt t="27545" x="3797300" y="3016250"/>
          <p14:tracePt t="27553" x="3662363" y="3016250"/>
          <p14:tracePt t="27560" x="3543300" y="3016250"/>
          <p14:tracePt t="27568" x="3432175" y="3016250"/>
          <p14:tracePt t="27577" x="3305175" y="3016250"/>
          <p14:tracePt t="27585" x="3203575" y="3016250"/>
          <p14:tracePt t="27593" x="3084513" y="3016250"/>
          <p14:tracePt t="27601" x="2998788" y="3016250"/>
          <p14:tracePt t="27609" x="2914650" y="3016250"/>
          <p14:tracePt t="27617" x="2879725" y="3016250"/>
          <p14:tracePt t="27627" x="2854325" y="3016250"/>
          <p14:tracePt t="27633" x="2846388" y="3016250"/>
          <p14:tracePt t="28249" x="2838450" y="3016250"/>
          <p14:tracePt t="28259" x="2811463" y="3016250"/>
          <p14:tracePt t="28265" x="2786063" y="3025775"/>
          <p14:tracePt t="28275" x="2752725" y="3051175"/>
          <p14:tracePt t="28281" x="2727325" y="3076575"/>
          <p14:tracePt t="28290" x="2709863" y="3101975"/>
          <p14:tracePt t="28297" x="2676525" y="3135313"/>
          <p14:tracePt t="28307" x="2668588" y="3160713"/>
          <p14:tracePt t="28315" x="2668588" y="3195638"/>
          <p14:tracePt t="28321" x="2668588" y="3228975"/>
          <p14:tracePt t="28329" x="2684463" y="3246438"/>
          <p14:tracePt t="28337" x="2744788" y="3271838"/>
          <p14:tracePt t="28345" x="2863850" y="3279775"/>
          <p14:tracePt t="28353" x="2990850" y="3279775"/>
          <p14:tracePt t="28360" x="3127375" y="3279775"/>
          <p14:tracePt t="28369" x="3363913" y="3279775"/>
          <p14:tracePt t="28376" x="3576638" y="3279775"/>
          <p14:tracePt t="28385" x="3883025" y="3228975"/>
          <p14:tracePt t="28393" x="4078288" y="3186113"/>
          <p14:tracePt t="28401" x="4367213" y="3119438"/>
          <p14:tracePt t="28409" x="4476750" y="3101975"/>
          <p14:tracePt t="28416" x="4605338" y="3084513"/>
          <p14:tracePt t="28427" x="4689475" y="3067050"/>
          <p14:tracePt t="28433" x="4749800" y="3059113"/>
          <p14:tracePt t="28442" x="4826000" y="3051175"/>
          <p14:tracePt t="28449" x="4868863" y="3041650"/>
          <p14:tracePt t="28459" x="4919663" y="3041650"/>
          <p14:tracePt t="28465" x="4962525" y="3041650"/>
          <p14:tracePt t="28474" x="5029200" y="3041650"/>
          <p14:tracePt t="28481" x="5080000" y="3059113"/>
          <p14:tracePt t="28489" x="5165725" y="3094038"/>
          <p14:tracePt t="28496" x="5233988" y="3127375"/>
          <p14:tracePt t="28506" x="5267325" y="3160713"/>
          <p14:tracePt t="28512" x="5318125" y="3203575"/>
          <p14:tracePt t="28521" x="5343525" y="3211513"/>
          <p14:tracePt t="28528" x="5343525" y="3221038"/>
          <p14:tracePt t="28545" x="5327650" y="3221038"/>
          <p14:tracePt t="28760" x="5335588" y="3228975"/>
          <p14:tracePt t="28768" x="5343525" y="3238500"/>
          <p14:tracePt t="28777" x="5353050" y="3238500"/>
          <p14:tracePt t="28785" x="5353050" y="3254375"/>
          <p14:tracePt t="28793" x="5360988" y="3263900"/>
          <p14:tracePt t="28810" x="5360988" y="3279775"/>
          <p14:tracePt t="28816" x="5353050" y="3289300"/>
          <p14:tracePt t="28848" x="5343525" y="3289300"/>
          <p14:tracePt t="28857" x="5343525" y="3305175"/>
          <p14:tracePt t="28864" x="5343525" y="3314700"/>
          <p14:tracePt t="28873" x="5343525" y="3322638"/>
          <p14:tracePt t="28880" x="5343525" y="3340100"/>
          <p14:tracePt t="28888" x="5343525" y="3348038"/>
          <p14:tracePt t="28897" x="5343525" y="3355975"/>
          <p14:tracePt t="28906" x="5343525" y="3365500"/>
          <p14:tracePt t="28912" x="5343525" y="3373438"/>
          <p14:tracePt t="28928" x="5343525" y="3382963"/>
          <p14:tracePt t="28937" x="5343525" y="3390900"/>
          <p14:tracePt t="29464" x="5335588" y="3390900"/>
          <p14:tracePt t="29473" x="5327650" y="3390900"/>
          <p14:tracePt t="29480" x="5310188" y="3390900"/>
          <p14:tracePt t="29488" x="5302250" y="3390900"/>
          <p14:tracePt t="29505" x="5284788" y="3390900"/>
          <p14:tracePt t="29512" x="5276850" y="3390900"/>
          <p14:tracePt t="29585" x="5284788" y="3390900"/>
          <p14:tracePt t="29593" x="5310188" y="3390900"/>
          <p14:tracePt t="29601" x="5335588" y="3390900"/>
          <p14:tracePt t="29609" x="5368925" y="3373438"/>
          <p14:tracePt t="29617" x="5394325" y="3355975"/>
          <p14:tracePt t="29625" x="5386388" y="3355975"/>
          <p14:tracePt t="29632" x="5360988" y="3365500"/>
          <p14:tracePt t="29890" x="5353050" y="3355975"/>
          <p14:tracePt t="29913" x="5353050" y="3348038"/>
          <p14:tracePt t="29929" x="5353050" y="3340100"/>
          <p14:tracePt t="29969" x="5353050" y="3330575"/>
          <p14:tracePt t="30113" x="5353050" y="3348038"/>
          <p14:tracePt t="30120" x="5353050" y="3355975"/>
          <p14:tracePt t="30128" x="5353050" y="3365500"/>
          <p14:tracePt t="30136" x="5353050" y="3382963"/>
          <p14:tracePt t="30144" x="5360988" y="3382963"/>
          <p14:tracePt t="30152" x="5368925" y="3390900"/>
          <p14:tracePt t="30160" x="5368925" y="3398838"/>
          <p14:tracePt t="30168" x="5378450" y="3398838"/>
          <p14:tracePt t="30184" x="5378450" y="3408363"/>
          <p14:tracePt t="30296" x="5386388" y="3416300"/>
          <p14:tracePt t="30304" x="5394325" y="3424238"/>
          <p14:tracePt t="30312" x="5394325" y="3433763"/>
          <p14:tracePt t="30320" x="5403850" y="3441700"/>
          <p14:tracePt t="30328" x="5429250" y="3449638"/>
          <p14:tracePt t="30336" x="5437188" y="3459163"/>
          <p14:tracePt t="30344" x="5454650" y="3475038"/>
          <p14:tracePt t="30352" x="5472113" y="3492500"/>
          <p14:tracePt t="30360" x="5505450" y="3509963"/>
          <p14:tracePt t="30368" x="5538788" y="3517900"/>
          <p14:tracePt t="30376" x="5573713" y="3535363"/>
          <p14:tracePt t="30384" x="5616575" y="3552825"/>
          <p14:tracePt t="30392" x="5649913" y="3560763"/>
          <p14:tracePt t="30400" x="5718175" y="3586163"/>
          <p14:tracePt t="30409" x="5751513" y="3603625"/>
          <p14:tracePt t="30416" x="5786438" y="3619500"/>
          <p14:tracePt t="30424" x="5811838" y="3629025"/>
          <p14:tracePt t="30432" x="5819775" y="3636963"/>
          <p14:tracePt t="30441" x="5827713" y="3636963"/>
          <p14:tracePt t="30481" x="5827713" y="3646488"/>
          <p14:tracePt t="30488" x="5811838" y="3654425"/>
          <p14:tracePt t="30497" x="5776913" y="3679825"/>
          <p14:tracePt t="30505" x="5761038" y="3697288"/>
          <p14:tracePt t="30512" x="5726113" y="3722688"/>
          <p14:tracePt t="30521" x="5708650" y="3738563"/>
          <p14:tracePt t="30528" x="5675313" y="3773488"/>
          <p14:tracePt t="30537" x="5657850" y="3806825"/>
          <p14:tracePt t="30544" x="5641975" y="3832225"/>
          <p14:tracePt t="30553" x="5632450" y="3849688"/>
          <p14:tracePt t="30561" x="5632450" y="3867150"/>
          <p14:tracePt t="30569" x="5632450" y="3875088"/>
          <p14:tracePt t="30584" x="5632450" y="3883025"/>
          <p14:tracePt t="30649" x="5641975" y="3867150"/>
          <p14:tracePt t="30659" x="5649913" y="3841750"/>
          <p14:tracePt t="30666" x="5649913" y="3832225"/>
          <p14:tracePt t="30674" x="5657850" y="3806825"/>
          <p14:tracePt t="30681" x="5657850" y="3790950"/>
          <p14:tracePt t="30690" x="5657850" y="3773488"/>
          <p14:tracePt t="30697" x="5649913" y="3763963"/>
          <p14:tracePt t="30865" x="5657850" y="3763963"/>
          <p14:tracePt t="30890" x="5657850" y="3773488"/>
          <p14:tracePt t="30897" x="5649913" y="3773488"/>
          <p14:tracePt t="30906" x="5649913" y="3781425"/>
          <p14:tracePt t="30913" x="5641975" y="3781425"/>
          <p14:tracePt t="30921" x="5641975" y="3790950"/>
          <p14:tracePt t="30937" x="5657850" y="3790950"/>
          <p14:tracePt t="30944" x="5657850" y="3798888"/>
          <p14:tracePt t="31024" x="5649913" y="3798888"/>
          <p14:tracePt t="31490" x="5649913" y="3790950"/>
          <p14:tracePt t="31497" x="5649913" y="3756025"/>
          <p14:tracePt t="31506" x="5641975" y="3730625"/>
          <p14:tracePt t="31513" x="5641975" y="3687763"/>
          <p14:tracePt t="31521" x="5632450" y="3603625"/>
          <p14:tracePt t="31530" x="5607050" y="3527425"/>
          <p14:tracePt t="31537" x="5591175" y="3416300"/>
          <p14:tracePt t="31545" x="5573713" y="3297238"/>
          <p14:tracePt t="31553" x="5513388" y="3170238"/>
          <p14:tracePt t="31560" x="5480050" y="3076575"/>
          <p14:tracePt t="31568" x="5437188" y="2974975"/>
          <p14:tracePt t="31577" x="5403850" y="2914650"/>
          <p14:tracePt t="31585" x="5368925" y="2871788"/>
          <p14:tracePt t="31592" x="5353050" y="2830513"/>
          <p14:tracePt t="31600" x="5343525" y="2805113"/>
          <p14:tracePt t="31608" x="5335588" y="2778125"/>
          <p14:tracePt t="31616" x="5335588" y="2770188"/>
          <p14:tracePt t="31624" x="5327650" y="2762250"/>
          <p14:tracePt t="31697" x="5335588" y="2762250"/>
          <p14:tracePt t="31729" x="5335588" y="2770188"/>
          <p14:tracePt t="32064" x="5335588" y="2778125"/>
          <p14:tracePt t="32088" x="5353050" y="2778125"/>
          <p14:tracePt t="32097" x="5368925" y="2770188"/>
          <p14:tracePt t="32105" x="5368925" y="2762250"/>
          <p14:tracePt t="32121" x="5368925" y="2752725"/>
          <p14:tracePt t="32128" x="5368925" y="2736850"/>
          <p14:tracePt t="32136" x="5368925" y="2711450"/>
          <p14:tracePt t="32144" x="5368925" y="2668588"/>
          <p14:tracePt t="32153" x="5360988" y="2608263"/>
          <p14:tracePt t="32161" x="5327650" y="2516188"/>
          <p14:tracePt t="32169" x="5284788" y="2455863"/>
          <p14:tracePt t="32176" x="5233988" y="2405063"/>
          <p14:tracePt t="32185" x="5165725" y="2311400"/>
          <p14:tracePt t="32193" x="5089525" y="2268538"/>
          <p14:tracePt t="32201" x="4995863" y="2184400"/>
          <p14:tracePt t="32209" x="4927600" y="2141538"/>
          <p14:tracePt t="32217" x="4868863" y="2098675"/>
          <p14:tracePt t="32226" x="4791075" y="2055813"/>
          <p14:tracePt t="32233" x="4740275" y="2022475"/>
          <p14:tracePt t="32242" x="4689475" y="2005013"/>
          <p14:tracePt t="32249" x="4664075" y="1997075"/>
          <p14:tracePt t="32259" x="4646613" y="1989138"/>
          <p14:tracePt t="32274" x="4646613" y="1979613"/>
          <p14:tracePt t="32289" x="4638675" y="1979613"/>
          <p14:tracePt t="32312" x="4638675" y="1997075"/>
          <p14:tracePt t="32320" x="4638675" y="2005013"/>
          <p14:tracePt t="32328" x="4664075" y="2055813"/>
          <p14:tracePt t="32336" x="4681538" y="2116138"/>
          <p14:tracePt t="32344" x="4749800" y="2192338"/>
          <p14:tracePt t="32352" x="4808538" y="2260600"/>
          <p14:tracePt t="32360" x="4859338" y="2354263"/>
          <p14:tracePt t="32368" x="4962525" y="2473325"/>
          <p14:tracePt t="32376" x="5029200" y="2574925"/>
          <p14:tracePt t="32384" x="5132388" y="2719388"/>
          <p14:tracePt t="32392" x="5216525" y="2813050"/>
          <p14:tracePt t="32400" x="5318125" y="2957513"/>
          <p14:tracePt t="32408" x="5386388" y="3051175"/>
          <p14:tracePt t="32416" x="5472113" y="3152775"/>
          <p14:tracePt t="32426" x="5513388" y="3228975"/>
          <p14:tracePt t="32433" x="5548313" y="3305175"/>
          <p14:tracePt t="32441" x="5581650" y="3382963"/>
          <p14:tracePt t="32448" x="5591175" y="3416300"/>
          <p14:tracePt t="32458" x="5591175" y="3475038"/>
          <p14:tracePt t="32464" x="5591175" y="3484563"/>
          <p14:tracePt t="32473" x="5591175" y="3509963"/>
          <p14:tracePt t="32489" x="5591175" y="3517900"/>
          <p14:tracePt t="32497" x="5573713" y="3517900"/>
          <p14:tracePt t="32512" x="5556250" y="3527425"/>
          <p14:tracePt t="32520" x="5548313" y="3527425"/>
          <p14:tracePt t="32528" x="5522913" y="3527425"/>
          <p14:tracePt t="32536" x="5513388" y="3527425"/>
          <p14:tracePt t="32544" x="5505450" y="3527425"/>
          <p14:tracePt t="32632" x="5522913" y="3527425"/>
          <p14:tracePt t="32648" x="5538788" y="3502025"/>
          <p14:tracePt t="32658" x="5565775" y="3475038"/>
          <p14:tracePt t="32664" x="5573713" y="3441700"/>
          <p14:tracePt t="32674" x="5581650" y="3416300"/>
          <p14:tracePt t="32681" x="5591175" y="3390900"/>
          <p14:tracePt t="32688" x="5591175" y="3348038"/>
          <p14:tracePt t="32696" x="5591175" y="3314700"/>
          <p14:tracePt t="32705" x="5581650" y="3263900"/>
          <p14:tracePt t="32712" x="5556250" y="3195638"/>
          <p14:tracePt t="32720" x="5497513" y="3076575"/>
          <p14:tracePt t="32728" x="5454650" y="2974975"/>
          <p14:tracePt t="32736" x="5403850" y="2871788"/>
          <p14:tracePt t="32744" x="5310188" y="2752725"/>
          <p14:tracePt t="32753" x="5249863" y="2668588"/>
          <p14:tracePt t="32761" x="5157788" y="2566988"/>
          <p14:tracePt t="32769" x="5106988" y="2516188"/>
          <p14:tracePt t="32777" x="5046663" y="2481263"/>
          <p14:tracePt t="32785" x="5003800" y="2455863"/>
          <p14:tracePt t="32793" x="4987925" y="2430463"/>
          <p14:tracePt t="32801" x="4978400" y="2413000"/>
          <p14:tracePt t="32809" x="4978400" y="2405063"/>
          <p14:tracePt t="32817" x="4970463" y="2397125"/>
          <p14:tracePt t="32826" x="4970463" y="2387600"/>
          <p14:tracePt t="32849" x="4970463" y="2379663"/>
          <p14:tracePt t="32960" x="4970463" y="2387600"/>
          <p14:tracePt t="32968" x="4987925" y="2422525"/>
          <p14:tracePt t="32976" x="5038725" y="2489200"/>
          <p14:tracePt t="32985" x="5089525" y="2549525"/>
          <p14:tracePt t="32993" x="5165725" y="2660650"/>
          <p14:tracePt t="33000" x="5233988" y="2752725"/>
          <p14:tracePt t="33011" x="5360988" y="2863850"/>
          <p14:tracePt t="33017" x="5454650" y="2965450"/>
          <p14:tracePt t="33026" x="5548313" y="3059113"/>
          <p14:tracePt t="33032" x="5675313" y="3195638"/>
          <p14:tracePt t="33041" x="5751513" y="3271838"/>
          <p14:tracePt t="33048" x="5862638" y="3340100"/>
          <p14:tracePt t="33059" x="5895975" y="3390900"/>
          <p14:tracePt t="33064" x="5938838" y="3424238"/>
          <p14:tracePt t="33072" x="5964238" y="3433763"/>
          <p14:tracePt t="33120" x="5964238" y="3441700"/>
          <p14:tracePt t="34490" x="5972175" y="3441700"/>
          <p14:tracePt t="34537" x="5964238" y="3441700"/>
          <p14:tracePt t="34545" x="5930900" y="3416300"/>
          <p14:tracePt t="34553" x="5895975" y="3390900"/>
          <p14:tracePt t="34562" x="5827713" y="3340100"/>
          <p14:tracePt t="34569" x="5794375" y="3305175"/>
          <p14:tracePt t="34577" x="5726113" y="3263900"/>
          <p14:tracePt t="34585" x="5692775" y="3228975"/>
          <p14:tracePt t="34594" x="5624513" y="3186113"/>
          <p14:tracePt t="34600" x="5591175" y="3152775"/>
          <p14:tracePt t="34609" x="5565775" y="3144838"/>
          <p14:tracePt t="34616" x="5548313" y="3135313"/>
          <p14:tracePt t="34627" x="5538788" y="3127375"/>
          <p14:tracePt t="34633" x="5530850" y="3119438"/>
          <p14:tracePt t="35506" x="5530850" y="3109913"/>
          <p14:tracePt t="35513" x="5530850" y="3101975"/>
          <p14:tracePt t="35561" x="5538788" y="3101975"/>
          <p14:tracePt t="35569" x="5538788" y="3109913"/>
          <p14:tracePt t="35577" x="5556250" y="3144838"/>
          <p14:tracePt t="35586" x="5591175" y="3221038"/>
          <p14:tracePt t="35593" x="5624513" y="3279775"/>
          <p14:tracePt t="35601" x="5641975" y="3355975"/>
          <p14:tracePt t="35610" x="5692775" y="3441700"/>
          <p14:tracePt t="35618" x="5735638" y="3517900"/>
          <p14:tracePt t="35627" x="5794375" y="3611563"/>
          <p14:tracePt t="35633" x="5853113" y="3687763"/>
          <p14:tracePt t="35643" x="5938838" y="3798888"/>
          <p14:tracePt t="35649" x="6024563" y="3867150"/>
          <p14:tracePt t="35660" x="6126163" y="3951288"/>
          <p14:tracePt t="35665" x="6202363" y="4002088"/>
          <p14:tracePt t="35674" x="6253163" y="4044950"/>
          <p14:tracePt t="35682" x="6329363" y="4079875"/>
          <p14:tracePt t="35690" x="6380163" y="4087813"/>
          <p14:tracePt t="35697" x="6405563" y="4095750"/>
          <p14:tracePt t="35705" x="6415088" y="4105275"/>
          <p14:tracePt t="35712" x="6423025" y="4105275"/>
          <p14:tracePt t="35737" x="6423025" y="4095750"/>
          <p14:tracePt t="35745" x="6423025" y="4070350"/>
          <p14:tracePt t="35753" x="6423025" y="4044950"/>
          <p14:tracePt t="35761" x="6423025" y="4002088"/>
          <p14:tracePt t="35769" x="6389688" y="3951288"/>
          <p14:tracePt t="35777" x="6372225" y="3917950"/>
          <p14:tracePt t="35784" x="6338888" y="3875088"/>
          <p14:tracePt t="35793" x="6311900" y="3849688"/>
          <p14:tracePt t="35801" x="6261100" y="3824288"/>
          <p14:tracePt t="35809" x="6235700" y="3806825"/>
          <p14:tracePt t="35817" x="6210300" y="3781425"/>
          <p14:tracePt t="35825" x="6176963" y="3756025"/>
          <p14:tracePt t="35833" x="6159500" y="3738563"/>
          <p14:tracePt t="35842" x="6151563" y="3713163"/>
          <p14:tracePt t="35848" x="6134100" y="3697288"/>
          <p14:tracePt t="35859" x="6134100" y="3679825"/>
          <p14:tracePt t="35865" x="6126163" y="3654425"/>
          <p14:tracePt t="35873" x="6100763" y="3629025"/>
          <p14:tracePt t="35881" x="6083300" y="3603625"/>
          <p14:tracePt t="35888" x="6065838" y="3568700"/>
          <p14:tracePt t="35897" x="6024563" y="3517900"/>
          <p14:tracePt t="35905" x="5989638" y="3492500"/>
          <p14:tracePt t="35912" x="5938838" y="3449638"/>
          <p14:tracePt t="35920" x="5905500" y="3433763"/>
          <p14:tracePt t="35928" x="5880100" y="3416300"/>
          <p14:tracePt t="35937" x="5853113" y="3408363"/>
          <p14:tracePt t="35945" x="5827713" y="3398838"/>
          <p14:tracePt t="35962" x="5819775" y="3398838"/>
          <p14:tracePt t="35969" x="5811838" y="3398838"/>
          <p14:tracePt t="35977" x="5802313" y="3398838"/>
          <p14:tracePt t="35985" x="5794375" y="3398838"/>
          <p14:tracePt t="35992" x="5786438" y="3398838"/>
          <p14:tracePt t="36001" x="5776913" y="3398838"/>
          <p14:tracePt t="36013" x="5768975" y="3398838"/>
          <p14:tracePt t="36016" x="5761038" y="3398838"/>
          <p14:tracePt t="36026" x="5751513" y="3398838"/>
          <p14:tracePt t="36033" x="5743575" y="3398838"/>
          <p14:tracePt t="36042" x="5735638" y="3398838"/>
          <p14:tracePt t="36060" x="5718175" y="3398838"/>
          <p14:tracePt t="36075" x="5708650" y="3390900"/>
          <p14:tracePt t="36088" x="5700713" y="3390900"/>
          <p14:tracePt t="36458" x="5700713" y="3382963"/>
          <p14:tracePt t="36465" x="5692775" y="3382963"/>
          <p14:tracePt t="36481" x="5675313" y="3382963"/>
          <p14:tracePt t="36490" x="5667375" y="3382963"/>
          <p14:tracePt t="36497" x="5667375" y="3373438"/>
          <p14:tracePt t="36507" x="5657850" y="3373438"/>
          <p14:tracePt t="36521" x="5649913" y="3365500"/>
          <p14:tracePt t="36529" x="5641975" y="3355975"/>
          <p14:tracePt t="36546" x="5641975" y="3322638"/>
          <p14:tracePt t="36553" x="5632450" y="3305175"/>
          <p14:tracePt t="36561" x="5599113" y="3246438"/>
          <p14:tracePt t="36569" x="5581650" y="3195638"/>
          <p14:tracePt t="36578" x="5538788" y="3144838"/>
          <p14:tracePt t="36584" x="5522913" y="3109913"/>
          <p14:tracePt t="36592" x="5497513" y="3084513"/>
          <p14:tracePt t="36601" x="5497513" y="3076575"/>
          <p14:tracePt t="36609" x="5487988" y="3067050"/>
          <p14:tracePt t="36617" x="5480050" y="3059113"/>
          <p14:tracePt t="37049" x="5505450" y="3041650"/>
          <p14:tracePt t="37059" x="5538788" y="3025775"/>
          <p14:tracePt t="37065" x="5581650" y="3000375"/>
          <p14:tracePt t="37076" x="5607050" y="2974975"/>
          <p14:tracePt t="37081" x="5624513" y="2949575"/>
          <p14:tracePt t="37090" x="5624513" y="2932113"/>
          <p14:tracePt t="37099" x="5632450" y="2906713"/>
          <p14:tracePt t="37105" x="5641975" y="2897188"/>
          <p14:tracePt t="37112" x="5641975" y="2889250"/>
          <p14:tracePt t="37144" x="5649913" y="2881313"/>
          <p14:tracePt t="37153" x="5649913" y="2871788"/>
          <p14:tracePt t="37160" x="5657850" y="2871788"/>
          <p14:tracePt t="37168" x="5675313" y="2863850"/>
          <p14:tracePt t="37176" x="5692775" y="2846388"/>
          <p14:tracePt t="37185" x="5700713" y="2838450"/>
          <p14:tracePt t="37193" x="5718175" y="2820988"/>
          <p14:tracePt t="37201" x="5735638" y="2820988"/>
          <p14:tracePt t="37224" x="5735638" y="2813050"/>
          <p14:tracePt t="37241" x="5718175" y="2813050"/>
          <p14:tracePt t="37249" x="5692775" y="2813050"/>
          <p14:tracePt t="37258" x="5641975" y="2813050"/>
          <p14:tracePt t="37265" x="5624513" y="2820988"/>
          <p14:tracePt t="37409" x="5607050" y="2820988"/>
          <p14:tracePt t="37417" x="5599113" y="2820988"/>
          <p14:tracePt t="37426" x="5641975" y="2820988"/>
          <p14:tracePt t="37433" x="5649913" y="2820988"/>
          <p14:tracePt t="37444" x="5649913" y="2830513"/>
          <p14:tracePt t="37481" x="5632450" y="2830513"/>
          <p14:tracePt t="37490" x="5632450" y="2820988"/>
          <p14:tracePt t="37497" x="5641975" y="2820988"/>
          <p14:tracePt t="37505" x="5641975" y="2813050"/>
          <p14:tracePt t="37512" x="5649913" y="2813050"/>
          <p14:tracePt t="37544" x="5649913" y="2805113"/>
          <p14:tracePt t="38169" x="5649913" y="2813050"/>
          <p14:tracePt t="38177" x="5649913" y="2846388"/>
          <p14:tracePt t="38185" x="5683250" y="2932113"/>
          <p14:tracePt t="38194" x="5692775" y="3016250"/>
          <p14:tracePt t="38201" x="5743575" y="3127375"/>
          <p14:tracePt t="38210" x="5776913" y="3203575"/>
          <p14:tracePt t="38217" x="5819775" y="3314700"/>
          <p14:tracePt t="38227" x="5853113" y="3390900"/>
          <p14:tracePt t="38233" x="5888038" y="3467100"/>
          <p14:tracePt t="38243" x="5913438" y="3517900"/>
          <p14:tracePt t="38249" x="5930900" y="3552825"/>
          <p14:tracePt t="38261" x="5956300" y="3578225"/>
          <p14:tracePt t="38265" x="5972175" y="3603625"/>
          <p14:tracePt t="38276" x="5989638" y="3619500"/>
          <p14:tracePt t="38281" x="5997575" y="3629025"/>
          <p14:tracePt t="38290" x="6007100" y="3646488"/>
          <p14:tracePt t="38306" x="6007100" y="3654425"/>
          <p14:tracePt t="38329" x="6015038" y="3654425"/>
          <p14:tracePt t="38345" x="6024563" y="3654425"/>
          <p14:tracePt t="38362" x="6032500" y="3654425"/>
          <p14:tracePt t="38369" x="6040438" y="3654425"/>
          <p14:tracePt t="38377" x="6049963" y="3654425"/>
          <p14:tracePt t="38433" x="6049963" y="3662363"/>
          <p14:tracePt t="38442" x="6049963" y="3679825"/>
          <p14:tracePt t="38449" x="6049963" y="3687763"/>
          <p14:tracePt t="38458" x="6049963" y="3697288"/>
          <p14:tracePt t="38480" x="6049963" y="3687763"/>
          <p14:tracePt t="38488" x="6049963" y="3679825"/>
          <p14:tracePt t="38504" x="6049963" y="3671888"/>
          <p14:tracePt t="38520" x="6049963" y="3662363"/>
          <p14:tracePt t="38560" x="6049963" y="3654425"/>
          <p14:tracePt t="38569" x="6057900" y="3654425"/>
          <p14:tracePt t="38585" x="6075363" y="3654425"/>
          <p14:tracePt t="38592" x="6116638" y="3654425"/>
          <p14:tracePt t="38600" x="6126163" y="3654425"/>
          <p14:tracePt t="38608" x="6142038" y="3654425"/>
          <p14:tracePt t="38617" x="6151563" y="3662363"/>
          <p14:tracePt t="38633" x="6151563" y="3671888"/>
          <p14:tracePt t="38665" x="6134100" y="3671888"/>
          <p14:tracePt t="38682" x="6134100" y="3679825"/>
          <p14:tracePt t="38689" x="6134100" y="3687763"/>
          <p14:tracePt t="38705" x="6134100" y="3697288"/>
          <p14:tracePt t="38721" x="6134100" y="3713163"/>
          <p14:tracePt t="38728" x="6142038" y="3722688"/>
          <p14:tracePt t="39169" x="6142038" y="3705225"/>
          <p14:tracePt t="39185" x="6134100" y="3687763"/>
          <p14:tracePt t="39193" x="6134100" y="3679825"/>
          <p14:tracePt t="39209" x="6134100" y="3671888"/>
          <p14:tracePt t="39217" x="6134100" y="3662363"/>
          <p14:tracePt t="39227" x="6134100" y="3654425"/>
          <p14:tracePt t="39233" x="6134100" y="3646488"/>
          <p14:tracePt t="39243" x="6126163" y="3636963"/>
          <p14:tracePt t="39258" x="6126163" y="3629025"/>
          <p14:tracePt t="39265" x="6126163" y="3619500"/>
          <p14:tracePt t="39274" x="6126163" y="3611563"/>
          <p14:tracePt t="39281" x="6116638" y="3603625"/>
          <p14:tracePt t="39289" x="6116638" y="3586163"/>
          <p14:tracePt t="39297" x="6116638" y="3578225"/>
          <p14:tracePt t="39305" x="6108700" y="3560763"/>
          <p14:tracePt t="39312" x="6108700" y="3527425"/>
          <p14:tracePt t="39321" x="6108700" y="3517900"/>
          <p14:tracePt t="39328" x="6108700" y="3475038"/>
          <p14:tracePt t="39337" x="6108700" y="3459163"/>
          <p14:tracePt t="39344" x="6108700" y="3424238"/>
          <p14:tracePt t="39353" x="6108700" y="3398838"/>
          <p14:tracePt t="39360" x="6108700" y="3382963"/>
          <p14:tracePt t="39368" x="6108700" y="3365500"/>
          <p14:tracePt t="39376" x="6108700" y="3355975"/>
          <p14:tracePt t="39384" x="6108700" y="3348038"/>
          <p14:tracePt t="39392" x="6100763" y="3340100"/>
          <p14:tracePt t="39400" x="6091238" y="3340100"/>
          <p14:tracePt t="39409" x="6091238" y="3330575"/>
          <p14:tracePt t="39417" x="6091238" y="3322638"/>
          <p14:tracePt t="39432" x="6091238" y="3314700"/>
          <p14:tracePt t="39441" x="6091238" y="3305175"/>
          <p14:tracePt t="39448" x="6091238" y="3297238"/>
          <p14:tracePt t="39465" x="6091238" y="3289300"/>
          <p14:tracePt t="41497" x="6083300" y="3289300"/>
          <p14:tracePt t="41505" x="6083300" y="3297238"/>
          <p14:tracePt t="41513" x="6075363" y="3305175"/>
          <p14:tracePt t="41521" x="6075363" y="3330575"/>
          <p14:tracePt t="41528" x="6057900" y="3355975"/>
          <p14:tracePt t="41536" x="6049963" y="3373438"/>
          <p14:tracePt t="41544" x="6040438" y="3398838"/>
          <p14:tracePt t="41553" x="6032500" y="3408363"/>
          <p14:tracePt t="41560" x="6032500" y="3416300"/>
          <p14:tracePt t="41568" x="6024563" y="3416300"/>
          <p14:tracePt t="41576" x="6015038" y="3424238"/>
          <p14:tracePt t="41584" x="6015038" y="3433763"/>
          <p14:tracePt t="41592" x="6007100" y="3433763"/>
          <p14:tracePt t="41600" x="5997575" y="3441700"/>
          <p14:tracePt t="41608" x="5989638" y="3441700"/>
          <p14:tracePt t="41633" x="5989638" y="3449638"/>
          <p14:tracePt t="41754" x="5981700" y="3449638"/>
          <p14:tracePt t="41761" x="5981700" y="3459163"/>
          <p14:tracePt t="41769" x="5972175" y="3459163"/>
          <p14:tracePt t="41785" x="5972175" y="3467100"/>
          <p14:tracePt t="41794" x="5964238" y="3467100"/>
          <p14:tracePt t="41801" x="5946775" y="3475038"/>
          <p14:tracePt t="41810" x="5946775" y="3484563"/>
          <p14:tracePt t="41817" x="5938838" y="3484563"/>
          <p14:tracePt t="41826" x="5930900" y="3484563"/>
          <p14:tracePt t="41833" x="5921375" y="3484563"/>
          <p14:tracePt t="41843" x="5905500" y="3484563"/>
          <p14:tracePt t="41849" x="5895975" y="3484563"/>
          <p14:tracePt t="41874" x="5946775" y="3449638"/>
          <p14:tracePt t="41881" x="5981700" y="3424238"/>
          <p14:tracePt t="42144" x="5989638" y="3424238"/>
          <p14:tracePt t="42152" x="5997575" y="3424238"/>
          <p14:tracePt t="42168" x="5981700" y="3424238"/>
          <p14:tracePt t="42184" x="5972175" y="3424238"/>
          <p14:tracePt t="42192" x="5972175" y="3441700"/>
          <p14:tracePt t="42265" x="5972175" y="3433763"/>
          <p14:tracePt t="42281" x="5964238" y="3433763"/>
          <p14:tracePt t="42305" x="5956300" y="3433763"/>
          <p14:tracePt t="42401" x="5946775" y="3433763"/>
          <p14:tracePt t="42409" x="5938838" y="3433763"/>
          <p14:tracePt t="42417" x="5930900" y="3433763"/>
          <p14:tracePt t="42426" x="5905500" y="3433763"/>
          <p14:tracePt t="42433" x="5837238" y="3433763"/>
          <p14:tracePt t="42443" x="5768975" y="3449638"/>
          <p14:tracePt t="42449" x="5624513" y="3467100"/>
          <p14:tracePt t="42460" x="5497513" y="3492500"/>
          <p14:tracePt t="42465" x="5267325" y="3527425"/>
          <p14:tracePt t="42476" x="5080000" y="3560763"/>
          <p14:tracePt t="42481" x="4851400" y="3560763"/>
          <p14:tracePt t="42490" x="4689475" y="3560763"/>
          <p14:tracePt t="42498" x="4554538" y="3560763"/>
          <p14:tracePt t="42506" x="4384675" y="3560763"/>
          <p14:tracePt t="42513" x="4256088" y="3560763"/>
          <p14:tracePt t="42521" x="4129088" y="3560763"/>
          <p14:tracePt t="42529" x="4027488" y="3552825"/>
          <p14:tracePt t="42537" x="3925888" y="3552825"/>
          <p14:tracePt t="42545" x="3840163" y="3552825"/>
          <p14:tracePt t="42553" x="3746500" y="3552825"/>
          <p14:tracePt t="42561" x="3670300" y="3552825"/>
          <p14:tracePt t="42568" x="3611563" y="3552825"/>
          <p14:tracePt t="42577" x="3517900" y="3552825"/>
          <p14:tracePt t="42585" x="3441700" y="3552825"/>
          <p14:tracePt t="42593" x="3330575" y="3552825"/>
          <p14:tracePt t="42601" x="3262313" y="3552825"/>
          <p14:tracePt t="42609" x="3178175" y="3552825"/>
          <p14:tracePt t="42617" x="3117850" y="3552825"/>
          <p14:tracePt t="42626" x="3033713" y="3568700"/>
          <p14:tracePt t="42633" x="2982913" y="3578225"/>
          <p14:tracePt t="42641" x="2930525" y="3594100"/>
          <p14:tracePt t="42648" x="2863850" y="3629025"/>
          <p14:tracePt t="42658" x="2795588" y="3654425"/>
          <p14:tracePt t="42665" x="2752725" y="3671888"/>
          <p14:tracePt t="42675" x="2719388" y="3687763"/>
          <p14:tracePt t="42681" x="2668588" y="3705225"/>
          <p14:tracePt t="42690" x="2651125" y="3705225"/>
          <p14:tracePt t="42697" x="2641600" y="3713163"/>
          <p14:tracePt t="42705" x="2625725" y="3722688"/>
          <p14:tracePt t="42712" x="2608263" y="3722688"/>
          <p14:tracePt t="42721" x="2590800" y="3722688"/>
          <p14:tracePt t="42728" x="2574925" y="3722688"/>
          <p14:tracePt t="42737" x="2549525" y="3722688"/>
          <p14:tracePt t="42744" x="2532063" y="3722688"/>
          <p14:tracePt t="42753" x="2497138" y="3730625"/>
          <p14:tracePt t="42761" x="2463800" y="3738563"/>
          <p14:tracePt t="42769" x="2405063" y="3748088"/>
          <p14:tracePt t="42777" x="2362200" y="3756025"/>
          <p14:tracePt t="42785" x="2301875" y="3763963"/>
          <p14:tracePt t="42792" x="2225675" y="3790950"/>
          <p14:tracePt t="42801" x="2174875" y="3806825"/>
          <p14:tracePt t="42810" x="2090738" y="3841750"/>
          <p14:tracePt t="42817" x="2038350" y="3849688"/>
          <p14:tracePt t="42826" x="1979613" y="3867150"/>
          <p14:tracePt t="42833" x="1936750" y="3875088"/>
          <p14:tracePt t="42842" x="1868488" y="3900488"/>
          <p14:tracePt t="42849" x="1843088" y="3900488"/>
          <p14:tracePt t="42858" x="1784350" y="3908425"/>
          <p14:tracePt t="42865" x="1741488" y="3917950"/>
          <p14:tracePt t="42875" x="1716088" y="3925888"/>
          <p14:tracePt t="42881" x="1673225" y="3935413"/>
          <p14:tracePt t="42888" x="1657350" y="3935413"/>
          <p14:tracePt t="42897" x="1622425" y="3943350"/>
          <p14:tracePt t="42905" x="1614488" y="3951288"/>
          <p14:tracePt t="42912" x="1597025" y="3951288"/>
          <p14:tracePt t="42921" x="1589088" y="3951288"/>
          <p14:tracePt t="42928" x="1579563" y="3951288"/>
          <p14:tracePt t="42937" x="1571625" y="3943350"/>
          <p14:tracePt t="42958" x="1571625" y="3900488"/>
          <p14:tracePt t="42961" x="1579563" y="3875088"/>
          <p14:tracePt t="42968" x="1614488" y="3849688"/>
          <p14:tracePt t="42977" x="1622425" y="3841750"/>
          <p14:tracePt t="43193" x="1614488" y="3841750"/>
          <p14:tracePt t="43201" x="1589088" y="3841750"/>
          <p14:tracePt t="43209" x="1546225" y="3824288"/>
          <p14:tracePt t="43217" x="1495425" y="3816350"/>
          <p14:tracePt t="43226" x="1401763" y="3806825"/>
          <p14:tracePt t="43233" x="1300163" y="3781425"/>
          <p14:tracePt t="43242" x="1163638" y="3748088"/>
          <p14:tracePt t="43249" x="1087438" y="3705225"/>
          <p14:tracePt t="43261" x="985838" y="3662363"/>
          <p14:tracePt t="43265" x="909638" y="3629025"/>
          <p14:tracePt t="43276" x="831850" y="3594100"/>
          <p14:tracePt t="43281" x="790575" y="3578225"/>
          <p14:tracePt t="43290" x="739775" y="3552825"/>
          <p14:tracePt t="43297" x="704850" y="3552825"/>
          <p14:tracePt t="43306" x="696913" y="3543300"/>
          <p14:tracePt t="43353" x="704850" y="3568700"/>
          <p14:tracePt t="43361" x="739775" y="3636963"/>
          <p14:tracePt t="43369" x="823913" y="3730625"/>
          <p14:tracePt t="43377" x="884238" y="3806825"/>
          <p14:tracePt t="43384" x="985838" y="3900488"/>
          <p14:tracePt t="43393" x="1062038" y="3960813"/>
          <p14:tracePt t="43401" x="1189038" y="4002088"/>
          <p14:tracePt t="43409" x="1265238" y="4037013"/>
          <p14:tracePt t="43417" x="1343025" y="4044950"/>
          <p14:tracePt t="43426" x="1427163" y="4044950"/>
          <p14:tracePt t="43433" x="1495425" y="4044950"/>
          <p14:tracePt t="43442" x="1614488" y="4037013"/>
          <p14:tracePt t="43449" x="1690688" y="4002088"/>
          <p14:tracePt t="43460" x="1776413" y="3960813"/>
          <p14:tracePt t="43464" x="1843088" y="3917950"/>
          <p14:tracePt t="43473" x="1893888" y="3857625"/>
          <p14:tracePt t="43480" x="1911350" y="3824288"/>
          <p14:tracePt t="43487" x="1920875" y="3781425"/>
          <p14:tracePt t="43495" x="1920875" y="3738563"/>
          <p14:tracePt t="43504" x="1920875" y="3687763"/>
          <p14:tracePt t="43511" x="1878013" y="3629025"/>
          <p14:tracePt t="43520" x="1843088" y="3578225"/>
          <p14:tracePt t="43527" x="1766888" y="3517900"/>
          <p14:tracePt t="43536" x="1708150" y="3492500"/>
          <p14:tracePt t="43543" x="1631950" y="3467100"/>
          <p14:tracePt t="43551" x="1554163" y="3459163"/>
          <p14:tracePt t="43559" x="1487488" y="3459163"/>
          <p14:tracePt t="43568" x="1376363" y="3459163"/>
          <p14:tracePt t="43576" x="1282700" y="3475038"/>
          <p14:tracePt t="43583" x="1173163" y="3527425"/>
          <p14:tracePt t="43592" x="1104900" y="3560763"/>
          <p14:tracePt t="43599" x="1069975" y="3586163"/>
          <p14:tracePt t="43608" x="1062038" y="3611563"/>
          <p14:tracePt t="43616" x="1062038" y="3636963"/>
          <p14:tracePt t="43624" x="1095375" y="3662363"/>
          <p14:tracePt t="43631" x="1155700" y="3705225"/>
          <p14:tracePt t="43640" x="1290638" y="3756025"/>
          <p14:tracePt t="43647" x="1419225" y="3773488"/>
          <p14:tracePt t="43656" x="1579563" y="3816350"/>
          <p14:tracePt t="43663" x="1708150" y="3824288"/>
          <p14:tracePt t="43673" x="1868488" y="3841750"/>
          <p14:tracePt t="43679" x="1954213" y="3841750"/>
          <p14:tracePt t="43688" x="2022475" y="3841750"/>
          <p14:tracePt t="43695" x="2055813" y="3841750"/>
          <p14:tracePt t="43743" x="2038350" y="3841750"/>
          <p14:tracePt t="43752" x="2022475" y="3841750"/>
          <p14:tracePt t="43759" x="1987550" y="3841750"/>
          <p14:tracePt t="43767" x="1946275" y="3841750"/>
          <p14:tracePt t="43775" x="1903413" y="3841750"/>
          <p14:tracePt t="43784" x="1843088" y="3841750"/>
          <p14:tracePt t="43792" x="1817688" y="3841750"/>
          <p14:tracePt t="43799" x="1784350" y="3849688"/>
          <p14:tracePt t="43815" x="1766888" y="3849688"/>
          <p14:tracePt t="44353" x="1758950" y="3849688"/>
          <p14:tracePt t="44361" x="1741488" y="3849688"/>
          <p14:tracePt t="44368" x="1724025" y="3849688"/>
          <p14:tracePt t="44376" x="1698625" y="3857625"/>
          <p14:tracePt t="44384" x="1682750" y="3857625"/>
          <p14:tracePt t="44392" x="1657350" y="3857625"/>
          <p14:tracePt t="44401" x="1647825" y="3857625"/>
          <p14:tracePt t="44409" x="1622425" y="3857625"/>
          <p14:tracePt t="44417" x="1606550" y="3857625"/>
          <p14:tracePt t="44425" x="1589088" y="3857625"/>
          <p14:tracePt t="44432" x="1538288" y="3841750"/>
          <p14:tracePt t="44441" x="1520825" y="3841750"/>
          <p14:tracePt t="44449" x="1470025" y="3816350"/>
          <p14:tracePt t="44458" x="1444625" y="3806825"/>
          <p14:tracePt t="44465" x="1401763" y="3790950"/>
          <p14:tracePt t="44474" x="1384300" y="3781425"/>
          <p14:tracePt t="44481" x="1358900" y="3781425"/>
          <p14:tracePt t="44488" x="1350963" y="3781425"/>
          <p14:tracePt t="44497" x="1350963" y="3773488"/>
          <p14:tracePt t="44529" x="1350963" y="3763963"/>
          <p14:tracePt t="44537" x="1358900" y="3763963"/>
          <p14:tracePt t="44545" x="1376363" y="3756025"/>
          <p14:tracePt t="44554" x="1401763" y="3756025"/>
          <p14:tracePt t="44561" x="1435100" y="3748088"/>
          <p14:tracePt t="44569" x="1462088" y="3748088"/>
          <p14:tracePt t="44577" x="1487488" y="3748088"/>
          <p14:tracePt t="44585" x="1512888" y="3748088"/>
          <p14:tracePt t="44593" x="1546225" y="3748088"/>
          <p14:tracePt t="44601" x="1554163" y="3748088"/>
          <p14:tracePt t="44609" x="1571625" y="3748088"/>
          <p14:tracePt t="44617" x="1579563" y="3748088"/>
          <p14:tracePt t="44626" x="1589088" y="3748088"/>
          <p14:tracePt t="44633" x="1597025" y="3748088"/>
          <p14:tracePt t="44643" x="1606550" y="3748088"/>
          <p14:tracePt t="44745" x="1597025" y="3748088"/>
          <p14:tracePt t="44753" x="1589088" y="3748088"/>
          <p14:tracePt t="44833" x="1589088" y="3738563"/>
          <p14:tracePt t="44841" x="1597025" y="3738563"/>
          <p14:tracePt t="44896" x="1597025" y="3730625"/>
          <p14:tracePt t="44920" x="1589088" y="3730625"/>
          <p14:tracePt t="44936" x="1571625" y="3730625"/>
          <p14:tracePt t="44944" x="1563688" y="3730625"/>
          <p14:tracePt t="45065" x="1554163" y="3730625"/>
          <p14:tracePt t="45081" x="1546225" y="3722688"/>
          <p14:tracePt t="45097" x="1528763" y="3722688"/>
          <p14:tracePt t="45105" x="1520825" y="3722688"/>
          <p14:tracePt t="45113" x="1503363" y="3722688"/>
          <p14:tracePt t="45121" x="1495425" y="3722688"/>
          <p14:tracePt t="45137" x="1477963" y="3722688"/>
          <p14:tracePt t="45145" x="1470025" y="3713163"/>
          <p14:tracePt t="45161" x="1462088" y="3713163"/>
          <p14:tracePt t="45168" x="1452563" y="3713163"/>
          <p14:tracePt t="45176" x="1452563" y="3705225"/>
          <p14:tracePt t="45185" x="1444625" y="3705225"/>
          <p14:tracePt t="45329" x="1435100" y="3705225"/>
          <p14:tracePt t="45345" x="1427163" y="3705225"/>
          <p14:tracePt t="45370" x="1427163" y="3697288"/>
          <p14:tracePt t="45385" x="1419225" y="3697288"/>
          <p14:tracePt t="45393" x="1409700" y="3687763"/>
          <p14:tracePt t="45409" x="1401763" y="3679825"/>
          <p14:tracePt t="45425" x="1393825" y="3679825"/>
          <p14:tracePt t="45449" x="1393825" y="3671888"/>
          <p14:tracePt t="45497" x="1393825" y="3662363"/>
          <p14:tracePt t="45521" x="1401763" y="3662363"/>
          <p14:tracePt t="45529" x="1419225" y="3662363"/>
          <p14:tracePt t="45545" x="1435100" y="3654425"/>
          <p14:tracePt t="45554" x="1462088" y="3654425"/>
          <p14:tracePt t="45561" x="1487488" y="3654425"/>
          <p14:tracePt t="45569" x="1546225" y="3654425"/>
          <p14:tracePt t="45577" x="1597025" y="3654425"/>
          <p14:tracePt t="45587" x="1698625" y="3654425"/>
          <p14:tracePt t="45593" x="1784350" y="3654425"/>
          <p14:tracePt t="45601" x="1928813" y="3654425"/>
          <p14:tracePt t="45610" x="2055813" y="3654425"/>
          <p14:tracePt t="45617" x="2208213" y="3654425"/>
          <p14:tracePt t="45626" x="2336800" y="3654425"/>
          <p14:tracePt t="45633" x="2463800" y="3654425"/>
          <p14:tracePt t="45643" x="2616200" y="3654425"/>
          <p14:tracePt t="45649" x="2727325" y="3654425"/>
          <p14:tracePt t="45659" x="2838450" y="3654425"/>
          <p14:tracePt t="45665" x="2940050" y="3654425"/>
          <p14:tracePt t="45674" x="3041650" y="3654425"/>
          <p14:tracePt t="45681" x="3127375" y="3654425"/>
          <p14:tracePt t="45689" x="3236913" y="3654425"/>
          <p14:tracePt t="45697" x="3338513" y="3654425"/>
          <p14:tracePt t="45705" x="3424238" y="3654425"/>
          <p14:tracePt t="45713" x="3576638" y="3654425"/>
          <p14:tracePt t="45720" x="3662363" y="3662363"/>
          <p14:tracePt t="45728" x="3763963" y="3687763"/>
          <p14:tracePt t="45737" x="3848100" y="3697288"/>
          <p14:tracePt t="45744" x="3925888" y="3713163"/>
          <p14:tracePt t="45753" x="3959225" y="3722688"/>
          <p14:tracePt t="45760" x="3984625" y="3722688"/>
          <p14:tracePt t="45768" x="4002088" y="3722688"/>
          <p14:tracePt t="45776" x="4010025" y="3722688"/>
          <p14:tracePt t="45785" x="4017963" y="3722688"/>
          <p14:tracePt t="45817" x="4017963" y="3730625"/>
          <p14:tracePt t="45833" x="4017963" y="3738563"/>
          <p14:tracePt t="45857" x="4017963" y="3756025"/>
          <p14:tracePt t="45865" x="4017963" y="3763963"/>
          <p14:tracePt t="45881" x="4017963" y="3773488"/>
          <p14:tracePt t="45890" x="3992563" y="3773488"/>
          <p14:tracePt t="45897" x="3967163" y="3773488"/>
          <p14:tracePt t="45905" x="3951288" y="3773488"/>
          <p14:tracePt t="45913" x="3900488" y="3756025"/>
          <p14:tracePt t="45921" x="3900488" y="3748088"/>
          <p14:tracePt t="46129" x="3900488" y="3756025"/>
          <p14:tracePt t="46137" x="3900488" y="3763963"/>
          <p14:tracePt t="46145" x="3890963" y="3773488"/>
          <p14:tracePt t="46153" x="3890963" y="3781425"/>
          <p14:tracePt t="46161" x="3883025" y="3781425"/>
          <p14:tracePt t="46201" x="3883025" y="3790950"/>
          <p14:tracePt t="46209" x="3890963" y="3790950"/>
          <p14:tracePt t="46233" x="3890963" y="3798888"/>
          <p14:tracePt t="46249" x="3883025" y="3798888"/>
          <p14:tracePt t="46257" x="3883025" y="3806825"/>
          <p14:tracePt t="46273" x="3883025" y="3816350"/>
          <p14:tracePt t="46289" x="3883025" y="3824288"/>
          <p14:tracePt t="46297" x="3890963" y="3832225"/>
          <p14:tracePt t="46305" x="3925888" y="3857625"/>
          <p14:tracePt t="46313" x="3959225" y="3875088"/>
          <p14:tracePt t="46321" x="4017963" y="3892550"/>
          <p14:tracePt t="46328" x="4121150" y="3935413"/>
          <p14:tracePt t="46336" x="4240213" y="3951288"/>
          <p14:tracePt t="46344" x="4384675" y="3976688"/>
          <p14:tracePt t="46353" x="4494213" y="4002088"/>
          <p14:tracePt t="46360" x="4673600" y="4027488"/>
          <p14:tracePt t="46369" x="4808538" y="4044950"/>
          <p14:tracePt t="46377" x="4945063" y="4070350"/>
          <p14:tracePt t="46384" x="5046663" y="4087813"/>
          <p14:tracePt t="46393" x="5122863" y="4105275"/>
          <p14:tracePt t="46401" x="5224463" y="4105275"/>
          <p14:tracePt t="46408" x="5276850" y="4105275"/>
          <p14:tracePt t="46417" x="5335588" y="4105275"/>
          <p14:tracePt t="46424" x="5353050" y="4105275"/>
          <p14:tracePt t="49177" x="5378450" y="4105275"/>
          <p14:tracePt t="49185" x="5394325" y="4095750"/>
          <p14:tracePt t="49193" x="5403850" y="4095750"/>
          <p14:tracePt t="49201" x="5421313" y="4087813"/>
          <p14:tracePt t="49209" x="5437188" y="4079875"/>
          <p14:tracePt t="49225" x="5446713" y="4070350"/>
          <p14:tracePt t="49232" x="5454650" y="4062413"/>
          <p14:tracePt t="49240" x="5446713" y="4062413"/>
          <p14:tracePt t="49248" x="5454650" y="4062413"/>
          <p14:tracePt t="49513" x="5454650" y="4052888"/>
          <p14:tracePt t="49521" x="5462588" y="4052888"/>
          <p14:tracePt t="49561" x="5480050" y="4052888"/>
          <p14:tracePt t="49793" x="5472113" y="4052888"/>
          <p14:tracePt t="50034" x="5462588" y="4052888"/>
          <p14:tracePt t="51074" x="5454650" y="4052888"/>
          <p14:tracePt t="51081" x="5446713" y="4052888"/>
          <p14:tracePt t="51090" x="5429250" y="4052888"/>
          <p14:tracePt t="51097" x="5421313" y="4052888"/>
          <p14:tracePt t="51129" x="5421313" y="4062413"/>
          <p14:tracePt t="51137" x="5437188" y="4062413"/>
          <p14:tracePt t="51144" x="5480050" y="4062413"/>
          <p14:tracePt t="51153" x="5565775" y="4062413"/>
          <p14:tracePt t="51160" x="5649913" y="4062413"/>
          <p14:tracePt t="51169" x="5776913" y="4037013"/>
          <p14:tracePt t="51176" x="5853113" y="4019550"/>
          <p14:tracePt t="51185" x="5930900" y="3986213"/>
          <p14:tracePt t="51192" x="6007100" y="3960813"/>
          <p14:tracePt t="51201" x="6024563" y="3951288"/>
          <p14:tracePt t="51208" x="6040438" y="3951288"/>
          <p14:tracePt t="51217" x="6049963" y="3951288"/>
          <p14:tracePt t="51241" x="6040438" y="3951288"/>
          <p14:tracePt t="51249" x="6032500" y="3951288"/>
          <p14:tracePt t="51258" x="6015038" y="3951288"/>
          <p14:tracePt t="51265" x="5989638" y="3951288"/>
          <p14:tracePt t="51274" x="5964238" y="3943350"/>
          <p14:tracePt t="51281" x="5946775" y="3935413"/>
          <p14:tracePt t="51544" x="5981700" y="3935413"/>
          <p14:tracePt t="51553" x="5989638" y="3935413"/>
          <p14:tracePt t="51568" x="5997575" y="3935413"/>
          <p14:tracePt t="51585" x="6007100" y="3935413"/>
          <p14:tracePt t="51593" x="6015038" y="3935413"/>
          <p14:tracePt t="51601" x="6015038" y="3960813"/>
          <p14:tracePt t="51609" x="6024563" y="3968750"/>
          <p14:tracePt t="51617" x="6040438" y="3976688"/>
          <p14:tracePt t="51625" x="6049963" y="3986213"/>
          <p14:tracePt t="51633" x="6049963" y="3994150"/>
          <p14:tracePt t="51642" x="6057900" y="4011613"/>
          <p14:tracePt t="51649" x="6065838" y="4037013"/>
          <p14:tracePt t="51658" x="6083300" y="4087813"/>
          <p14:tracePt t="51665" x="6108700" y="4138613"/>
          <p14:tracePt t="51675" x="6134100" y="4197350"/>
          <p14:tracePt t="51681" x="6202363" y="4291013"/>
          <p14:tracePt t="51692" x="6245225" y="4359275"/>
          <p14:tracePt t="51697" x="6311900" y="4435475"/>
          <p14:tracePt t="51708" x="6354763" y="4486275"/>
          <p14:tracePt t="51713" x="6405563" y="4538663"/>
          <p14:tracePt t="51721" x="6423025" y="4564063"/>
          <p14:tracePt t="51730" x="6448425" y="4579938"/>
          <p14:tracePt t="51737" x="6456363" y="4589463"/>
          <p14:tracePt t="51809" x="6465888" y="4589463"/>
          <p14:tracePt t="51824" x="6483350" y="4597400"/>
          <p14:tracePt t="51832" x="6483350" y="4605338"/>
          <p14:tracePt t="51840" x="6491288" y="4605338"/>
          <p14:tracePt t="51848" x="6499225" y="4605338"/>
          <p14:tracePt t="51856" x="6499225" y="4614863"/>
          <p14:tracePt t="51864" x="6508750" y="4614863"/>
          <p14:tracePt t="51880" x="6516688" y="4614863"/>
          <p14:tracePt t="51888" x="6524625" y="4614863"/>
          <p14:tracePt t="51912" x="6534150" y="4614863"/>
          <p14:tracePt t="51921" x="6542088" y="4622800"/>
          <p14:tracePt t="54507" x="6542088" y="4630738"/>
          <p14:tracePt t="55961" x="6534150" y="4630738"/>
          <p14:tracePt t="56097" x="6524625" y="4630738"/>
          <p14:tracePt t="56107" x="6516688" y="4640263"/>
          <p14:tracePt t="56113" x="6508750" y="4640263"/>
          <p14:tracePt t="56123" x="6499225" y="4648200"/>
          <p14:tracePt t="56129" x="6491288" y="4648200"/>
          <p14:tracePt t="56137" x="6491288" y="4657725"/>
          <p14:tracePt t="56145" x="6473825" y="4665663"/>
          <p14:tracePt t="56152" x="6465888" y="4673600"/>
          <p14:tracePt t="56168" x="6456363" y="4683125"/>
          <p14:tracePt t="56192" x="6448425" y="4691063"/>
          <p14:tracePt t="56266" x="6440488" y="4699000"/>
          <p14:tracePt t="56272" x="6430963" y="4708525"/>
          <p14:tracePt t="56280" x="6415088" y="4716463"/>
          <p14:tracePt t="56290" x="6415088" y="4724400"/>
          <p14:tracePt t="56296" x="6397625" y="4716463"/>
          <p14:tracePt t="56304" x="6380163" y="4708525"/>
          <p14:tracePt t="56649" x="6380163" y="4716463"/>
          <p14:tracePt t="56667" x="6389688" y="4716463"/>
          <p14:tracePt t="56691" x="6380163" y="4724400"/>
          <p14:tracePt t="56713" x="6372225" y="4724400"/>
          <p14:tracePt t="56753" x="6372225" y="4733925"/>
          <p14:tracePt t="56761" x="6372225" y="4741863"/>
          <p14:tracePt t="56794" x="6364288" y="4741863"/>
          <p14:tracePt t="58674" x="6389688" y="4741863"/>
          <p14:tracePt t="58681" x="6448425" y="4724400"/>
          <p14:tracePt t="58690" x="6483350" y="4724400"/>
          <p14:tracePt t="58697" x="6499225" y="4708525"/>
          <p14:tracePt t="58708" x="6516688" y="4699000"/>
          <p14:tracePt t="58712" x="6542088" y="4691063"/>
          <p14:tracePt t="58723" x="6584950" y="4665663"/>
          <p14:tracePt t="58729" x="6618288" y="4657725"/>
          <p14:tracePt t="58737" x="6669088" y="4630738"/>
          <p14:tracePt t="58745" x="6678613" y="4630738"/>
          <p14:tracePt t="58753" x="6694488" y="4630738"/>
          <p14:tracePt t="58760" x="6704013" y="4622800"/>
          <p14:tracePt t="58784" x="6694488" y="4622800"/>
          <p14:tracePt t="58792" x="6669088" y="4640263"/>
          <p14:tracePt t="58800" x="6653213" y="4640263"/>
          <p14:tracePt t="58991" x="6661150" y="4640263"/>
          <p14:tracePt t="59000" x="6669088" y="4648200"/>
          <p14:tracePt t="59008" x="6669088" y="4657725"/>
          <p14:tracePt t="59016" x="6686550" y="4657725"/>
          <p14:tracePt t="59048" x="6678613" y="4665663"/>
          <p14:tracePt t="59056" x="6669088" y="4665663"/>
          <p14:tracePt t="59072" x="6661150" y="4665663"/>
          <p14:tracePt t="59080" x="6643688" y="4673600"/>
          <p14:tracePt t="59088" x="6635750" y="4673600"/>
          <p14:tracePt t="59104" x="6626225" y="4673600"/>
          <p14:tracePt t="59113" x="6618288" y="4673600"/>
          <p14:tracePt t="59128" x="6610350" y="4673600"/>
          <p14:tracePt t="59137" x="6600825" y="4673600"/>
          <p14:tracePt t="59625" x="6592888" y="4673600"/>
          <p14:tracePt t="59633" x="6584950" y="4673600"/>
          <p14:tracePt t="59641" x="6559550" y="4673600"/>
          <p14:tracePt t="59649" x="6524625" y="4683125"/>
          <p14:tracePt t="59658" x="6448425" y="4691063"/>
          <p14:tracePt t="59664" x="6380163" y="4708525"/>
          <p14:tracePt t="59673" x="6261100" y="4724400"/>
          <p14:tracePt t="59681" x="6176963" y="4724400"/>
          <p14:tracePt t="59691" x="6049963" y="4724400"/>
          <p14:tracePt t="59697" x="5981700" y="4724400"/>
          <p14:tracePt t="59706" x="5913438" y="4724400"/>
          <p14:tracePt t="59713" x="5853113" y="4724400"/>
          <p14:tracePt t="59723" x="5827713" y="4724400"/>
          <p14:tracePt t="59729" x="5811838" y="4724400"/>
          <p14:tracePt t="59793" x="5802313" y="4724400"/>
          <p14:tracePt t="59801" x="5794375" y="4724400"/>
          <p14:tracePt t="59810" x="5786438" y="4716463"/>
          <p14:tracePt t="59816" x="5761038" y="4699000"/>
          <p14:tracePt t="59825" x="5735638" y="4673600"/>
          <p14:tracePt t="60145" x="5743575" y="4683125"/>
          <p14:tracePt t="60154" x="5751513" y="4683125"/>
          <p14:tracePt t="60161" x="5761038" y="4683125"/>
          <p14:tracePt t="60169" x="5761038" y="4691063"/>
          <p14:tracePt t="60177" x="5776913" y="4691063"/>
          <p14:tracePt t="60218" x="5776913" y="4699000"/>
          <p14:tracePt t="60225" x="5768975" y="4699000"/>
          <p14:tracePt t="60235" x="5743575" y="4708525"/>
          <p14:tracePt t="60243" x="5708650" y="4733925"/>
          <p14:tracePt t="60249" x="5632450" y="4767263"/>
          <p14:tracePt t="60257" x="5565775" y="4802188"/>
          <p14:tracePt t="60266" x="5462588" y="4843463"/>
          <p14:tracePt t="60273" x="5386388" y="4878388"/>
          <p14:tracePt t="60281" x="5327650" y="4911725"/>
          <p14:tracePt t="60289" x="5249863" y="4946650"/>
          <p14:tracePt t="60297" x="5216525" y="4954588"/>
          <p14:tracePt t="60308" x="5183188" y="4972050"/>
          <p14:tracePt t="60313" x="5173663" y="4972050"/>
          <p14:tracePt t="60393" x="5183188" y="4972050"/>
          <p14:tracePt t="61897" x="5199063" y="4972050"/>
          <p14:tracePt t="61907" x="5241925" y="4972050"/>
          <p14:tracePt t="61914" x="5267325" y="4962525"/>
          <p14:tracePt t="61923" x="5302250" y="4954588"/>
          <p14:tracePt t="61929" x="5310188" y="4946650"/>
          <p14:tracePt t="61941" x="5335588" y="4937125"/>
          <p14:tracePt t="61955" x="5394325" y="4929188"/>
          <p14:tracePt t="61961" x="5411788" y="4929188"/>
          <p14:tracePt t="61968" x="5437188" y="4919663"/>
          <p14:tracePt t="61976" x="5472113" y="4919663"/>
          <p14:tracePt t="61984" x="5480050" y="4911725"/>
          <p14:tracePt t="61992" x="5487988" y="4911725"/>
          <p14:tracePt t="62001" x="5497513" y="4911725"/>
          <p14:tracePt t="62009" x="5505450" y="4911725"/>
          <p14:tracePt t="62057" x="5497513" y="4911725"/>
          <p14:tracePt t="62065" x="5487988" y="4919663"/>
          <p14:tracePt t="62073" x="5472113" y="4929188"/>
          <p14:tracePt t="62081" x="5454650" y="4929188"/>
          <p14:tracePt t="62089" x="5446713" y="4929188"/>
          <p14:tracePt t="62097" x="5421313" y="4911725"/>
          <p14:tracePt t="62106" x="5394325" y="4894263"/>
          <p14:tracePt t="62113" x="5368925" y="4886325"/>
          <p14:tracePt t="62257" x="5368925" y="4894263"/>
          <p14:tracePt t="62264" x="5360988" y="4894263"/>
          <p14:tracePt t="62289" x="5353050" y="4894263"/>
          <p14:tracePt t="62297" x="5343525" y="4903788"/>
          <p14:tracePt t="62329" x="5343525" y="4911725"/>
          <p14:tracePt t="62354" x="5335588" y="4919663"/>
          <p14:tracePt t="62360" x="5327650" y="4919663"/>
          <p14:tracePt t="62393" x="5318125" y="4919663"/>
          <p14:tracePt t="62401" x="5318125" y="4929188"/>
          <p14:tracePt t="62442" x="5310188" y="4929188"/>
          <p14:tracePt t="63240" x="5318125" y="4929188"/>
          <p14:tracePt t="63247" x="5335588" y="4919663"/>
          <p14:tracePt t="63256" x="5360988" y="4911725"/>
          <p14:tracePt t="63263" x="5386388" y="4903788"/>
          <p14:tracePt t="63273" x="5394325" y="4894263"/>
          <p14:tracePt t="63280" x="5411788" y="4886325"/>
          <p14:tracePt t="63288" x="5421313" y="4886325"/>
          <p14:tracePt t="63295" x="5421313" y="4878388"/>
          <p14:tracePt t="63561" x="5429250" y="4878388"/>
          <p14:tracePt t="63578" x="5454650" y="4878388"/>
          <p14:tracePt t="63585" x="5462588" y="4868863"/>
          <p14:tracePt t="63592" x="5487988" y="4868863"/>
          <p14:tracePt t="63601" x="5530850" y="4860925"/>
          <p14:tracePt t="63608" x="5565775" y="4852988"/>
          <p14:tracePt t="63616" x="5624513" y="4843463"/>
          <p14:tracePt t="63624" x="5667375" y="4835525"/>
          <p14:tracePt t="63632" x="5718175" y="4827588"/>
          <p14:tracePt t="63640" x="5743575" y="4818063"/>
          <p14:tracePt t="63648" x="5761038" y="4810125"/>
          <p14:tracePt t="63657" x="5776913" y="4802188"/>
          <p14:tracePt t="63664" x="5794375" y="4792663"/>
          <p14:tracePt t="63674" x="5811838" y="4792663"/>
          <p14:tracePt t="63690" x="5827713" y="4784725"/>
          <p14:tracePt t="63696" x="5837238" y="4784725"/>
          <p14:tracePt t="63714" x="5853113" y="4775200"/>
          <p14:tracePt t="63896" x="5845175" y="4775200"/>
          <p14:tracePt t="63913" x="5837238" y="4784725"/>
          <p14:tracePt t="63921" x="5837238" y="4792663"/>
          <p14:tracePt t="63929" x="5837238" y="4802188"/>
          <p14:tracePt t="64018" x="5827713" y="4810125"/>
          <p14:tracePt t="64025" x="5819775" y="4810125"/>
          <p14:tracePt t="64618" x="5827713" y="4810125"/>
          <p14:tracePt t="64624" x="5862638" y="4810125"/>
          <p14:tracePt t="64632" x="5888038" y="4802188"/>
          <p14:tracePt t="64640" x="5930900" y="4792663"/>
          <p14:tracePt t="64648" x="5989638" y="4784725"/>
          <p14:tracePt t="64656" x="6065838" y="4767263"/>
          <p14:tracePt t="64664" x="6134100" y="4759325"/>
          <p14:tracePt t="64672" x="6227763" y="4741863"/>
          <p14:tracePt t="64680" x="6286500" y="4724400"/>
          <p14:tracePt t="64689" x="6354763" y="4716463"/>
          <p14:tracePt t="64696" x="6415088" y="4716463"/>
          <p14:tracePt t="64706" x="6448425" y="4708525"/>
          <p14:tracePt t="64712" x="6473825" y="4699000"/>
          <p14:tracePt t="64728" x="6491288" y="4699000"/>
          <p14:tracePt t="64794" x="6499225" y="4699000"/>
          <p14:tracePt t="64801" x="6508750" y="4699000"/>
          <p14:tracePt t="64809" x="6516688" y="4691063"/>
          <p14:tracePt t="64817" x="6534150" y="4683125"/>
          <p14:tracePt t="64824" x="6559550" y="4673600"/>
          <p14:tracePt t="64832" x="6584950" y="4665663"/>
          <p14:tracePt t="64840" x="6600825" y="4657725"/>
          <p14:tracePt t="64914" x="6592888" y="4648200"/>
          <p14:tracePt t="64921" x="6584950" y="4640263"/>
          <p14:tracePt t="64929" x="6584950" y="4622800"/>
          <p14:tracePt t="64937" x="6575425" y="4605338"/>
          <p14:tracePt t="65065" x="6567488" y="4605338"/>
          <p14:tracePt t="65074" x="6550025" y="4605338"/>
          <p14:tracePt t="65081" x="6550025" y="4614863"/>
          <p14:tracePt t="65090" x="6542088" y="4614863"/>
          <p14:tracePt t="65097" x="6534150" y="4614863"/>
          <p14:tracePt t="65169" x="6524625" y="4614863"/>
          <p14:tracePt t="65177" x="6516688" y="4614863"/>
          <p14:tracePt t="65201" x="6508750" y="4614863"/>
          <p14:tracePt t="65321" x="6508750" y="4622800"/>
          <p14:tracePt t="68361" x="6499225" y="4622800"/>
          <p14:tracePt t="68401" x="6491288" y="4622800"/>
          <p14:tracePt t="68409" x="6483350" y="4622800"/>
          <p14:tracePt t="68417" x="6456363" y="4630738"/>
          <p14:tracePt t="68426" x="6440488" y="4630738"/>
          <p14:tracePt t="68432" x="6423025" y="4640263"/>
          <p14:tracePt t="68440" x="6397625" y="4648200"/>
          <p14:tracePt t="68448" x="6380163" y="4657725"/>
          <p14:tracePt t="68456" x="6338888" y="4673600"/>
          <p14:tracePt t="68464" x="6286500" y="4691063"/>
          <p14:tracePt t="68471" x="6227763" y="4708525"/>
          <p14:tracePt t="68480" x="6176963" y="4741863"/>
          <p14:tracePt t="68489" x="6100763" y="4775200"/>
          <p14:tracePt t="68497" x="6040438" y="4818063"/>
          <p14:tracePt t="68507" x="5938838" y="4860925"/>
          <p14:tracePt t="68512" x="5845175" y="4903788"/>
          <p14:tracePt t="68520" x="5743575" y="4954588"/>
          <p14:tracePt t="68528" x="5591175" y="5030788"/>
          <p14:tracePt t="68537" x="5472113" y="5091113"/>
          <p14:tracePt t="68544" x="5310188" y="5183188"/>
          <p14:tracePt t="68553" x="5191125" y="5243513"/>
          <p14:tracePt t="68560" x="5080000" y="5302250"/>
          <p14:tracePt t="68568" x="5013325" y="5327650"/>
          <p14:tracePt t="68576" x="4945063" y="5387975"/>
          <p14:tracePt t="68584" x="4927600" y="5395913"/>
          <p14:tracePt t="68592" x="4902200" y="5421313"/>
          <p14:tracePt t="68600" x="4876800" y="5464175"/>
          <p14:tracePt t="68608" x="4868863" y="5472113"/>
          <p14:tracePt t="68616" x="4859338" y="5489575"/>
          <p14:tracePt t="68624" x="4859338" y="5507038"/>
          <p14:tracePt t="68648" x="4859338" y="5514975"/>
          <p14:tracePt t="68696" x="4859338" y="5507038"/>
          <p14:tracePt t="68704" x="4868863" y="5472113"/>
          <p14:tracePt t="68713" x="4876800" y="5456238"/>
          <p14:tracePt t="68913" x="4884738" y="5456238"/>
          <p14:tracePt t="68921" x="4919663" y="5456238"/>
          <p14:tracePt t="68929" x="4935538" y="5456238"/>
          <p14:tracePt t="68953" x="4945063" y="5456238"/>
          <p14:tracePt t="68969" x="4945063" y="5464175"/>
          <p14:tracePt t="68977" x="4935538" y="5464175"/>
          <p14:tracePt t="68985" x="4919663" y="5472113"/>
          <p14:tracePt t="68992" x="4894263" y="5481638"/>
          <p14:tracePt t="69001" x="4876800" y="5497513"/>
          <p14:tracePt t="69008" x="4851400" y="5497513"/>
          <p14:tracePt t="69017" x="4808538" y="5524500"/>
          <p14:tracePt t="69024" x="4765675" y="5549900"/>
          <p14:tracePt t="69032" x="4706938" y="5565775"/>
          <p14:tracePt t="69040" x="4664075" y="5583238"/>
          <p14:tracePt t="69048" x="4570413" y="5616575"/>
          <p14:tracePt t="69056" x="4494213" y="5659438"/>
          <p14:tracePt t="69064" x="4367213" y="5710238"/>
          <p14:tracePt t="69072" x="4248150" y="5753100"/>
          <p14:tracePt t="69080" x="4121150" y="5803900"/>
          <p14:tracePt t="69088" x="3941763" y="5880100"/>
          <p14:tracePt t="69096" x="3814763" y="5932488"/>
          <p14:tracePt t="69104" x="3662363" y="5983288"/>
          <p14:tracePt t="69112" x="3551238" y="6016625"/>
          <p14:tracePt t="69120" x="3424238" y="6042025"/>
          <p14:tracePt t="69128" x="3322638" y="6049963"/>
          <p14:tracePt t="69137" x="3194050" y="6059488"/>
          <p14:tracePt t="69144" x="3092450" y="6059488"/>
          <p14:tracePt t="69153" x="3008313" y="6059488"/>
          <p14:tracePt t="69160" x="2879725" y="6059488"/>
          <p14:tracePt t="69168" x="2811463" y="6059488"/>
          <p14:tracePt t="69176" x="2727325" y="6059488"/>
          <p14:tracePt t="69185" x="2668588" y="6059488"/>
          <p14:tracePt t="69192" x="2608263" y="6059488"/>
          <p14:tracePt t="69201" x="2565400" y="6059488"/>
          <p14:tracePt t="69208" x="2489200" y="6059488"/>
          <p14:tracePt t="69217" x="2438400" y="6059488"/>
          <p14:tracePt t="69224" x="2379663" y="6059488"/>
          <p14:tracePt t="69232" x="2301875" y="6059488"/>
          <p14:tracePt t="69240" x="2260600" y="6059488"/>
          <p14:tracePt t="69248" x="2200275" y="6059488"/>
          <p14:tracePt t="69257" x="2182813" y="6059488"/>
          <p14:tracePt t="69265" x="2149475" y="6059488"/>
          <p14:tracePt t="69272" x="2132013" y="6059488"/>
          <p14:tracePt t="69281" x="2116138" y="6059488"/>
          <p14:tracePt t="69289" x="2090738" y="6059488"/>
          <p14:tracePt t="69297" x="2081213" y="6059488"/>
          <p14:tracePt t="69304" x="2065338" y="6059488"/>
          <p14:tracePt t="69313" x="2055813" y="6059488"/>
          <p14:tracePt t="69321" x="2047875" y="6059488"/>
          <p14:tracePt t="69329" x="2038350" y="6059488"/>
          <p14:tracePt t="69337" x="2022475" y="6059488"/>
          <p14:tracePt t="69344" x="2012950" y="6059488"/>
          <p14:tracePt t="69354" x="2005013" y="6059488"/>
          <p14:tracePt t="69377" x="1997075" y="6049963"/>
          <p14:tracePt t="69385" x="1987550" y="6049963"/>
          <p14:tracePt t="69392" x="1979613" y="6042025"/>
          <p14:tracePt t="69400" x="1971675" y="6034088"/>
          <p14:tracePt t="69408" x="1962150" y="6024563"/>
          <p14:tracePt t="69416" x="1962150" y="6016625"/>
          <p14:tracePt t="69424" x="1954213" y="6008688"/>
          <p14:tracePt t="69440" x="1954213" y="5999163"/>
          <p14:tracePt t="69464" x="1954213" y="5991225"/>
          <p14:tracePt t="69481" x="1954213" y="5983288"/>
          <p14:tracePt t="69489" x="1954213" y="5973763"/>
          <p14:tracePt t="69497" x="1954213" y="5957888"/>
          <p14:tracePt t="69505" x="1962150" y="5940425"/>
          <p14:tracePt t="69513" x="1971675" y="5940425"/>
          <p14:tracePt t="69521" x="1971675" y="5922963"/>
          <p14:tracePt t="69538" x="1971675" y="5915025"/>
          <p14:tracePt t="69554" x="1971675" y="5905500"/>
          <p14:tracePt t="69561" x="1962150" y="5897563"/>
          <p14:tracePt t="69576" x="1954213" y="5897563"/>
          <p14:tracePt t="69585" x="1946275" y="5897563"/>
          <p14:tracePt t="69592" x="1936750" y="5897563"/>
          <p14:tracePt t="69608" x="1928813" y="5897563"/>
          <p14:tracePt t="69617" x="1920875" y="5897563"/>
          <p14:tracePt t="69978" x="1954213" y="5889625"/>
          <p14:tracePt t="69985" x="2022475" y="5889625"/>
          <p14:tracePt t="69993" x="2081213" y="5864225"/>
          <p14:tracePt t="70001" x="2149475" y="5854700"/>
          <p14:tracePt t="70008" x="2208213" y="5846763"/>
          <p14:tracePt t="70016" x="2251075" y="5838825"/>
          <p14:tracePt t="70024" x="2311400" y="5829300"/>
          <p14:tracePt t="70036" x="2352675" y="5829300"/>
          <p14:tracePt t="70040" x="2413000" y="5813425"/>
          <p14:tracePt t="70049" x="2471738" y="5803900"/>
          <p14:tracePt t="70059" x="2532063" y="5795963"/>
          <p14:tracePt t="70065" x="2574925" y="5795963"/>
          <p14:tracePt t="70073" x="2616200" y="5795963"/>
          <p14:tracePt t="70081" x="2633663" y="5795963"/>
          <p14:tracePt t="70090" x="2641600" y="5795963"/>
          <p14:tracePt t="70177" x="2651125" y="5795963"/>
          <p14:tracePt t="70185" x="2659063" y="5795963"/>
          <p14:tracePt t="70193" x="2668588" y="5795963"/>
          <p14:tracePt t="70209" x="2676525" y="5795963"/>
          <p14:tracePt t="70217" x="2693988" y="5795963"/>
          <p14:tracePt t="70225" x="2701925" y="5795963"/>
          <p14:tracePt t="70234" x="2735263" y="5788025"/>
          <p14:tracePt t="70240" x="2778125" y="5788025"/>
          <p14:tracePt t="70249" x="2803525" y="5788025"/>
          <p14:tracePt t="70257" x="2838450" y="5788025"/>
          <p14:tracePt t="70273" x="2854325" y="5788025"/>
          <p14:tracePt t="70290" x="2854325" y="5795963"/>
          <p14:tracePt t="70306" x="2846388" y="5795963"/>
          <p14:tracePt t="70313" x="2811463" y="5788025"/>
          <p14:tracePt t="70321" x="2795588" y="5778500"/>
          <p14:tracePt t="70538" x="2803525" y="5788025"/>
          <p14:tracePt t="70545" x="2795588" y="5803900"/>
          <p14:tracePt t="70569" x="2803525" y="5803900"/>
          <p14:tracePt t="70577" x="2803525" y="5813425"/>
          <p14:tracePt t="70634" x="2803525" y="5821363"/>
          <p14:tracePt t="70697" x="2795588" y="5821363"/>
          <p14:tracePt t="74361" x="2803525" y="5821363"/>
          <p14:tracePt t="74377" x="2820988" y="5821363"/>
          <p14:tracePt t="74385" x="2828925" y="5821363"/>
          <p14:tracePt t="74401" x="2838450" y="5821363"/>
          <p14:tracePt t="74409" x="2846388" y="5821363"/>
          <p14:tracePt t="74417" x="2854325" y="5821363"/>
          <p14:tracePt t="74424" x="2863850" y="5821363"/>
          <p14:tracePt t="74434" x="2879725" y="5829300"/>
          <p14:tracePt t="74441" x="2905125" y="5829300"/>
          <p14:tracePt t="74449" x="2905125" y="5838825"/>
          <p14:tracePt t="74864" x="2879725" y="5854700"/>
          <p14:tracePt t="74880" x="2879725" y="5864225"/>
          <p14:tracePt t="74904" x="2879725" y="5872163"/>
          <p14:tracePt t="74912" x="2889250" y="5872163"/>
          <p14:tracePt t="74920" x="2897188" y="5872163"/>
          <p14:tracePt t="74984" x="2897188" y="5864225"/>
          <p14:tracePt t="75000" x="2889250" y="5864225"/>
          <p14:tracePt t="75024" x="2889250" y="5854700"/>
          <p14:tracePt t="75033" x="2889250" y="5846763"/>
          <p14:tracePt t="75328" x="2897188" y="5846763"/>
          <p14:tracePt t="75529" x="2889250" y="5838825"/>
          <p14:tracePt t="75537" x="2879725" y="5838825"/>
          <p14:tracePt t="75545" x="2863850" y="5821363"/>
          <p14:tracePt t="75554" x="2828925" y="5803900"/>
          <p14:tracePt t="75561" x="2795588" y="5795963"/>
          <p14:tracePt t="75570" x="2760663" y="5778500"/>
          <p14:tracePt t="75577" x="2719388" y="5753100"/>
          <p14:tracePt t="75585" x="2668588" y="5710238"/>
          <p14:tracePt t="75593" x="2616200" y="5668963"/>
          <p14:tracePt t="75600" x="2582863" y="5616575"/>
          <p14:tracePt t="75608" x="2524125" y="5524500"/>
          <p14:tracePt t="75616" x="2481263" y="5438775"/>
          <p14:tracePt t="75624" x="2413000" y="5268913"/>
          <p14:tracePt t="75632" x="2362200" y="5132388"/>
          <p14:tracePt t="75640" x="2301875" y="4962525"/>
          <p14:tracePt t="75648" x="2251075" y="4810125"/>
          <p14:tracePt t="75656" x="2217738" y="4622800"/>
          <p14:tracePt t="75664" x="2200275" y="4521200"/>
          <p14:tracePt t="75672" x="2166938" y="4419600"/>
          <p14:tracePt t="75680" x="2141538" y="4316413"/>
          <p14:tracePt t="75688" x="2132013" y="4249738"/>
          <p14:tracePt t="75696" x="2132013" y="4171950"/>
          <p14:tracePt t="75705" x="2132013" y="4130675"/>
          <p14:tracePt t="75713" x="2132013" y="4087813"/>
          <p14:tracePt t="75720" x="2149475" y="4079875"/>
          <p14:tracePt t="75728" x="2157413" y="4062413"/>
          <p14:tracePt t="75737" x="2182813" y="4062413"/>
          <p14:tracePt t="75745" x="2208213" y="4062413"/>
          <p14:tracePt t="75754" x="2225675" y="4052888"/>
          <p14:tracePt t="75769" x="2243138" y="4052888"/>
          <p14:tracePt t="75777" x="2251075" y="4070350"/>
          <p14:tracePt t="76223" x="2251075" y="4087813"/>
          <p14:tracePt t="76255" x="2260600" y="4087813"/>
          <p14:tracePt t="76263" x="2260600" y="4095750"/>
          <p14:tracePt t="76288" x="2260600" y="4105275"/>
          <p14:tracePt t="76312" x="2251075" y="4105275"/>
          <p14:tracePt t="76319" x="2243138" y="4113213"/>
          <p14:tracePt t="76335" x="2235200" y="4113213"/>
          <p14:tracePt t="76480" x="2225675" y="4113213"/>
          <p14:tracePt t="76536" x="2217738" y="4105275"/>
          <p14:tracePt t="76545" x="2217738" y="4095750"/>
          <p14:tracePt t="76554" x="2208213" y="4087813"/>
          <p14:tracePt t="76561" x="2192338" y="4062413"/>
          <p14:tracePt t="76569" x="2174875" y="4052888"/>
          <p14:tracePt t="76577" x="2166938" y="4027488"/>
          <p14:tracePt t="76585" x="2141538" y="4011613"/>
          <p14:tracePt t="76592" x="2124075" y="3986213"/>
          <p14:tracePt t="76600" x="2106613" y="3968750"/>
          <p14:tracePt t="76608" x="2090738" y="3960813"/>
          <p14:tracePt t="76615" x="2081213" y="3951288"/>
          <p14:tracePt t="76624" x="2073275" y="3935413"/>
          <p14:tracePt t="76632" x="2065338" y="3925888"/>
          <p14:tracePt t="76640" x="2055813" y="3925888"/>
          <p14:tracePt t="76648" x="2055813" y="3917950"/>
          <p14:tracePt t="76656" x="2038350" y="3908425"/>
          <p14:tracePt t="76664" x="2030413" y="3908425"/>
          <p14:tracePt t="76672" x="2022475" y="3900488"/>
          <p14:tracePt t="76680" x="2005013" y="3900488"/>
          <p14:tracePt t="76688" x="2005013" y="3892550"/>
          <p14:tracePt t="76696" x="1987550" y="3892550"/>
          <p14:tracePt t="76704" x="1979613" y="3875088"/>
          <p14:tracePt t="76712" x="1971675" y="3867150"/>
          <p14:tracePt t="76738" x="1971675" y="3857625"/>
          <p14:tracePt t="77112" x="1971675" y="3849688"/>
          <p14:tracePt t="77128" x="1979613" y="3849688"/>
          <p14:tracePt t="77136" x="1987550" y="3849688"/>
          <p14:tracePt t="77921" x="1997075" y="3849688"/>
          <p14:tracePt t="78001" x="2012950" y="3849688"/>
          <p14:tracePt t="78009" x="2022475" y="3849688"/>
          <p14:tracePt t="78017" x="2022475" y="3841750"/>
          <p14:tracePt t="78025" x="2030413" y="3832225"/>
          <p14:tracePt t="78042" x="2030413" y="3824288"/>
          <p14:tracePt t="78049" x="2038350" y="3824288"/>
          <p14:tracePt t="78074" x="2038350" y="3806825"/>
          <p14:tracePt t="78081" x="2047875" y="3790950"/>
          <p14:tracePt t="78091" x="2055813" y="3781425"/>
          <p14:tracePt t="78097" x="2065338" y="3756025"/>
          <p14:tracePt t="78105" x="2065338" y="3722688"/>
          <p14:tracePt t="78113" x="2073275" y="3687763"/>
          <p14:tracePt t="78121" x="2081213" y="3619500"/>
          <p14:tracePt t="78128" x="2090738" y="3560763"/>
          <p14:tracePt t="78137" x="2090738" y="3475038"/>
          <p14:tracePt t="78146" x="2090738" y="3373438"/>
          <p14:tracePt t="78154" x="2090738" y="3314700"/>
          <p14:tracePt t="78161" x="2090738" y="3246438"/>
          <p14:tracePt t="78169" x="2073275" y="3221038"/>
          <p14:tracePt t="78178" x="2073275" y="3203575"/>
          <p14:tracePt t="78193" x="2073275" y="3186113"/>
          <p14:tracePt t="78200" x="2073275" y="3178175"/>
          <p14:tracePt t="78417" x="2055813" y="3178175"/>
          <p14:tracePt t="78425" x="2030413" y="3178175"/>
          <p14:tracePt t="78433" x="1997075" y="3170238"/>
          <p14:tracePt t="78442" x="1979613" y="3160713"/>
          <p14:tracePt t="78449" x="1946275" y="3152775"/>
          <p14:tracePt t="78459" x="1920875" y="3135313"/>
          <p14:tracePt t="78465" x="1885950" y="3127375"/>
          <p14:tracePt t="78475" x="1868488" y="3127375"/>
          <p14:tracePt t="78480" x="1835150" y="3119438"/>
          <p14:tracePt t="78488" x="1809750" y="3119438"/>
          <p14:tracePt t="78496" x="1801813" y="3109913"/>
          <p14:tracePt t="78504" x="1784350" y="3101975"/>
          <p14:tracePt t="78512" x="1776413" y="3101975"/>
          <p14:tracePt t="78520" x="1766888" y="3101975"/>
          <p14:tracePt t="78528" x="1766888" y="3094038"/>
          <p14:tracePt t="78544" x="1766888" y="3084513"/>
          <p14:tracePt t="78560" x="1766888" y="3076575"/>
          <p14:tracePt t="78577" x="1766888" y="3067050"/>
          <p14:tracePt t="78583" x="1766888" y="3059113"/>
          <p14:tracePt t="78600" x="1766888" y="3051175"/>
          <p14:tracePt t="78608" x="1758950" y="3041650"/>
          <p14:tracePt t="78616" x="1758950" y="3033713"/>
          <p14:tracePt t="78624" x="1749425" y="3016250"/>
          <p14:tracePt t="78632" x="1741488" y="2990850"/>
          <p14:tracePt t="78640" x="1733550" y="2982913"/>
          <p14:tracePt t="78648" x="1716088" y="2957513"/>
          <p14:tracePt t="78656" x="1716088" y="2940050"/>
          <p14:tracePt t="78664" x="1708150" y="2914650"/>
          <p14:tracePt t="78674" x="1708150" y="2906713"/>
          <p14:tracePt t="78680" x="1698625" y="2881313"/>
          <p14:tracePt t="78690" x="1690688" y="2863850"/>
          <p14:tracePt t="78697" x="1682750" y="2855913"/>
          <p14:tracePt t="78705" x="1673225" y="2838450"/>
          <p14:tracePt t="78713" x="1665288" y="2830513"/>
          <p14:tracePt t="78721" x="1657350" y="2813050"/>
          <p14:tracePt t="78729" x="1647825" y="2813050"/>
          <p14:tracePt t="78737" x="1639888" y="2787650"/>
          <p14:tracePt t="78745" x="1631950" y="2778125"/>
          <p14:tracePt t="78753" x="1614488" y="2770188"/>
          <p14:tracePt t="78760" x="1597025" y="2752725"/>
          <p14:tracePt t="78768" x="1589088" y="2727325"/>
          <p14:tracePt t="78776" x="1563688" y="2711450"/>
          <p14:tracePt t="78784" x="1554163" y="2693988"/>
          <p14:tracePt t="78792" x="1520825" y="2651125"/>
          <p14:tracePt t="78800" x="1512888" y="2633663"/>
          <p14:tracePt t="78808" x="1470025" y="2574925"/>
          <p14:tracePt t="78816" x="1419225" y="2506663"/>
          <p14:tracePt t="78824" x="1333500" y="2413000"/>
          <p14:tracePt t="83001" x="3049588" y="1019175"/>
          <p14:tracePt t="83010" x="3117850" y="917575"/>
          <p14:tracePt t="83017" x="3219450" y="773113"/>
          <p14:tracePt t="83024" x="3297238" y="688975"/>
          <p14:tracePt t="83033" x="3363913" y="603250"/>
          <p14:tracePt t="83042" x="3432175" y="509588"/>
          <p14:tracePt t="83048" x="3475038" y="450850"/>
          <p14:tracePt t="83057" x="3508375" y="400050"/>
          <p14:tracePt t="83066" x="3525838" y="382588"/>
          <p14:tracePt t="83072" x="3525838" y="374650"/>
          <p14:tracePt t="83113" x="3508375" y="374650"/>
          <p14:tracePt t="83120" x="3492500" y="374650"/>
          <p14:tracePt t="83129" x="3482975" y="374650"/>
          <p14:tracePt t="83138" x="3475038" y="382588"/>
          <p14:tracePt t="83185" x="3482975" y="365125"/>
          <p14:tracePt t="83192" x="3500438" y="331788"/>
          <p14:tracePt t="83201" x="3517900" y="280988"/>
          <p14:tracePt t="83208" x="3533775" y="246063"/>
          <p14:tracePt t="83217" x="3551238" y="212725"/>
          <p14:tracePt t="83226" x="3559175" y="187325"/>
          <p14:tracePt t="83233" x="3576638" y="177800"/>
          <p14:tracePt t="83248" x="3576638" y="169863"/>
          <p14:tracePt t="83321" x="3576638" y="152400"/>
          <p14:tracePt t="83329" x="3568700" y="136525"/>
          <p14:tracePt t="83337" x="3559175" y="101600"/>
          <p14:tracePt t="83344" x="3533775" y="58738"/>
          <p14:tracePt t="83352" x="3508375" y="33338"/>
          <p14:tracePt t="83360" x="3475038" y="0"/>
          <p14:tracePt t="86168" x="339725" y="833438"/>
          <p14:tracePt t="86168" x="806450" y="1241425"/>
          <p14:tracePt t="86168" x="1155700" y="1470025"/>
          <p14:tracePt t="86168" x="1563688" y="1751013"/>
          <p14:tracePt t="86168" x="1817688" y="1920875"/>
          <p14:tracePt t="86168" x="2047875" y="2166938"/>
          <p14:tracePt t="86168" x="2141538" y="2311400"/>
          <p14:tracePt t="86168" x="2243138" y="2506663"/>
          <p14:tracePt t="86168" x="2319338" y="2643188"/>
          <p14:tracePt t="86168" x="2438400" y="2889250"/>
          <p14:tracePt t="86168" x="2651125" y="3263900"/>
          <p14:tracePt t="86168" x="2838450" y="3629025"/>
          <p14:tracePt t="86168" x="3203575" y="4087813"/>
          <p14:tracePt t="86168" x="3594100" y="4486275"/>
          <p14:tracePt t="86168" x="4222750" y="4860925"/>
          <p14:tracePt t="86168" x="4689475" y="5073650"/>
          <p14:tracePt t="86168" x="5233988" y="5175250"/>
          <p14:tracePt t="86168" x="5641975" y="5141913"/>
          <p14:tracePt t="86168" x="5938838" y="5038725"/>
          <p14:tracePt t="86168" x="6142038" y="4878388"/>
          <p14:tracePt t="86168" x="6219825" y="4784725"/>
          <p14:tracePt t="86168" x="6270625" y="4699000"/>
          <p14:tracePt t="86168" x="6296025" y="4622800"/>
          <p14:tracePt t="86168" x="6338888" y="4529138"/>
          <p14:tracePt t="86168" x="6372225" y="4470400"/>
          <p14:tracePt t="86168" x="6440488" y="4402138"/>
          <p14:tracePt t="86168" x="6491288" y="4333875"/>
          <p14:tracePt t="86168" x="6534150" y="4300538"/>
          <p14:tracePt t="86168" x="6534150" y="4275138"/>
          <p14:tracePt t="86168" x="6653213" y="4265613"/>
          <p14:tracePt t="86168" x="6823075" y="4249738"/>
          <p14:tracePt t="86168" x="7229475" y="4249738"/>
          <p14:tracePt t="86168" x="7545388" y="4249738"/>
          <p14:tracePt t="86168" x="7951788" y="4249738"/>
          <p14:tracePt t="86168" x="8308975" y="4214813"/>
          <p14:tracePt t="86168" x="8724900" y="4138613"/>
          <p14:tracePt t="86168" x="9328150" y="3994150"/>
          <p14:tracePt t="86168" x="9812338" y="3867150"/>
          <p14:tracePt t="86168" x="10467975" y="3763963"/>
          <p14:tracePt t="86168" x="10968038" y="3697288"/>
          <p14:tracePt t="86168" x="11537950" y="3578225"/>
          <p14:tracePt t="86168" x="11809413" y="3527425"/>
          <p14:tracePt t="86168" x="12072938" y="3459163"/>
          <p14:tracePt t="86168" x="12184063" y="3449638"/>
          <p14:tracePt t="86168" x="11418888" y="3051175"/>
          <p14:tracePt t="86168" x="10594975" y="2871788"/>
          <p14:tracePt t="86168" x="10009188" y="2633663"/>
          <p14:tracePt t="86168" x="9031288" y="2319338"/>
          <p14:tracePt t="86168" x="8283575" y="2073275"/>
          <p14:tracePt t="86168" x="7281863" y="1733550"/>
          <p14:tracePt t="86168" x="6534150" y="1487488"/>
          <p14:tracePt t="86168" x="5862638" y="1241425"/>
          <p14:tracePt t="86168" x="4859338" y="935038"/>
          <p14:tracePt t="86168" x="4111625" y="679450"/>
          <p14:tracePt t="86168" x="3194050" y="476250"/>
          <p14:tracePt t="86168" x="2684463" y="347663"/>
          <p14:tracePt t="86168" x="2005013" y="238125"/>
          <p14:tracePt t="86168" x="1579563" y="144463"/>
          <p14:tracePt t="86168" x="1239838" y="50800"/>
          <p14:tracePt t="86168" x="900113" y="0"/>
        </p14:tracePtLst>
      </p14:laserTraceLst>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1A613D-CD22-4627-8CE4-646679F213E6}"/>
              </a:ext>
            </a:extLst>
          </p:cNvPr>
          <p:cNvSpPr>
            <a:spLocks noGrp="1"/>
          </p:cNvSpPr>
          <p:nvPr>
            <p:ph sz="quarter" idx="14"/>
          </p:nvPr>
        </p:nvSpPr>
        <p:spPr>
          <a:xfrm>
            <a:off x="449580" y="1576443"/>
            <a:ext cx="11292840" cy="4479059"/>
          </a:xfrm>
        </p:spPr>
        <p:txBody>
          <a:bodyPr/>
          <a:lstStyle/>
          <a:p>
            <a:r>
              <a:rPr lang="en-US" dirty="0"/>
              <a:t>Ensure transit nodes/endpoints have hardened OS</a:t>
            </a:r>
          </a:p>
          <a:p>
            <a:pPr lvl="1"/>
            <a:r>
              <a:rPr lang="en-US" dirty="0"/>
              <a:t>Common vulnerability scans</a:t>
            </a:r>
          </a:p>
          <a:p>
            <a:pPr lvl="1"/>
            <a:r>
              <a:rPr lang="en-US" dirty="0"/>
              <a:t>Robust authentication procedure if asset is captured</a:t>
            </a:r>
          </a:p>
          <a:p>
            <a:pPr lvl="1"/>
            <a:r>
              <a:rPr lang="en-US" dirty="0"/>
              <a:t>In-depth IoT survivability analysis</a:t>
            </a:r>
          </a:p>
          <a:p>
            <a:r>
              <a:rPr lang="en-US" dirty="0"/>
              <a:t>Ensure network monitoring DCO (defensive cyber operations)</a:t>
            </a:r>
            <a:br>
              <a:rPr lang="en-US" dirty="0"/>
            </a:br>
            <a:r>
              <a:rPr lang="en-US" dirty="0"/>
              <a:t>effectiveness</a:t>
            </a:r>
          </a:p>
          <a:p>
            <a:pPr lvl="1"/>
            <a:r>
              <a:rPr lang="en-US" dirty="0"/>
              <a:t>No visibility blind spots for packet collection</a:t>
            </a:r>
          </a:p>
          <a:p>
            <a:pPr lvl="1"/>
            <a:r>
              <a:rPr lang="en-US" dirty="0"/>
              <a:t>Identify and mitigate network intrusions with high confidence</a:t>
            </a:r>
          </a:p>
          <a:p>
            <a:pPr lvl="1"/>
            <a:r>
              <a:rPr lang="en-US" dirty="0"/>
              <a:t>Incorporate SOAR (security, orchestration, automation and response) workflow</a:t>
            </a:r>
          </a:p>
          <a:p>
            <a:pPr lvl="1"/>
            <a:r>
              <a:rPr lang="en-US" dirty="0"/>
              <a:t>Recognize and mitigate rogue or compromised nodes</a:t>
            </a:r>
          </a:p>
          <a:p>
            <a:r>
              <a:rPr lang="en-US" dirty="0"/>
              <a:t>Test with live but controlled cyber attacks</a:t>
            </a:r>
          </a:p>
          <a:p>
            <a:pPr lvl="1"/>
            <a:r>
              <a:rPr lang="en-US" dirty="0"/>
              <a:t>DDoS, botnets, malware, advanced persistent threat (APT) with lateral movement</a:t>
            </a:r>
          </a:p>
          <a:p>
            <a:pPr lvl="1"/>
            <a:r>
              <a:rPr lang="en-US" dirty="0"/>
              <a:t>Full kill-chain emulation following the Mitre ATT&amp;CK framework</a:t>
            </a:r>
          </a:p>
          <a:p>
            <a:pPr lvl="1"/>
            <a:endParaRPr lang="en-US" dirty="0"/>
          </a:p>
          <a:p>
            <a:pPr lvl="1"/>
            <a:endParaRPr lang="en-US" dirty="0"/>
          </a:p>
        </p:txBody>
      </p:sp>
      <p:sp>
        <p:nvSpPr>
          <p:cNvPr id="3" name="Text Placeholder 2">
            <a:extLst>
              <a:ext uri="{FF2B5EF4-FFF2-40B4-BE49-F238E27FC236}">
                <a16:creationId xmlns:a16="http://schemas.microsoft.com/office/drawing/2014/main" id="{94BFC8B1-15F8-4BD3-8667-CAED3183649C}"/>
              </a:ext>
            </a:extLst>
          </p:cNvPr>
          <p:cNvSpPr>
            <a:spLocks noGrp="1"/>
          </p:cNvSpPr>
          <p:nvPr>
            <p:ph type="body" sz="quarter" idx="13"/>
          </p:nvPr>
        </p:nvSpPr>
        <p:spPr/>
        <p:txBody>
          <a:bodyPr/>
          <a:lstStyle/>
          <a:p>
            <a:r>
              <a:rPr lang="en-US" dirty="0"/>
              <a:t>…under cyber attack</a:t>
            </a:r>
          </a:p>
        </p:txBody>
      </p:sp>
      <p:sp>
        <p:nvSpPr>
          <p:cNvPr id="5" name="Title 4">
            <a:extLst>
              <a:ext uri="{FF2B5EF4-FFF2-40B4-BE49-F238E27FC236}">
                <a16:creationId xmlns:a16="http://schemas.microsoft.com/office/drawing/2014/main" id="{81964378-EB0D-4428-8D9C-91BD21F05179}"/>
              </a:ext>
            </a:extLst>
          </p:cNvPr>
          <p:cNvSpPr>
            <a:spLocks noGrp="1"/>
          </p:cNvSpPr>
          <p:nvPr>
            <p:ph type="title"/>
          </p:nvPr>
        </p:nvSpPr>
        <p:spPr/>
        <p:txBody>
          <a:bodyPr/>
          <a:lstStyle/>
          <a:p>
            <a:r>
              <a:rPr lang="en-US" dirty="0"/>
              <a:t>Testing IP</a:t>
            </a:r>
          </a:p>
        </p:txBody>
      </p:sp>
      <p:pic>
        <p:nvPicPr>
          <p:cNvPr id="21" name="Picture Placeholder 12" descr="A screen shot of a computer&#10;&#10;Description automatically generated">
            <a:extLst>
              <a:ext uri="{FF2B5EF4-FFF2-40B4-BE49-F238E27FC236}">
                <a16:creationId xmlns:a16="http://schemas.microsoft.com/office/drawing/2014/main" id="{47C69A62-EC61-4B58-B8A8-26DF0916A26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80470" y="3990904"/>
            <a:ext cx="3699684" cy="1753650"/>
          </a:xfrm>
          <a:prstGeom prst="rect">
            <a:avLst/>
          </a:prstGeom>
        </p:spPr>
      </p:pic>
      <p:sp>
        <p:nvSpPr>
          <p:cNvPr id="22" name="Rectangle 21">
            <a:extLst>
              <a:ext uri="{FF2B5EF4-FFF2-40B4-BE49-F238E27FC236}">
                <a16:creationId xmlns:a16="http://schemas.microsoft.com/office/drawing/2014/main" id="{E940BB6C-E185-4F7A-99D4-19487A96124D}"/>
              </a:ext>
            </a:extLst>
          </p:cNvPr>
          <p:cNvSpPr/>
          <p:nvPr/>
        </p:nvSpPr>
        <p:spPr>
          <a:xfrm>
            <a:off x="9372035" y="5610293"/>
            <a:ext cx="2716553" cy="646331"/>
          </a:xfrm>
          <a:prstGeom prst="rect">
            <a:avLst/>
          </a:prstGeom>
        </p:spPr>
        <p:txBody>
          <a:bodyPr wrap="square">
            <a:spAutoFit/>
          </a:bodyPr>
          <a:lstStyle/>
          <a:p>
            <a:pPr algn="ctr"/>
            <a:r>
              <a:rPr lang="en-US" dirty="0"/>
              <a:t>Cyber attack simulation (Automated red team)</a:t>
            </a:r>
          </a:p>
        </p:txBody>
      </p:sp>
      <p:pic>
        <p:nvPicPr>
          <p:cNvPr id="7" name="Picture 6">
            <a:extLst>
              <a:ext uri="{FF2B5EF4-FFF2-40B4-BE49-F238E27FC236}">
                <a16:creationId xmlns:a16="http://schemas.microsoft.com/office/drawing/2014/main" id="{12E81462-60D9-4CE3-B8A5-34D25627BC29}"/>
              </a:ext>
            </a:extLst>
          </p:cNvPr>
          <p:cNvPicPr>
            <a:picLocks noChangeAspect="1"/>
          </p:cNvPicPr>
          <p:nvPr/>
        </p:nvPicPr>
        <p:blipFill>
          <a:blip r:embed="rId6"/>
          <a:stretch>
            <a:fillRect/>
          </a:stretch>
        </p:blipFill>
        <p:spPr>
          <a:xfrm>
            <a:off x="7550333" y="1370282"/>
            <a:ext cx="4453481" cy="1860545"/>
          </a:xfrm>
          <a:prstGeom prst="rect">
            <a:avLst/>
          </a:prstGeom>
        </p:spPr>
      </p:pic>
      <p:pic>
        <p:nvPicPr>
          <p:cNvPr id="6" name="Audio 5">
            <a:hlinkClick r:id="" action="ppaction://media"/>
            <a:extLst>
              <a:ext uri="{FF2B5EF4-FFF2-40B4-BE49-F238E27FC236}">
                <a16:creationId xmlns:a16="http://schemas.microsoft.com/office/drawing/2014/main" id="{DA747731-CCB5-41D2-8497-E6869220F676}"/>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7980264"/>
      </p:ext>
    </p:extLst>
  </p:cSld>
  <p:clrMapOvr>
    <a:masterClrMapping/>
  </p:clrMapOvr>
  <mc:AlternateContent xmlns:mc="http://schemas.openxmlformats.org/markup-compatibility/2006" xmlns:p14="http://schemas.microsoft.com/office/powerpoint/2010/main">
    <mc:Choice Requires="p14">
      <p:transition spd="slow" p14:dur="2000" advTm="134729"/>
    </mc:Choice>
    <mc:Fallback xmlns="">
      <p:transition spd="slow" advTm="13472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extLst>
    <p:ext uri="{3A86A75C-4F4B-4683-9AE1-C65F6400EC91}">
      <p14:laserTraceLst xmlns:p14="http://schemas.microsoft.com/office/powerpoint/2010/main">
        <p14:tracePtLst>
          <p14:tracePt t="3177" x="220663" y="58738"/>
          <p14:tracePt t="3185" x="203200" y="144463"/>
          <p14:tracePt t="3193" x="203200" y="212725"/>
          <p14:tracePt t="3201" x="203200" y="322263"/>
          <p14:tracePt t="3209" x="212725" y="400050"/>
          <p14:tracePt t="3217" x="230188" y="458788"/>
          <p14:tracePt t="3224" x="263525" y="519113"/>
          <p14:tracePt t="3233" x="271463" y="552450"/>
          <p14:tracePt t="3240" x="288925" y="577850"/>
          <p14:tracePt t="3249" x="296863" y="577850"/>
          <p14:tracePt t="3297" x="314325" y="585788"/>
          <p14:tracePt t="3304" x="331788" y="595313"/>
          <p14:tracePt t="3320" x="339725" y="595313"/>
          <p14:tracePt t="3329" x="339725" y="569913"/>
          <p14:tracePt t="3337" x="322263" y="569913"/>
          <p14:tracePt t="3554" x="314325" y="569913"/>
          <p14:tracePt t="3563" x="280988" y="569913"/>
          <p14:tracePt t="3569" x="255588" y="569913"/>
          <p14:tracePt t="3577" x="246063" y="569913"/>
          <p14:tracePt t="3584" x="230188" y="569913"/>
          <p14:tracePt t="3609" x="230188" y="577850"/>
          <p14:tracePt t="3617" x="238125" y="577850"/>
          <p14:tracePt t="3625" x="255588" y="585788"/>
          <p14:tracePt t="3633" x="271463" y="603250"/>
          <p14:tracePt t="3641" x="288925" y="611188"/>
          <p14:tracePt t="3649" x="306388" y="628650"/>
          <p14:tracePt t="3657" x="331788" y="654050"/>
          <p14:tracePt t="3665" x="357188" y="671513"/>
          <p14:tracePt t="3672" x="400050" y="714375"/>
          <p14:tracePt t="3682" x="407988" y="739775"/>
          <p14:tracePt t="3690" x="441325" y="747713"/>
          <p14:tracePt t="3698" x="458788" y="755650"/>
          <p14:tracePt t="3707" x="476250" y="765175"/>
          <p14:tracePt t="3714" x="501650" y="790575"/>
          <p14:tracePt t="3722" x="517525" y="808038"/>
          <p14:tracePt t="3731" x="552450" y="823913"/>
          <p14:tracePt t="3740" x="603250" y="841375"/>
          <p14:tracePt t="3747" x="654050" y="866775"/>
          <p14:tracePt t="3756" x="696913" y="884238"/>
          <p14:tracePt t="3763" x="765175" y="900113"/>
          <p14:tracePt t="3769" x="798513" y="917575"/>
          <p14:tracePt t="3779" x="815975" y="935038"/>
          <p14:tracePt t="3786" x="841375" y="942975"/>
          <p14:tracePt t="3794" x="849313" y="952500"/>
          <p14:tracePt t="3802" x="858838" y="960438"/>
          <p14:tracePt t="4393" x="874713" y="960438"/>
          <p14:tracePt t="4401" x="960438" y="960438"/>
          <p14:tracePt t="4409" x="1138238" y="968375"/>
          <p14:tracePt t="4417" x="1554163" y="1028700"/>
          <p14:tracePt t="4425" x="1936750" y="1138238"/>
          <p14:tracePt t="4433" x="2481263" y="1282700"/>
          <p14:tracePt t="4441" x="2795588" y="1376363"/>
          <p14:tracePt t="4449" x="3092450" y="1411288"/>
          <p14:tracePt t="4457" x="3236913" y="1427163"/>
          <p14:tracePt t="4465" x="3363913" y="1452563"/>
          <p14:tracePt t="4474" x="3525838" y="1470025"/>
          <p14:tracePt t="4481" x="3662363" y="1487488"/>
          <p14:tracePt t="4488" x="3763963" y="1504950"/>
          <p14:tracePt t="4496" x="3883025" y="1520825"/>
          <p14:tracePt t="4504" x="4010025" y="1546225"/>
          <p14:tracePt t="4512" x="4121150" y="1571625"/>
          <p14:tracePt t="4521" x="4265613" y="1581150"/>
          <p14:tracePt t="4528" x="4367213" y="1606550"/>
          <p14:tracePt t="4536" x="4451350" y="1614488"/>
          <p14:tracePt t="4544" x="4554538" y="1639888"/>
          <p14:tracePt t="4553" x="4630738" y="1649413"/>
          <p14:tracePt t="4560" x="4714875" y="1657350"/>
          <p14:tracePt t="4568" x="4749800" y="1665288"/>
          <p14:tracePt t="4576" x="4765675" y="1665288"/>
          <p14:tracePt t="4592" x="4775200" y="1649413"/>
          <p14:tracePt t="4600" x="4749800" y="1622425"/>
          <p14:tracePt t="4784" x="4689475" y="1622425"/>
          <p14:tracePt t="4792" x="4605338" y="1639888"/>
          <p14:tracePt t="4800" x="4570413" y="1649413"/>
          <p14:tracePt t="4808" x="4537075" y="1674813"/>
          <p14:tracePt t="4816" x="4529138" y="1682750"/>
          <p14:tracePt t="4824" x="4529138" y="1690688"/>
          <p14:tracePt t="4832" x="4537075" y="1700213"/>
          <p14:tracePt t="4840" x="4562475" y="1708150"/>
          <p14:tracePt t="4848" x="4613275" y="1708150"/>
          <p14:tracePt t="4856" x="4646613" y="1733550"/>
          <p14:tracePt t="4864" x="4749800" y="1766888"/>
          <p14:tracePt t="4872" x="4843463" y="1801813"/>
          <p14:tracePt t="4880" x="4945063" y="1835150"/>
          <p14:tracePt t="4888" x="5072063" y="1895475"/>
          <p14:tracePt t="4896" x="5165725" y="1920875"/>
          <p14:tracePt t="4904" x="5276850" y="1938338"/>
          <p14:tracePt t="4912" x="5335588" y="1954213"/>
          <p14:tracePt t="4921" x="5394325" y="1963738"/>
          <p14:tracePt t="4928" x="5403850" y="1963738"/>
          <p14:tracePt t="4936" x="5411788" y="1963738"/>
          <p14:tracePt t="5568" x="5386388" y="1971675"/>
          <p14:tracePt t="5576" x="5353050" y="1979613"/>
          <p14:tracePt t="5584" x="5302250" y="1989138"/>
          <p14:tracePt t="5592" x="5276850" y="1989138"/>
          <p14:tracePt t="5600" x="5259388" y="1997075"/>
          <p14:tracePt t="5608" x="5233988" y="2005013"/>
          <p14:tracePt t="5616" x="5208588" y="2030413"/>
          <p14:tracePt t="5624" x="5157788" y="2073275"/>
          <p14:tracePt t="5632" x="5106988" y="2116138"/>
          <p14:tracePt t="5640" x="5046663" y="2166938"/>
          <p14:tracePt t="5648" x="4978400" y="2209800"/>
          <p14:tracePt t="5656" x="4910138" y="2268538"/>
          <p14:tracePt t="5664" x="4833938" y="2336800"/>
          <p14:tracePt t="5672" x="4765675" y="2387600"/>
          <p14:tracePt t="5680" x="4714875" y="2430463"/>
          <p14:tracePt t="5688" x="4699000" y="2455863"/>
          <p14:tracePt t="5696" x="4681538" y="2463800"/>
          <p14:tracePt t="5704" x="4673600" y="2463800"/>
          <p14:tracePt t="5744" x="4681538" y="2463800"/>
          <p14:tracePt t="5752" x="4689475" y="2463800"/>
          <p14:tracePt t="5760" x="4706938" y="2447925"/>
          <p14:tracePt t="5768" x="4740275" y="2438400"/>
          <p14:tracePt t="5776" x="4757738" y="2422525"/>
          <p14:tracePt t="5784" x="4791075" y="2405063"/>
          <p14:tracePt t="5792" x="4800600" y="2397125"/>
          <p14:tracePt t="5800" x="4818063" y="2387600"/>
          <p14:tracePt t="5808" x="4833938" y="2371725"/>
          <p14:tracePt t="5816" x="4851400" y="2362200"/>
          <p14:tracePt t="5825" x="4868863" y="2344738"/>
          <p14:tracePt t="5832" x="4884738" y="2336800"/>
          <p14:tracePt t="5920" x="4894263" y="2336800"/>
          <p14:tracePt t="5928" x="4902200" y="2336800"/>
          <p14:tracePt t="5936" x="4919663" y="2336800"/>
          <p14:tracePt t="5953" x="4927600" y="2336800"/>
          <p14:tracePt t="5976" x="4935538" y="2336800"/>
          <p14:tracePt t="5984" x="4953000" y="2336800"/>
          <p14:tracePt t="6008" x="4962525" y="2336800"/>
          <p14:tracePt t="6016" x="4970463" y="2336800"/>
          <p14:tracePt t="6072" x="4962525" y="2328863"/>
          <p14:tracePt t="6088" x="4962525" y="2319338"/>
          <p14:tracePt t="6112" x="4970463" y="2311400"/>
          <p14:tracePt t="6120" x="4978400" y="2293938"/>
          <p14:tracePt t="6128" x="4995863" y="2278063"/>
          <p14:tracePt t="6136" x="5003800" y="2278063"/>
          <p14:tracePt t="6144" x="5021263" y="2252663"/>
          <p14:tracePt t="6153" x="5038725" y="2235200"/>
          <p14:tracePt t="6160" x="5046663" y="2227263"/>
          <p14:tracePt t="6168" x="5064125" y="2200275"/>
          <p14:tracePt t="6177" x="5072063" y="2192338"/>
          <p14:tracePt t="6184" x="5089525" y="2174875"/>
          <p14:tracePt t="6192" x="5097463" y="2159000"/>
          <p14:tracePt t="6200" x="5122863" y="2149475"/>
          <p14:tracePt t="6208" x="5148263" y="2133600"/>
          <p14:tracePt t="6216" x="5157788" y="2116138"/>
          <p14:tracePt t="6224" x="5183188" y="2108200"/>
          <p14:tracePt t="6232" x="5208588" y="2098675"/>
          <p14:tracePt t="6240" x="5233988" y="2082800"/>
          <p14:tracePt t="6248" x="5241925" y="2073275"/>
          <p14:tracePt t="6256" x="5249863" y="2073275"/>
          <p14:tracePt t="6472" x="5259388" y="2073275"/>
          <p14:tracePt t="6480" x="5267325" y="2073275"/>
          <p14:tracePt t="6489" x="5284788" y="2073275"/>
          <p14:tracePt t="6496" x="5310188" y="2073275"/>
          <p14:tracePt t="6504" x="5353050" y="2073275"/>
          <p14:tracePt t="6512" x="5378450" y="2073275"/>
          <p14:tracePt t="6520" x="5421313" y="2073275"/>
          <p14:tracePt t="6528" x="5462588" y="2073275"/>
          <p14:tracePt t="6536" x="5513388" y="2073275"/>
          <p14:tracePt t="6544" x="5581650" y="2065338"/>
          <p14:tracePt t="6553" x="5657850" y="2039938"/>
          <p14:tracePt t="6560" x="5743575" y="2030413"/>
          <p14:tracePt t="6568" x="5819775" y="2022475"/>
          <p14:tracePt t="6576" x="5905500" y="2005013"/>
          <p14:tracePt t="6584" x="6032500" y="1971675"/>
          <p14:tracePt t="6592" x="6108700" y="1963738"/>
          <p14:tracePt t="6600" x="6235700" y="1938338"/>
          <p14:tracePt t="6608" x="6311900" y="1928813"/>
          <p14:tracePt t="6616" x="6397625" y="1920875"/>
          <p14:tracePt t="6624" x="6440488" y="1911350"/>
          <p14:tracePt t="6632" x="6473825" y="1903413"/>
          <p14:tracePt t="6640" x="6491288" y="1895475"/>
          <p14:tracePt t="6648" x="6499225" y="1895475"/>
          <p14:tracePt t="6656" x="6499225" y="1885950"/>
          <p14:tracePt t="6664" x="6508750" y="1878013"/>
          <p14:tracePt t="6672" x="6524625" y="1878013"/>
          <p14:tracePt t="6688" x="6542088" y="1860550"/>
          <p14:tracePt t="6696" x="6550025" y="1852613"/>
          <p14:tracePt t="6704" x="6575425" y="1844675"/>
          <p14:tracePt t="6712" x="6592888" y="1827213"/>
          <p14:tracePt t="6720" x="6610350" y="1819275"/>
          <p14:tracePt t="6736" x="6618288" y="1809750"/>
          <p14:tracePt t="6976" x="6618288" y="1793875"/>
          <p14:tracePt t="6992" x="6635750" y="1819275"/>
          <p14:tracePt t="7008" x="6626225" y="1827213"/>
          <p14:tracePt t="7016" x="6626225" y="1835150"/>
          <p14:tracePt t="7096" x="6635750" y="1835150"/>
          <p14:tracePt t="7104" x="6653213" y="1835150"/>
          <p14:tracePt t="7113" x="6669088" y="1835150"/>
          <p14:tracePt t="7120" x="6678613" y="1844675"/>
          <p14:tracePt t="7128" x="6694488" y="1852613"/>
          <p14:tracePt t="7136" x="6711950" y="1852613"/>
          <p14:tracePt t="7905" x="6719888" y="1852613"/>
          <p14:tracePt t="7920" x="6745288" y="1852613"/>
          <p14:tracePt t="7929" x="6762750" y="1852613"/>
          <p14:tracePt t="7936" x="6788150" y="1852613"/>
          <p14:tracePt t="7945" x="6813550" y="1844675"/>
          <p14:tracePt t="7953" x="6838950" y="1827213"/>
          <p14:tracePt t="7961" x="6848475" y="1819275"/>
          <p14:tracePt t="7970" x="6873875" y="1793875"/>
          <p14:tracePt t="7977" x="6899275" y="1766888"/>
          <p14:tracePt t="7985" x="6950075" y="1716088"/>
          <p14:tracePt t="7993" x="6975475" y="1690688"/>
          <p14:tracePt t="8001" x="7043738" y="1649413"/>
          <p14:tracePt t="8009" x="7059613" y="1631950"/>
          <p14:tracePt t="8017" x="7085013" y="1614488"/>
          <p14:tracePt t="8025" x="7094538" y="1606550"/>
          <p14:tracePt t="8298" x="7085013" y="1606550"/>
          <p14:tracePt t="8306" x="7077075" y="1606550"/>
          <p14:tracePt t="8315" x="7069138" y="1606550"/>
          <p14:tracePt t="8331" x="7059613" y="1606550"/>
          <p14:tracePt t="8346" x="7043738" y="1606550"/>
          <p14:tracePt t="8356" x="7034213" y="1606550"/>
          <p14:tracePt t="8363" x="7018338" y="1614488"/>
          <p14:tracePt t="8372" x="7008813" y="1622425"/>
          <p14:tracePt t="8378" x="7000875" y="1622425"/>
          <p14:tracePt t="8385" x="6992938" y="1631950"/>
          <p14:tracePt t="8394" x="6983413" y="1639888"/>
          <p14:tracePt t="8402" x="6975475" y="1639888"/>
          <p14:tracePt t="8418" x="6967538" y="1649413"/>
          <p14:tracePt t="8425" x="6958013" y="1649413"/>
          <p14:tracePt t="8457" x="6958013" y="1657350"/>
          <p14:tracePt t="8481" x="6950075" y="1657350"/>
          <p14:tracePt t="8489" x="6942138" y="1657350"/>
          <p14:tracePt t="8506" x="6932613" y="1657350"/>
          <p14:tracePt t="8515" x="6915150" y="1665288"/>
          <p14:tracePt t="8523" x="6899275" y="1665288"/>
          <p14:tracePt t="8531" x="6889750" y="1665288"/>
          <p14:tracePt t="8539" x="6864350" y="1674813"/>
          <p14:tracePt t="8546" x="6848475" y="1674813"/>
          <p14:tracePt t="8556" x="6838950" y="1674813"/>
          <p14:tracePt t="8563" x="6823075" y="1682750"/>
          <p14:tracePt t="8572" x="6813550" y="1682750"/>
          <p14:tracePt t="8626" x="6805613" y="1682750"/>
          <p14:tracePt t="8634" x="6797675" y="1682750"/>
          <p14:tracePt t="8650" x="6788150" y="1682750"/>
          <p14:tracePt t="8657" x="6770688" y="1682750"/>
          <p14:tracePt t="8666" x="6762750" y="1682750"/>
          <p14:tracePt t="8673" x="6754813" y="1682750"/>
          <p14:tracePt t="8681" x="6745288" y="1690688"/>
          <p14:tracePt t="8689" x="6737350" y="1690688"/>
          <p14:tracePt t="8696" x="6719888" y="1690688"/>
          <p14:tracePt t="8713" x="6711950" y="1700213"/>
          <p14:tracePt t="8729" x="6704013" y="1700213"/>
          <p14:tracePt t="8736" x="6694488" y="1700213"/>
          <p14:tracePt t="8858" x="6686550" y="1700213"/>
          <p14:tracePt t="8873" x="6678613" y="1700213"/>
          <p14:tracePt t="11354" x="6669088" y="1700213"/>
          <p14:tracePt t="11978" x="6704013" y="1708150"/>
          <p14:tracePt t="11985" x="6729413" y="1708150"/>
          <p14:tracePt t="11994" x="6745288" y="1716088"/>
          <p14:tracePt t="12002" x="6754813" y="1725613"/>
          <p14:tracePt t="12025" x="6754813" y="1733550"/>
          <p14:tracePt t="12034" x="6754813" y="1751013"/>
          <p14:tracePt t="12042" x="6754813" y="1758950"/>
          <p14:tracePt t="12048" x="6745288" y="1776413"/>
          <p14:tracePt t="12057" x="6737350" y="1801813"/>
          <p14:tracePt t="12065" x="6729413" y="1801813"/>
          <p14:tracePt t="12073" x="6729413" y="1809750"/>
          <p14:tracePt t="12080" x="6719888" y="1793875"/>
          <p14:tracePt t="12089" x="6719888" y="1776413"/>
          <p14:tracePt t="12097" x="6719888" y="1758950"/>
          <p14:tracePt t="12105" x="6719888" y="1751013"/>
          <p14:tracePt t="12321" x="6719888" y="1758950"/>
          <p14:tracePt t="12378" x="6719888" y="1766888"/>
          <p14:tracePt t="12386" x="6711950" y="1776413"/>
          <p14:tracePt t="12394" x="6704013" y="1784350"/>
          <p14:tracePt t="12410" x="6694488" y="1801813"/>
          <p14:tracePt t="12418" x="6686550" y="1809750"/>
          <p14:tracePt t="12434" x="6678613" y="1819275"/>
          <p14:tracePt t="13609" x="6661150" y="1819275"/>
          <p14:tracePt t="13617" x="6653213" y="1819275"/>
          <p14:tracePt t="13625" x="6643688" y="1827213"/>
          <p14:tracePt t="13632" x="6626225" y="1827213"/>
          <p14:tracePt t="13666" x="6626225" y="1835150"/>
          <p14:tracePt t="13673" x="6618288" y="1835150"/>
          <p14:tracePt t="13682" x="6618288" y="1852613"/>
          <p14:tracePt t="13689" x="6618288" y="1860550"/>
          <p14:tracePt t="13697" x="6618288" y="1878013"/>
          <p14:tracePt t="13705" x="6618288" y="1895475"/>
          <p14:tracePt t="13714" x="6618288" y="1928813"/>
          <p14:tracePt t="13722" x="6618288" y="1963738"/>
          <p14:tracePt t="13730" x="6618288" y="1997075"/>
          <p14:tracePt t="13738" x="6635750" y="2022475"/>
          <p14:tracePt t="13747" x="6653213" y="2039938"/>
          <p14:tracePt t="13755" x="6669088" y="2055813"/>
          <p14:tracePt t="13762" x="6686550" y="2073275"/>
          <p14:tracePt t="13771" x="6704013" y="2073275"/>
          <p14:tracePt t="13777" x="6711950" y="2073275"/>
          <p14:tracePt t="13786" x="6729413" y="2065338"/>
          <p14:tracePt t="13793" x="6737350" y="2055813"/>
          <p14:tracePt t="13802" x="6754813" y="2030413"/>
          <p14:tracePt t="13809" x="6754813" y="2022475"/>
          <p14:tracePt t="13947" x="6762750" y="2022475"/>
          <p14:tracePt t="13955" x="6762750" y="2014538"/>
          <p14:tracePt t="13962" x="6770688" y="2022475"/>
          <p14:tracePt t="13971" x="6745288" y="2055813"/>
          <p14:tracePt t="13978" x="6745288" y="2065338"/>
          <p14:tracePt t="14042" x="6745288" y="2073275"/>
          <p14:tracePt t="14050" x="6737350" y="2073275"/>
          <p14:tracePt t="14057" x="6729413" y="2082800"/>
          <p14:tracePt t="14066" x="6711950" y="2090738"/>
          <p14:tracePt t="14074" x="6686550" y="2098675"/>
          <p14:tracePt t="14081" x="6653213" y="2116138"/>
          <p14:tracePt t="14089" x="6592888" y="2141538"/>
          <p14:tracePt t="14097" x="6534150" y="2166938"/>
          <p14:tracePt t="14105" x="6415088" y="2209800"/>
          <p14:tracePt t="14114" x="6311900" y="2260600"/>
          <p14:tracePt t="14121" x="6091238" y="2344738"/>
          <p14:tracePt t="14130" x="5895975" y="2405063"/>
          <p14:tracePt t="14141" x="5718175" y="2455863"/>
          <p14:tracePt t="14144" x="5429250" y="2541588"/>
          <p14:tracePt t="14153" x="5259388" y="2566988"/>
          <p14:tracePt t="14161" x="5064125" y="2608263"/>
          <p14:tracePt t="14169" x="4953000" y="2617788"/>
          <p14:tracePt t="14177" x="4808538" y="2643188"/>
          <p14:tracePt t="14184" x="4706938" y="2668588"/>
          <p14:tracePt t="14193" x="4605338" y="2676525"/>
          <p14:tracePt t="14201" x="4562475" y="2686050"/>
          <p14:tracePt t="14209" x="4519613" y="2686050"/>
          <p14:tracePt t="14216" x="4460875" y="2686050"/>
          <p14:tracePt t="14225" x="4418013" y="2686050"/>
          <p14:tracePt t="14233" x="4359275" y="2686050"/>
          <p14:tracePt t="14241" x="4316413" y="2686050"/>
          <p14:tracePt t="14249" x="4230688" y="2686050"/>
          <p14:tracePt t="14257" x="4187825" y="2686050"/>
          <p14:tracePt t="14265" x="4103688" y="2686050"/>
          <p14:tracePt t="14273" x="4044950" y="2686050"/>
          <p14:tracePt t="14281" x="3976688" y="2686050"/>
          <p14:tracePt t="14288" x="3900488" y="2686050"/>
          <p14:tracePt t="14296" x="3840163" y="2693988"/>
          <p14:tracePt t="14304" x="3756025" y="2711450"/>
          <p14:tracePt t="14313" x="3721100" y="2711450"/>
          <p14:tracePt t="14320" x="3695700" y="2711450"/>
          <p14:tracePt t="14336" x="3713163" y="2711450"/>
          <p14:tracePt t="14345" x="3746500" y="2686050"/>
          <p14:tracePt t="14353" x="3756025" y="2676525"/>
          <p14:tracePt t="14490" x="3806825" y="2676525"/>
          <p14:tracePt t="14498" x="3848100" y="2686050"/>
          <p14:tracePt t="14505" x="3873500" y="2701925"/>
          <p14:tracePt t="14515" x="3883025" y="2701925"/>
          <p14:tracePt t="14553" x="3873500" y="2701925"/>
          <p14:tracePt t="14563" x="3865563" y="2701925"/>
          <p14:tracePt t="14570" x="3822700" y="2701925"/>
          <p14:tracePt t="14578" x="3738563" y="2701925"/>
          <p14:tracePt t="14586" x="3652838" y="2701925"/>
          <p14:tracePt t="14594" x="3492500" y="2701925"/>
          <p14:tracePt t="14601" x="3338513" y="2701925"/>
          <p14:tracePt t="14610" x="3084513" y="2701925"/>
          <p14:tracePt t="14617" x="2854325" y="2701925"/>
          <p14:tracePt t="14625" x="2506663" y="2701925"/>
          <p14:tracePt t="14633" x="2276475" y="2701925"/>
          <p14:tracePt t="14641" x="2073275" y="2701925"/>
          <p14:tracePt t="14650" x="1809750" y="2701925"/>
          <p14:tracePt t="14657" x="1606550" y="2701925"/>
          <p14:tracePt t="14666" x="1477963" y="2701925"/>
          <p14:tracePt t="14674" x="1368425" y="2701925"/>
          <p14:tracePt t="14681" x="1249363" y="2701925"/>
          <p14:tracePt t="14690" x="1173163" y="2676525"/>
          <p14:tracePt t="14697" x="1112838" y="2668588"/>
          <p14:tracePt t="14705" x="1069975" y="2660650"/>
          <p14:tracePt t="14714" x="1036638" y="2643188"/>
          <p14:tracePt t="14721" x="1003300" y="2625725"/>
          <p14:tracePt t="14729" x="985838" y="2617788"/>
          <p14:tracePt t="14736" x="950913" y="2608263"/>
          <p14:tracePt t="14745" x="942975" y="2600325"/>
          <p14:tracePt t="14753" x="917575" y="2592388"/>
          <p14:tracePt t="14761" x="900113" y="2582863"/>
          <p14:tracePt t="14769" x="874713" y="2582863"/>
          <p14:tracePt t="14777" x="866775" y="2574925"/>
          <p14:tracePt t="14784" x="849313" y="2574925"/>
          <p14:tracePt t="14793" x="841375" y="2574925"/>
          <p14:tracePt t="14817" x="831850" y="2574925"/>
          <p14:tracePt t="14825" x="815975" y="2574925"/>
          <p14:tracePt t="14833" x="806450" y="2574925"/>
          <p14:tracePt t="14841" x="773113" y="2574925"/>
          <p14:tracePt t="14849" x="739775" y="2574925"/>
          <p14:tracePt t="14857" x="704850" y="2582863"/>
          <p14:tracePt t="14865" x="646113" y="2592388"/>
          <p14:tracePt t="14873" x="603250" y="2592388"/>
          <p14:tracePt t="14881" x="552450" y="2592388"/>
          <p14:tracePt t="14889" x="501650" y="2592388"/>
          <p14:tracePt t="14897" x="450850" y="2592388"/>
          <p14:tracePt t="14905" x="390525" y="2592388"/>
          <p14:tracePt t="14914" x="314325" y="2592388"/>
          <p14:tracePt t="14921" x="271463" y="2592388"/>
          <p14:tracePt t="14930" x="238125" y="2592388"/>
          <p14:tracePt t="14938" x="195263" y="2582863"/>
          <p14:tracePt t="14946" x="161925" y="2582863"/>
          <p14:tracePt t="14954" x="152400" y="2582863"/>
          <p14:tracePt t="14961" x="144463" y="2582863"/>
          <p14:tracePt t="14970" x="136525" y="2574925"/>
          <p14:tracePt t="14986" x="127000" y="2566988"/>
          <p14:tracePt t="14992" x="127000" y="2557463"/>
          <p14:tracePt t="15018" x="127000" y="2549525"/>
          <p14:tracePt t="15025" x="127000" y="2541588"/>
          <p14:tracePt t="15042" x="127000" y="2532063"/>
          <p14:tracePt t="15058" x="127000" y="2524125"/>
          <p14:tracePt t="15081" x="127000" y="2516188"/>
          <p14:tracePt t="15825" x="169863" y="2516188"/>
          <p14:tracePt t="15834" x="314325" y="2463800"/>
          <p14:tracePt t="15841" x="407988" y="2413000"/>
          <p14:tracePt t="15850" x="509588" y="2371725"/>
          <p14:tracePt t="15857" x="534988" y="2344738"/>
          <p14:tracePt t="15866" x="544513" y="2328863"/>
          <p14:tracePt t="15875" x="544513" y="2311400"/>
          <p14:tracePt t="15882" x="544513" y="2286000"/>
          <p14:tracePt t="15890" x="544513" y="2252663"/>
          <p14:tracePt t="15897" x="534988" y="2235200"/>
          <p14:tracePt t="15906" x="517525" y="2200275"/>
          <p14:tracePt t="15915" x="501650" y="2174875"/>
          <p14:tracePt t="15921" x="492125" y="2149475"/>
          <p14:tracePt t="15930" x="492125" y="2141538"/>
          <p14:tracePt t="15938" x="484188" y="2141538"/>
          <p14:tracePt t="15945" x="484188" y="2133600"/>
          <p14:tracePt t="16017" x="492125" y="2133600"/>
          <p14:tracePt t="16025" x="501650" y="2133600"/>
          <p14:tracePt t="16057" x="501650" y="2141538"/>
          <p14:tracePt t="16073" x="501650" y="2149475"/>
          <p14:tracePt t="16105" x="501650" y="2133600"/>
          <p14:tracePt t="16249" x="517525" y="2133600"/>
          <p14:tracePt t="16257" x="527050" y="2133600"/>
          <p14:tracePt t="16266" x="527050" y="2141538"/>
          <p14:tracePt t="16273" x="527050" y="2149475"/>
          <p14:tracePt t="16289" x="527050" y="2159000"/>
          <p14:tracePt t="16314" x="517525" y="2159000"/>
          <p14:tracePt t="16336" x="509588" y="2159000"/>
          <p14:tracePt t="16345" x="501650" y="2166938"/>
          <p14:tracePt t="16353" x="492125" y="2174875"/>
          <p14:tracePt t="16360" x="492125" y="2192338"/>
          <p14:tracePt t="16369" x="484188" y="2200275"/>
          <p14:tracePt t="16377" x="476250" y="2209800"/>
          <p14:tracePt t="16393" x="466725" y="2217738"/>
          <p14:tracePt t="16409" x="458788" y="2227263"/>
          <p14:tracePt t="16425" x="450850" y="2235200"/>
          <p14:tracePt t="16433" x="450850" y="2243138"/>
          <p14:tracePt t="16441" x="441325" y="2252663"/>
          <p14:tracePt t="16449" x="441325" y="2260600"/>
          <p14:tracePt t="16457" x="433388" y="2268538"/>
          <p14:tracePt t="16465" x="433388" y="2278063"/>
          <p14:tracePt t="16481" x="425450" y="2278063"/>
          <p14:tracePt t="17681" x="415925" y="2278063"/>
          <p14:tracePt t="17689" x="400050" y="2278063"/>
          <p14:tracePt t="17697" x="390525" y="2278063"/>
          <p14:tracePt t="17762" x="400050" y="2268538"/>
          <p14:tracePt t="17769" x="407988" y="2252663"/>
          <p14:tracePt t="17777" x="407988" y="2227263"/>
          <p14:tracePt t="17786" x="407988" y="2200275"/>
          <p14:tracePt t="17793" x="400050" y="2184400"/>
          <p14:tracePt t="17802" x="382588" y="2184400"/>
          <p14:tracePt t="18136" x="339725" y="2192338"/>
          <p14:tracePt t="18161" x="339725" y="2200275"/>
          <p14:tracePt t="18168" x="331788" y="2200275"/>
          <p14:tracePt t="18194" x="322263" y="2209800"/>
          <p14:tracePt t="18202" x="314325" y="2209800"/>
          <p14:tracePt t="18234" x="306388" y="2209800"/>
          <p14:tracePt t="18274" x="296863" y="2209800"/>
          <p14:tracePt t="18425" x="288925" y="2209800"/>
          <p14:tracePt t="19074" x="296863" y="2209800"/>
          <p14:tracePt t="19081" x="322263" y="2209800"/>
          <p14:tracePt t="19090" x="331788" y="2209800"/>
          <p14:tracePt t="19097" x="357188" y="2209800"/>
          <p14:tracePt t="19106" x="373063" y="2209800"/>
          <p14:tracePt t="19130" x="365125" y="2209800"/>
          <p14:tracePt t="19138" x="382588" y="2227263"/>
          <p14:tracePt t="19233" x="390525" y="2227263"/>
          <p14:tracePt t="19296" x="390525" y="2243138"/>
          <p14:tracePt t="19345" x="400050" y="2252663"/>
          <p14:tracePt t="19353" x="407988" y="2260600"/>
          <p14:tracePt t="19369" x="407988" y="2268538"/>
          <p14:tracePt t="19386" x="400050" y="2278063"/>
          <p14:tracePt t="19402" x="390525" y="2278063"/>
          <p14:tracePt t="19409" x="382588" y="2278063"/>
          <p14:tracePt t="19418" x="373063" y="2278063"/>
          <p14:tracePt t="19457" x="373063" y="2286000"/>
          <p14:tracePt t="20874" x="382588" y="2286000"/>
          <p14:tracePt t="20882" x="441325" y="2278063"/>
          <p14:tracePt t="20889" x="484188" y="2260600"/>
          <p14:tracePt t="20897" x="501650" y="2260600"/>
          <p14:tracePt t="20938" x="501650" y="2252663"/>
          <p14:tracePt t="21250" x="492125" y="2252663"/>
          <p14:tracePt t="21258" x="484188" y="2252663"/>
          <p14:tracePt t="21265" x="458788" y="2252663"/>
          <p14:tracePt t="21274" x="450850" y="2252663"/>
          <p14:tracePt t="21282" x="441325" y="2252663"/>
          <p14:tracePt t="21289" x="425450" y="2252663"/>
          <p14:tracePt t="21297" x="415925" y="2260600"/>
          <p14:tracePt t="21307" x="400050" y="2260600"/>
          <p14:tracePt t="21314" x="382588" y="2260600"/>
          <p14:tracePt t="21330" x="365125" y="2260600"/>
          <p14:tracePt t="21337" x="357188" y="2260600"/>
          <p14:tracePt t="21346" x="347663" y="2260600"/>
          <p14:tracePt t="21354" x="339725" y="2260600"/>
          <p14:tracePt t="21370" x="331788" y="2252663"/>
          <p14:tracePt t="21377" x="314325" y="2217738"/>
          <p14:tracePt t="21387" x="314325" y="2192338"/>
          <p14:tracePt t="21393" x="314325" y="2149475"/>
          <p14:tracePt t="21403" x="314325" y="2124075"/>
          <p14:tracePt t="21409" x="306388" y="2090738"/>
          <p14:tracePt t="21417" x="306388" y="2065338"/>
          <p14:tracePt t="21425" x="306388" y="2030413"/>
          <p14:tracePt t="21433" x="296863" y="2014538"/>
          <p14:tracePt t="21441" x="296863" y="1997075"/>
          <p14:tracePt t="21449" x="288925" y="1989138"/>
          <p14:tracePt t="21457" x="288925" y="1979613"/>
          <p14:tracePt t="21737" x="280988" y="1979613"/>
          <p14:tracePt t="21753" x="271463" y="1979613"/>
          <p14:tracePt t="21763" x="255588" y="1979613"/>
          <p14:tracePt t="21770" x="238125" y="1979613"/>
          <p14:tracePt t="21779" x="220663" y="1979613"/>
          <p14:tracePt t="21788" x="195263" y="1979613"/>
          <p14:tracePt t="21804" x="177800" y="1989138"/>
          <p14:tracePt t="21810" x="169863" y="1989138"/>
          <p14:tracePt t="21817" x="161925" y="1989138"/>
          <p14:tracePt t="21825" x="152400" y="1989138"/>
          <p14:tracePt t="21832" x="144463" y="1997075"/>
          <p14:tracePt t="21841" x="127000" y="2005013"/>
          <p14:tracePt t="21849" x="119063" y="2005013"/>
          <p14:tracePt t="21857" x="111125" y="2014538"/>
          <p14:tracePt t="21865" x="111125" y="2022475"/>
          <p14:tracePt t="21872" x="101600" y="2030413"/>
          <p14:tracePt t="21881" x="85725" y="2030413"/>
          <p14:tracePt t="21888" x="76200" y="2047875"/>
          <p14:tracePt t="21896" x="68263" y="2047875"/>
          <p14:tracePt t="21904" x="58738" y="2055813"/>
          <p14:tracePt t="21913" x="50800" y="2055813"/>
          <p14:tracePt t="21921" x="50800" y="2065338"/>
          <p14:tracePt t="21937" x="42863" y="2065338"/>
          <p14:tracePt t="21954" x="42863" y="2082800"/>
          <p14:tracePt t="21962" x="42863" y="2108200"/>
          <p14:tracePt t="21970" x="42863" y="2133600"/>
          <p14:tracePt t="21977" x="42863" y="2159000"/>
          <p14:tracePt t="21986" x="50800" y="2184400"/>
          <p14:tracePt t="21994" x="50800" y="2209800"/>
          <p14:tracePt t="22003" x="58738" y="2227263"/>
          <p14:tracePt t="22018" x="58738" y="2235200"/>
          <p14:tracePt t="22025" x="58738" y="2243138"/>
          <p14:tracePt t="22090" x="58738" y="2252663"/>
          <p14:tracePt t="22106" x="50800" y="2252663"/>
          <p14:tracePt t="22130" x="42863" y="2252663"/>
          <p14:tracePt t="22147" x="25400" y="2252663"/>
          <p14:tracePt t="22163" x="17463" y="2252663"/>
          <p14:tracePt t="22179" x="7938" y="2252663"/>
          <p14:tracePt t="22186" x="0" y="2252663"/>
          <p14:tracePt t="22618" x="42863" y="2286000"/>
          <p14:tracePt t="22626" x="93663" y="2303463"/>
          <p14:tracePt t="22634" x="169863" y="2311400"/>
          <p14:tracePt t="22641" x="238125" y="2319338"/>
          <p14:tracePt t="22650" x="357188" y="2319338"/>
          <p14:tracePt t="22657" x="450850" y="2319338"/>
          <p14:tracePt t="22666" x="595313" y="2319338"/>
          <p14:tracePt t="22673" x="688975" y="2319338"/>
          <p14:tracePt t="22681" x="790575" y="2319338"/>
          <p14:tracePt t="22689" x="900113" y="2319338"/>
          <p14:tracePt t="22697" x="976313" y="2319338"/>
          <p14:tracePt t="22705" x="1019175" y="2319338"/>
          <p14:tracePt t="22713" x="1044575" y="2319338"/>
          <p14:tracePt t="22729" x="1054100" y="2319338"/>
          <p14:tracePt t="22776" x="1036638" y="2319338"/>
          <p14:tracePt t="22785" x="1011238" y="2311400"/>
          <p14:tracePt t="22792" x="950913" y="2278063"/>
          <p14:tracePt t="22801" x="950913" y="2268538"/>
          <p14:tracePt t="23050" x="942975" y="2268538"/>
          <p14:tracePt t="23058" x="925513" y="2268538"/>
          <p14:tracePt t="23066" x="900113" y="2268538"/>
          <p14:tracePt t="23074" x="884238" y="2268538"/>
          <p14:tracePt t="23082" x="858838" y="2268538"/>
          <p14:tracePt t="23089" x="849313" y="2268538"/>
          <p14:tracePt t="23098" x="841375" y="2268538"/>
          <p14:tracePt t="23105" x="831850" y="2268538"/>
          <p14:tracePt t="23114" x="831850" y="2260600"/>
          <p14:tracePt t="23130" x="823913" y="2260600"/>
          <p14:tracePt t="23138" x="815975" y="2268538"/>
          <p14:tracePt t="23147" x="806450" y="2268538"/>
          <p14:tracePt t="23155" x="790575" y="2268538"/>
          <p14:tracePt t="23162" x="773113" y="2268538"/>
          <p14:tracePt t="23169" x="755650" y="2268538"/>
          <p14:tracePt t="23177" x="739775" y="2278063"/>
          <p14:tracePt t="23184" x="714375" y="2286000"/>
          <p14:tracePt t="23194" x="688975" y="2293938"/>
          <p14:tracePt t="23204" x="679450" y="2303463"/>
          <p14:tracePt t="23210" x="654050" y="2311400"/>
          <p14:tracePt t="23218" x="646113" y="2319338"/>
          <p14:tracePt t="23226" x="636588" y="2319338"/>
          <p14:tracePt t="23241" x="628650" y="2319338"/>
          <p14:tracePt t="23266" x="620713" y="2319338"/>
          <p14:tracePt t="23274" x="620713" y="2328863"/>
          <p14:tracePt t="23289" x="620713" y="2336800"/>
          <p14:tracePt t="23296" x="620713" y="2344738"/>
          <p14:tracePt t="23313" x="620713" y="2354263"/>
          <p14:tracePt t="23321" x="628650" y="2354263"/>
          <p14:tracePt t="23329" x="628650" y="2362200"/>
          <p14:tracePt t="23362" x="628650" y="2371725"/>
          <p14:tracePt t="23377" x="636588" y="2371725"/>
          <p14:tracePt t="23385" x="636588" y="2379663"/>
          <p14:tracePt t="23810" x="628650" y="2387600"/>
          <p14:tracePt t="23818" x="611188" y="2387600"/>
          <p14:tracePt t="23833" x="603250" y="2397125"/>
          <p14:tracePt t="23841" x="595313" y="2397125"/>
          <p14:tracePt t="23866" x="585788" y="2397125"/>
          <p14:tracePt t="23873" x="577850" y="2405063"/>
          <p14:tracePt t="23897" x="569913" y="2405063"/>
          <p14:tracePt t="23914" x="560388" y="2405063"/>
          <p14:tracePt t="23921" x="560388" y="2413000"/>
          <p14:tracePt t="23931" x="552450" y="2413000"/>
          <p14:tracePt t="23954" x="552450" y="2422525"/>
          <p14:tracePt t="24033" x="544513" y="2422525"/>
          <p14:tracePt t="24042" x="534988" y="2422525"/>
          <p14:tracePt t="24050" x="527050" y="2430463"/>
          <p14:tracePt t="24057" x="517525" y="2447925"/>
          <p14:tracePt t="24065" x="517525" y="2463800"/>
          <p14:tracePt t="24073" x="501650" y="2498725"/>
          <p14:tracePt t="24082" x="492125" y="2524125"/>
          <p14:tracePt t="24090" x="492125" y="2566988"/>
          <p14:tracePt t="24097" x="492125" y="2592388"/>
          <p14:tracePt t="24107" x="501650" y="2625725"/>
          <p14:tracePt t="24113" x="509588" y="2651125"/>
          <p14:tracePt t="24122" x="534988" y="2676525"/>
          <p14:tracePt t="24134" x="544513" y="2701925"/>
          <p14:tracePt t="24137" x="569913" y="2727325"/>
          <p14:tracePt t="24144" x="611188" y="2752725"/>
          <p14:tracePt t="24153" x="654050" y="2778125"/>
          <p14:tracePt t="24161" x="739775" y="2820988"/>
          <p14:tracePt t="24169" x="798513" y="2846388"/>
          <p14:tracePt t="24177" x="884238" y="2889250"/>
          <p14:tracePt t="24184" x="960438" y="2897188"/>
          <p14:tracePt t="24193" x="1044575" y="2897188"/>
          <p14:tracePt t="24201" x="1079500" y="2889250"/>
          <p14:tracePt t="24209" x="1112838" y="2863850"/>
          <p14:tracePt t="24216" x="1138238" y="2805113"/>
          <p14:tracePt t="24225" x="1138238" y="2770188"/>
          <p14:tracePt t="24233" x="1138238" y="2719388"/>
          <p14:tracePt t="24241" x="1130300" y="2668588"/>
          <p14:tracePt t="24249" x="1087438" y="2617788"/>
          <p14:tracePt t="24257" x="1044575" y="2566988"/>
          <p14:tracePt t="24265" x="993775" y="2506663"/>
          <p14:tracePt t="24273" x="942975" y="2463800"/>
          <p14:tracePt t="24280" x="892175" y="2422525"/>
          <p14:tracePt t="24288" x="823913" y="2379663"/>
          <p14:tracePt t="24296" x="747713" y="2354263"/>
          <p14:tracePt t="24304" x="688975" y="2328863"/>
          <p14:tracePt t="24313" x="628650" y="2319338"/>
          <p14:tracePt t="24320" x="585788" y="2319338"/>
          <p14:tracePt t="24329" x="552450" y="2311400"/>
          <p14:tracePt t="24336" x="527050" y="2311400"/>
          <p14:tracePt t="24345" x="517525" y="2311400"/>
          <p14:tracePt t="24352" x="501650" y="2311400"/>
          <p14:tracePt t="24377" x="492125" y="2311400"/>
          <p14:tracePt t="24393" x="492125" y="2328863"/>
          <p14:tracePt t="24409" x="492125" y="2344738"/>
          <p14:tracePt t="24417" x="509588" y="2354263"/>
          <p14:tracePt t="24433" x="534988" y="2362200"/>
          <p14:tracePt t="24441" x="544513" y="2371725"/>
          <p14:tracePt t="24449" x="560388" y="2371725"/>
          <p14:tracePt t="24457" x="569913" y="2371725"/>
          <p14:tracePt t="24754" x="560388" y="2371725"/>
          <p14:tracePt t="24906" x="552450" y="2371725"/>
          <p14:tracePt t="24921" x="544513" y="2371725"/>
          <p14:tracePt t="24931" x="544513" y="2379663"/>
          <p14:tracePt t="24938" x="534988" y="2379663"/>
          <p14:tracePt t="24993" x="534988" y="2371725"/>
          <p14:tracePt t="25009" x="527050" y="2362200"/>
          <p14:tracePt t="25033" x="527050" y="2354263"/>
          <p14:tracePt t="25041" x="534988" y="2354263"/>
          <p14:tracePt t="25049" x="552450" y="2354263"/>
          <p14:tracePt t="25057" x="577850" y="2354263"/>
          <p14:tracePt t="25065" x="595313" y="2362200"/>
          <p14:tracePt t="25073" x="620713" y="2371725"/>
          <p14:tracePt t="25081" x="628650" y="2379663"/>
          <p14:tracePt t="25097" x="628650" y="2387600"/>
          <p14:tracePt t="25113" x="636588" y="2387600"/>
          <p14:tracePt t="25153" x="636588" y="2397125"/>
          <p14:tracePt t="25185" x="646113" y="2397125"/>
          <p14:tracePt t="25202" x="654050" y="2397125"/>
          <p14:tracePt t="25209" x="654050" y="2405063"/>
          <p14:tracePt t="25218" x="654050" y="2413000"/>
          <p14:tracePt t="25225" x="671513" y="2422525"/>
          <p14:tracePt t="25234" x="679450" y="2430463"/>
          <p14:tracePt t="25241" x="679450" y="2438400"/>
          <p14:tracePt t="25249" x="696913" y="2447925"/>
          <p14:tracePt t="25257" x="704850" y="2447925"/>
          <p14:tracePt t="25265" x="722313" y="2447925"/>
          <p14:tracePt t="25273" x="739775" y="2447925"/>
          <p14:tracePt t="25289" x="755650" y="2447925"/>
          <p14:tracePt t="25297" x="765175" y="2447925"/>
          <p14:tracePt t="25305" x="773113" y="2447925"/>
          <p14:tracePt t="25314" x="781050" y="2447925"/>
          <p14:tracePt t="25362" x="773113" y="2438400"/>
          <p14:tracePt t="25369" x="739775" y="2422525"/>
          <p14:tracePt t="25377" x="722313" y="2413000"/>
          <p14:tracePt t="25385" x="671513" y="2397125"/>
          <p14:tracePt t="25393" x="654050" y="2387600"/>
          <p14:tracePt t="25403" x="628650" y="2379663"/>
          <p14:tracePt t="25409" x="603250" y="2371725"/>
          <p14:tracePt t="25419" x="585788" y="2371725"/>
          <p14:tracePt t="25473" x="585788" y="2379663"/>
          <p14:tracePt t="25497" x="603250" y="2379663"/>
          <p14:tracePt t="25521" x="611188" y="2379663"/>
          <p14:tracePt t="25530" x="628650" y="2379663"/>
          <p14:tracePt t="25537" x="628650" y="2371725"/>
          <p14:tracePt t="25546" x="628650" y="2362200"/>
          <p14:tracePt t="25553" x="636588" y="2362200"/>
          <p14:tracePt t="25562" x="636588" y="2354263"/>
          <p14:tracePt t="25570" x="636588" y="2344738"/>
          <p14:tracePt t="25586" x="636588" y="2336800"/>
          <p14:tracePt t="25617" x="628650" y="2336800"/>
          <p14:tracePt t="25641" x="620713" y="2336800"/>
          <p14:tracePt t="25754" x="620713" y="2319338"/>
          <p14:tracePt t="25763" x="620713" y="2311400"/>
          <p14:tracePt t="25769" x="611188" y="2293938"/>
          <p14:tracePt t="25779" x="603250" y="2286000"/>
          <p14:tracePt t="25914" x="611188" y="2286000"/>
          <p14:tracePt t="25921" x="611188" y="2293938"/>
          <p14:tracePt t="25931" x="628650" y="2293938"/>
          <p14:tracePt t="26041" x="636588" y="2293938"/>
          <p14:tracePt t="26057" x="671513" y="2286000"/>
          <p14:tracePt t="26088" x="671513" y="2293938"/>
          <p14:tracePt t="26129" x="679450" y="2293938"/>
          <p14:tracePt t="26705" x="661988" y="2293938"/>
          <p14:tracePt t="26714" x="646113" y="2293938"/>
          <p14:tracePt t="26722" x="636588" y="2303463"/>
          <p14:tracePt t="26731" x="620713" y="2303463"/>
          <p14:tracePt t="26737" x="595313" y="2311400"/>
          <p14:tracePt t="26754" x="585788" y="2311400"/>
          <p14:tracePt t="26763" x="569913" y="2311400"/>
          <p14:tracePt t="26779" x="569913" y="2319338"/>
          <p14:tracePt t="26787" x="560388" y="2319338"/>
          <p14:tracePt t="26794" x="552450" y="2319338"/>
          <p14:tracePt t="26810" x="552450" y="2328863"/>
          <p14:tracePt t="26820" x="544513" y="2328863"/>
          <p14:tracePt t="26826" x="534988" y="2328863"/>
          <p14:tracePt t="26834" x="527050" y="2328863"/>
          <p14:tracePt t="26850" x="517525" y="2328863"/>
          <p14:tracePt t="26857" x="509588" y="2328863"/>
          <p14:tracePt t="26874" x="501650" y="2328863"/>
          <p14:tracePt t="26882" x="492125" y="2328863"/>
          <p14:tracePt t="26890" x="484188" y="2336800"/>
          <p14:tracePt t="26897" x="476250" y="2336800"/>
          <p14:tracePt t="26907" x="466725" y="2336800"/>
          <p14:tracePt t="26914" x="458788" y="2336800"/>
          <p14:tracePt t="26921" x="450850" y="2344738"/>
          <p14:tracePt t="26930" x="441325" y="2344738"/>
          <p14:tracePt t="26937" x="433388" y="2344738"/>
          <p14:tracePt t="26946" x="425450" y="2344738"/>
          <p14:tracePt t="26954" x="415925" y="2344738"/>
          <p14:tracePt t="26985" x="415925" y="2354263"/>
          <p14:tracePt t="26993" x="407988" y="2354263"/>
          <p14:tracePt t="27185" x="407988" y="2344738"/>
          <p14:tracePt t="27194" x="407988" y="2336800"/>
          <p14:tracePt t="27210" x="400050" y="2328863"/>
          <p14:tracePt t="27219" x="400050" y="2319338"/>
          <p14:tracePt t="27226" x="400050" y="2311400"/>
          <p14:tracePt t="27234" x="400050" y="2303463"/>
          <p14:tracePt t="27241" x="390525" y="2286000"/>
          <p14:tracePt t="27257" x="390525" y="2278063"/>
          <p14:tracePt t="27265" x="390525" y="2260600"/>
          <p14:tracePt t="27281" x="390525" y="2243138"/>
          <p14:tracePt t="27297" x="390525" y="2217738"/>
          <p14:tracePt t="27305" x="390525" y="2209800"/>
          <p14:tracePt t="27314" x="390525" y="2200275"/>
          <p14:tracePt t="27321" x="390525" y="2192338"/>
          <p14:tracePt t="27330" x="390525" y="2184400"/>
          <p14:tracePt t="27338" x="390525" y="2174875"/>
          <p14:tracePt t="27345" x="390525" y="2159000"/>
          <p14:tracePt t="27362" x="390525" y="2133600"/>
          <p14:tracePt t="27370" x="390525" y="2108200"/>
          <p14:tracePt t="27377" x="390525" y="2090738"/>
          <p14:tracePt t="27386" x="390525" y="2065338"/>
          <p14:tracePt t="27392" x="390525" y="2055813"/>
          <p14:tracePt t="27401" x="390525" y="2039938"/>
          <p14:tracePt t="27417" x="390525" y="2030413"/>
          <p14:tracePt t="27866" x="390525" y="2039938"/>
          <p14:tracePt t="27882" x="390525" y="2047875"/>
          <p14:tracePt t="27889" x="390525" y="2055813"/>
          <p14:tracePt t="27897" x="390525" y="2065338"/>
          <p14:tracePt t="27905" x="390525" y="2082800"/>
          <p14:tracePt t="27914" x="390525" y="2090738"/>
          <p14:tracePt t="27922" x="390525" y="2098675"/>
          <p14:tracePt t="27930" x="390525" y="2108200"/>
          <p14:tracePt t="27937" x="390525" y="2116138"/>
          <p14:tracePt t="27954" x="390525" y="2124075"/>
          <p14:tracePt t="27971" x="390525" y="2133600"/>
          <p14:tracePt t="27986" x="400050" y="2133600"/>
          <p14:tracePt t="28002" x="400050" y="2141538"/>
          <p14:tracePt t="28009" x="400050" y="2149475"/>
          <p14:tracePt t="28019" x="407988" y="2159000"/>
          <p14:tracePt t="28025" x="415925" y="2159000"/>
          <p14:tracePt t="28033" x="433388" y="2174875"/>
          <p14:tracePt t="28041" x="450850" y="2192338"/>
          <p14:tracePt t="28048" x="484188" y="2217738"/>
          <p14:tracePt t="28057" x="509588" y="2227263"/>
          <p14:tracePt t="28065" x="527050" y="2243138"/>
          <p14:tracePt t="28072" x="534988" y="2252663"/>
          <p14:tracePt t="28081" x="544513" y="2260600"/>
          <p14:tracePt t="28088" x="552450" y="2268538"/>
          <p14:tracePt t="28130" x="552450" y="2278063"/>
          <p14:tracePt t="28897" x="552450" y="2286000"/>
          <p14:tracePt t="28905" x="552450" y="2303463"/>
          <p14:tracePt t="28914" x="552450" y="2362200"/>
          <p14:tracePt t="28921" x="552450" y="2405063"/>
          <p14:tracePt t="28939" x="552450" y="2516188"/>
          <p14:tracePt t="28946" x="552450" y="2566988"/>
          <p14:tracePt t="28954" x="552450" y="2633663"/>
          <p14:tracePt t="28963" x="560388" y="2668588"/>
          <p14:tracePt t="28971" x="569913" y="2711450"/>
          <p14:tracePt t="28979" x="577850" y="2727325"/>
          <p14:tracePt t="28987" x="595313" y="2736850"/>
          <p14:tracePt t="28993" x="603250" y="2736850"/>
          <p14:tracePt t="29003" x="611188" y="2727325"/>
          <p14:tracePt t="29010" x="620713" y="2693988"/>
          <p14:tracePt t="29020" x="646113" y="2633663"/>
          <p14:tracePt t="29179" x="646113" y="2625725"/>
          <p14:tracePt t="29186" x="654050" y="2625725"/>
          <p14:tracePt t="29193" x="661988" y="2625725"/>
          <p14:tracePt t="29210" x="671513" y="2625725"/>
          <p14:tracePt t="29242" x="646113" y="2625725"/>
          <p14:tracePt t="29274" x="628650" y="2582863"/>
          <p14:tracePt t="29315" x="636588" y="2582863"/>
          <p14:tracePt t="29369" x="636588" y="2574925"/>
          <p14:tracePt t="29538" x="636588" y="2557463"/>
          <p14:tracePt t="29546" x="636588" y="2549525"/>
          <p14:tracePt t="29554" x="636588" y="2541588"/>
          <p14:tracePt t="29562" x="646113" y="2524125"/>
          <p14:tracePt t="29570" x="646113" y="2498725"/>
          <p14:tracePt t="29578" x="646113" y="2473325"/>
          <p14:tracePt t="29587" x="646113" y="2430463"/>
          <p14:tracePt t="29594" x="654050" y="2397125"/>
          <p14:tracePt t="29603" x="654050" y="2328863"/>
          <p14:tracePt t="29610" x="654050" y="2268538"/>
          <p14:tracePt t="29618" x="654050" y="2209800"/>
          <p14:tracePt t="29626" x="654050" y="2184400"/>
          <p14:tracePt t="29635" x="654050" y="2159000"/>
          <p14:tracePt t="29642" x="654050" y="2124075"/>
          <p14:tracePt t="29649" x="654050" y="2108200"/>
          <p14:tracePt t="29657" x="654050" y="2090738"/>
          <p14:tracePt t="29665" x="654050" y="2073275"/>
          <p14:tracePt t="29673" x="654050" y="2065338"/>
          <p14:tracePt t="29681" x="654050" y="2055813"/>
          <p14:tracePt t="29689" x="654050" y="2047875"/>
          <p14:tracePt t="29705" x="654050" y="2039938"/>
          <p14:tracePt t="30497" x="646113" y="2039938"/>
          <p14:tracePt t="30512" x="646113" y="2055813"/>
          <p14:tracePt t="30520" x="636588" y="2065338"/>
          <p14:tracePt t="30529" x="628650" y="2065338"/>
          <p14:tracePt t="30536" x="628650" y="2082800"/>
          <p14:tracePt t="30544" x="620713" y="2082800"/>
          <p14:tracePt t="30618" x="620713" y="2090738"/>
          <p14:tracePt t="30626" x="620713" y="2098675"/>
          <p14:tracePt t="30634" x="620713" y="2108200"/>
          <p14:tracePt t="30642" x="620713" y="2116138"/>
          <p14:tracePt t="30650" x="620713" y="2124075"/>
          <p14:tracePt t="30657" x="620713" y="2133600"/>
          <p14:tracePt t="30665" x="620713" y="2141538"/>
          <p14:tracePt t="30673" x="620713" y="2159000"/>
          <p14:tracePt t="30681" x="620713" y="2166938"/>
          <p14:tracePt t="30689" x="620713" y="2184400"/>
          <p14:tracePt t="30697" x="620713" y="2192338"/>
          <p14:tracePt t="30705" x="620713" y="2217738"/>
          <p14:tracePt t="30714" x="620713" y="2235200"/>
          <p14:tracePt t="30721" x="620713" y="2252663"/>
          <p14:tracePt t="30730" x="620713" y="2278063"/>
          <p14:tracePt t="30737" x="620713" y="2311400"/>
          <p14:tracePt t="30746" x="620713" y="2328863"/>
          <p14:tracePt t="30754" x="654050" y="2379663"/>
          <p14:tracePt t="30762" x="661988" y="2413000"/>
          <p14:tracePt t="30770" x="688975" y="2463800"/>
          <p14:tracePt t="30777" x="704850" y="2506663"/>
          <p14:tracePt t="30785" x="730250" y="2532063"/>
          <p14:tracePt t="30793" x="765175" y="2582863"/>
          <p14:tracePt t="30803" x="781050" y="2608263"/>
          <p14:tracePt t="30809" x="790575" y="2625725"/>
          <p14:tracePt t="30819" x="798513" y="2625725"/>
          <p14:tracePt t="30825" x="806450" y="2633663"/>
          <p14:tracePt t="30834" x="806450" y="2643188"/>
          <p14:tracePt t="30889" x="806450" y="2651125"/>
          <p14:tracePt t="30896" x="798513" y="2668588"/>
          <p14:tracePt t="30913" x="790575" y="2676525"/>
          <p14:tracePt t="30921" x="781050" y="2686050"/>
          <p14:tracePt t="30929" x="773113" y="2686050"/>
          <p14:tracePt t="30937" x="773113" y="2693988"/>
          <p14:tracePt t="30945" x="765175" y="2701925"/>
          <p14:tracePt t="30953" x="747713" y="2711450"/>
          <p14:tracePt t="30968" x="747713" y="2727325"/>
          <p14:tracePt t="30979" x="747713" y="2752725"/>
          <p14:tracePt t="30986" x="747713" y="2795588"/>
          <p14:tracePt t="30994" x="747713" y="2838450"/>
          <p14:tracePt t="31004" x="747713" y="2881313"/>
          <p14:tracePt t="31010" x="755650" y="2922588"/>
          <p14:tracePt t="31021" x="755650" y="2949575"/>
          <p14:tracePt t="31025" x="773113" y="2982913"/>
          <p14:tracePt t="31034" x="790575" y="3000375"/>
          <p14:tracePt t="31041" x="823913" y="3025775"/>
          <p14:tracePt t="31050" x="858838" y="3041650"/>
          <p14:tracePt t="31057" x="900113" y="3059113"/>
          <p14:tracePt t="31065" x="960438" y="3076575"/>
          <p14:tracePt t="31073" x="985838" y="3094038"/>
          <p14:tracePt t="31082" x="1028700" y="3101975"/>
          <p14:tracePt t="31090" x="1044575" y="3109913"/>
          <p14:tracePt t="31097" x="1069975" y="3119438"/>
          <p14:tracePt t="31106" x="1087438" y="3119438"/>
          <p14:tracePt t="31114" x="1095375" y="3119438"/>
          <p14:tracePt t="31122" x="1104900" y="3119438"/>
          <p14:tracePt t="31162" x="1112838" y="3119438"/>
          <p14:tracePt t="31169" x="1112838" y="3094038"/>
          <p14:tracePt t="31185" x="1104900" y="3076575"/>
          <p14:tracePt t="31193" x="1087438" y="3059113"/>
          <p14:tracePt t="31203" x="1069975" y="3025775"/>
          <p14:tracePt t="31209" x="1036638" y="2974975"/>
          <p14:tracePt t="31219" x="1028700" y="2932113"/>
          <p14:tracePt t="31225" x="993775" y="2855913"/>
          <p14:tracePt t="31234" x="976313" y="2805113"/>
          <p14:tracePt t="31241" x="942975" y="2719388"/>
          <p14:tracePt t="31250" x="909638" y="2643188"/>
          <p14:tracePt t="31257" x="884238" y="2566988"/>
          <p14:tracePt t="31265" x="849313" y="2506663"/>
          <p14:tracePt t="31272" x="815975" y="2438400"/>
          <p14:tracePt t="31280" x="781050" y="2362200"/>
          <p14:tracePt t="31289" x="765175" y="2328863"/>
          <p14:tracePt t="31296" x="747713" y="2286000"/>
          <p14:tracePt t="31304" x="739775" y="2252663"/>
          <p14:tracePt t="31312" x="730250" y="2227263"/>
          <p14:tracePt t="31320" x="722313" y="2200275"/>
          <p14:tracePt t="31331" x="722313" y="2184400"/>
          <p14:tracePt t="31338" x="722313" y="2174875"/>
          <p14:tracePt t="31346" x="722313" y="2159000"/>
          <p14:tracePt t="31353" x="722313" y="2141538"/>
          <p14:tracePt t="31363" x="722313" y="2124075"/>
          <p14:tracePt t="31370" x="722313" y="2116138"/>
          <p14:tracePt t="31481" x="714375" y="2108200"/>
          <p14:tracePt t="31489" x="714375" y="2098675"/>
          <p14:tracePt t="31497" x="704850" y="2098675"/>
          <p14:tracePt t="31505" x="696913" y="2090738"/>
          <p14:tracePt t="31521" x="688975" y="2082800"/>
          <p14:tracePt t="31530" x="679450" y="2073275"/>
          <p14:tracePt t="31538" x="671513" y="2073275"/>
          <p14:tracePt t="31546" x="661988" y="2065338"/>
          <p14:tracePt t="31553" x="646113" y="2055813"/>
          <p14:tracePt t="31562" x="620713" y="2039938"/>
          <p14:tracePt t="31569" x="603250" y="2022475"/>
          <p14:tracePt t="31577" x="577850" y="2005013"/>
          <p14:tracePt t="31586" x="552450" y="1989138"/>
          <p14:tracePt t="31593" x="534988" y="1989138"/>
          <p14:tracePt t="31602" x="534988" y="1979613"/>
          <p14:tracePt t="31609" x="527050" y="1971675"/>
          <p14:tracePt t="32035" x="517525" y="1971675"/>
          <p14:tracePt t="32050" x="509588" y="1971675"/>
          <p14:tracePt t="32057" x="484188" y="1979613"/>
          <p14:tracePt t="32066" x="458788" y="1997075"/>
          <p14:tracePt t="32073" x="450850" y="2014538"/>
          <p14:tracePt t="32082" x="441325" y="2022475"/>
          <p14:tracePt t="32089" x="441325" y="2055813"/>
          <p14:tracePt t="32098" x="433388" y="2090738"/>
          <p14:tracePt t="32107" x="433388" y="2159000"/>
          <p14:tracePt t="32114" x="425450" y="2209800"/>
          <p14:tracePt t="32122" x="415925" y="2278063"/>
          <p14:tracePt t="32130" x="407988" y="2354263"/>
          <p14:tracePt t="32138" x="407988" y="2413000"/>
          <p14:tracePt t="32145" x="407988" y="2498725"/>
          <p14:tracePt t="32152" x="407988" y="2557463"/>
          <p14:tracePt t="32161" x="407988" y="2643188"/>
          <p14:tracePt t="32168" x="407988" y="2686050"/>
          <p14:tracePt t="32177" x="407988" y="2744788"/>
          <p14:tracePt t="32184" x="415925" y="2778125"/>
          <p14:tracePt t="32193" x="425450" y="2787650"/>
          <p14:tracePt t="32201" x="441325" y="2813050"/>
          <p14:tracePt t="32209" x="441325" y="2820988"/>
          <p14:tracePt t="32217" x="441325" y="2830513"/>
          <p14:tracePt t="32225" x="450850" y="2838450"/>
          <p14:tracePt t="32234" x="458788" y="2838450"/>
          <p14:tracePt t="32241" x="458788" y="2846388"/>
          <p14:tracePt t="32265" x="466725" y="2855913"/>
          <p14:tracePt t="32273" x="476250" y="2863850"/>
          <p14:tracePt t="32282" x="484188" y="2871788"/>
          <p14:tracePt t="32289" x="492125" y="2871788"/>
          <p14:tracePt t="32297" x="501650" y="2871788"/>
          <p14:tracePt t="32314" x="501650" y="2863850"/>
          <p14:tracePt t="32321" x="501650" y="2838450"/>
          <p14:tracePt t="32330" x="484188" y="2830513"/>
          <p14:tracePt t="32338" x="458788" y="2805113"/>
          <p14:tracePt t="32346" x="433388" y="2787650"/>
          <p14:tracePt t="32433" x="450850" y="2787650"/>
          <p14:tracePt t="32441" x="466725" y="2787650"/>
          <p14:tracePt t="32450" x="466725" y="2778125"/>
          <p14:tracePt t="32457" x="476250" y="2778125"/>
          <p14:tracePt t="32465" x="484188" y="2778125"/>
          <p14:tracePt t="32498" x="476250" y="2778125"/>
          <p14:tracePt t="32505" x="466725" y="2778125"/>
          <p14:tracePt t="32514" x="450850" y="2778125"/>
          <p14:tracePt t="32524" x="441325" y="2778125"/>
          <p14:tracePt t="32531" x="425450" y="2778125"/>
          <p14:tracePt t="32546" x="415925" y="2778125"/>
          <p14:tracePt t="32563" x="407988" y="2778125"/>
          <p14:tracePt t="32569" x="400050" y="2778125"/>
          <p14:tracePt t="32587" x="390525" y="2778125"/>
          <p14:tracePt t="32594" x="382588" y="2778125"/>
          <p14:tracePt t="32603" x="373063" y="2778125"/>
          <p14:tracePt t="32610" x="347663" y="2778125"/>
          <p14:tracePt t="32619" x="339725" y="2778125"/>
          <p14:tracePt t="32625" x="314325" y="2778125"/>
          <p14:tracePt t="32632" x="288925" y="2778125"/>
          <p14:tracePt t="32641" x="271463" y="2778125"/>
          <p14:tracePt t="32649" x="246063" y="2778125"/>
          <p14:tracePt t="32657" x="238125" y="2778125"/>
          <p14:tracePt t="32665" x="212725" y="2778125"/>
          <p14:tracePt t="32672" x="195263" y="2778125"/>
          <p14:tracePt t="32689" x="187325" y="2778125"/>
          <p14:tracePt t="32835" x="187325" y="2770188"/>
          <p14:tracePt t="32850" x="187325" y="2752725"/>
          <p14:tracePt t="32857" x="203200" y="2727325"/>
          <p14:tracePt t="32866" x="238125" y="2686050"/>
          <p14:tracePt t="32873" x="280988" y="2633663"/>
          <p14:tracePt t="32882" x="357188" y="2549525"/>
          <p14:tracePt t="32889" x="407988" y="2498725"/>
          <p14:tracePt t="32897" x="492125" y="2430463"/>
          <p14:tracePt t="32907" x="527050" y="2397125"/>
          <p14:tracePt t="32914" x="577850" y="2344738"/>
          <p14:tracePt t="32923" x="595313" y="2311400"/>
          <p14:tracePt t="32928" x="611188" y="2293938"/>
          <p14:tracePt t="32936" x="620713" y="2268538"/>
          <p14:tracePt t="32951" x="628650" y="2252663"/>
          <p14:tracePt t="32952" x="636588" y="2217738"/>
          <p14:tracePt t="32961" x="646113" y="2200275"/>
          <p14:tracePt t="32968" x="661988" y="2174875"/>
          <p14:tracePt t="32977" x="671513" y="2141538"/>
          <p14:tracePt t="32984" x="671513" y="2108200"/>
          <p14:tracePt t="32993" x="696913" y="2073275"/>
          <p14:tracePt t="33001" x="696913" y="2047875"/>
          <p14:tracePt t="33009" x="722313" y="2005013"/>
          <p14:tracePt t="33017" x="722313" y="1979613"/>
          <p14:tracePt t="33025" x="739775" y="1946275"/>
          <p14:tracePt t="33035" x="747713" y="1928813"/>
          <p14:tracePt t="33041" x="765175" y="1903413"/>
          <p14:tracePt t="33049" x="773113" y="1878013"/>
          <p14:tracePt t="33057" x="790575" y="1860550"/>
          <p14:tracePt t="33065" x="806450" y="1844675"/>
          <p14:tracePt t="33073" x="815975" y="1827213"/>
          <p14:tracePt t="33081" x="849313" y="1801813"/>
          <p14:tracePt t="33089" x="866775" y="1784350"/>
          <p14:tracePt t="33097" x="909638" y="1766888"/>
          <p14:tracePt t="33105" x="942975" y="1758950"/>
          <p14:tracePt t="33113" x="985838" y="1741488"/>
          <p14:tracePt t="33121" x="1036638" y="1716088"/>
          <p14:tracePt t="33129" x="1079500" y="1716088"/>
          <p14:tracePt t="33137" x="1104900" y="1708150"/>
          <p14:tracePt t="33145" x="1138238" y="1708150"/>
          <p14:tracePt t="33153" x="1163638" y="1700213"/>
          <p14:tracePt t="33161" x="1189038" y="1700213"/>
          <p14:tracePt t="33169" x="1214438" y="1700213"/>
          <p14:tracePt t="33177" x="1223963" y="1700213"/>
          <p14:tracePt t="33185" x="1239838" y="1700213"/>
          <p14:tracePt t="33193" x="1257300" y="1700213"/>
          <p14:tracePt t="33241" x="1257300" y="1708150"/>
          <p14:tracePt t="33249" x="1239838" y="1716088"/>
          <p14:tracePt t="33257" x="1223963" y="1725613"/>
          <p14:tracePt t="33265" x="1198563" y="1751013"/>
          <p14:tracePt t="33273" x="1155700" y="1793875"/>
          <p14:tracePt t="33281" x="1104900" y="1844675"/>
          <p14:tracePt t="33289" x="1054100" y="1895475"/>
          <p14:tracePt t="33297" x="985838" y="1954213"/>
          <p14:tracePt t="33305" x="935038" y="2005013"/>
          <p14:tracePt t="33313" x="858838" y="2073275"/>
          <p14:tracePt t="33321" x="806450" y="2124075"/>
          <p14:tracePt t="33330" x="739775" y="2200275"/>
          <p14:tracePt t="33338" x="696913" y="2252663"/>
          <p14:tracePt t="33346" x="654050" y="2319338"/>
          <p14:tracePt t="33353" x="628650" y="2379663"/>
          <p14:tracePt t="33362" x="611188" y="2422525"/>
          <p14:tracePt t="33369" x="611188" y="2481263"/>
          <p14:tracePt t="33376" x="611188" y="2516188"/>
          <p14:tracePt t="33385" x="611188" y="2549525"/>
          <p14:tracePt t="33393" x="611188" y="2566988"/>
          <p14:tracePt t="33401" x="620713" y="2592388"/>
          <p14:tracePt t="33409" x="628650" y="2617788"/>
          <p14:tracePt t="33417" x="654050" y="2643188"/>
          <p14:tracePt t="33424" x="671513" y="2668588"/>
          <p14:tracePt t="33433" x="688975" y="2676525"/>
          <p14:tracePt t="33440" x="730250" y="2711450"/>
          <p14:tracePt t="33449" x="755650" y="2719388"/>
          <p14:tracePt t="33457" x="790575" y="2727325"/>
          <p14:tracePt t="33465" x="815975" y="2727325"/>
          <p14:tracePt t="33473" x="858838" y="2727325"/>
          <p14:tracePt t="33481" x="874713" y="2736850"/>
          <p14:tracePt t="33489" x="892175" y="2736850"/>
          <p14:tracePt t="33497" x="909638" y="2736850"/>
          <p14:tracePt t="33505" x="925513" y="2736850"/>
          <p14:tracePt t="33546" x="909638" y="2744788"/>
          <p14:tracePt t="33553" x="892175" y="2762250"/>
          <p14:tracePt t="33562" x="858838" y="2778125"/>
          <p14:tracePt t="33569" x="823913" y="2778125"/>
          <p14:tracePt t="33576" x="815975" y="2787650"/>
          <p14:tracePt t="33585" x="773113" y="2787650"/>
          <p14:tracePt t="33593" x="730250" y="2787650"/>
          <p14:tracePt t="33601" x="722313" y="2787650"/>
          <p14:tracePt t="33754" x="714375" y="2787650"/>
          <p14:tracePt t="33763" x="704850" y="2787650"/>
          <p14:tracePt t="33777" x="714375" y="2795588"/>
          <p14:tracePt t="33786" x="688975" y="2787650"/>
          <p14:tracePt t="33794" x="671513" y="2795588"/>
          <p14:tracePt t="33804" x="654050" y="2795588"/>
          <p14:tracePt t="33809" x="646113" y="2805113"/>
          <p14:tracePt t="33817" x="636588" y="2805113"/>
          <p14:tracePt t="33849" x="636588" y="2813050"/>
          <p14:tracePt t="33865" x="646113" y="2820988"/>
          <p14:tracePt t="33881" x="661988" y="2830513"/>
          <p14:tracePt t="33889" x="688975" y="2838450"/>
          <p14:tracePt t="33897" x="696913" y="2838450"/>
          <p14:tracePt t="33905" x="722313" y="2846388"/>
          <p14:tracePt t="33912" x="747713" y="2846388"/>
          <p14:tracePt t="33920" x="765175" y="2855913"/>
          <p14:tracePt t="33929" x="806450" y="2863850"/>
          <p14:tracePt t="33938" x="841375" y="2863850"/>
          <p14:tracePt t="33955" x="960438" y="2881313"/>
          <p14:tracePt t="33962" x="1044575" y="2881313"/>
          <p14:tracePt t="33969" x="1112838" y="2881313"/>
          <p14:tracePt t="33976" x="1223963" y="2881313"/>
          <p14:tracePt t="33984" x="1300163" y="2881313"/>
          <p14:tracePt t="33992" x="1368425" y="2881313"/>
          <p14:tracePt t="34000" x="1444625" y="2881313"/>
          <p14:tracePt t="34008" x="1487488" y="2881313"/>
          <p14:tracePt t="34017" x="1546225" y="2881313"/>
          <p14:tracePt t="34024" x="1571625" y="2881313"/>
          <p14:tracePt t="34032" x="1597025" y="2881313"/>
          <p14:tracePt t="34040" x="1622425" y="2881313"/>
          <p14:tracePt t="34048" x="1647825" y="2881313"/>
          <p14:tracePt t="34056" x="1665288" y="2881313"/>
          <p14:tracePt t="34064" x="1690688" y="2881313"/>
          <p14:tracePt t="34458" x="1673225" y="2881313"/>
          <p14:tracePt t="34466" x="1647825" y="2881313"/>
          <p14:tracePt t="34473" x="1614488" y="2881313"/>
          <p14:tracePt t="34481" x="1563688" y="2881313"/>
          <p14:tracePt t="34489" x="1503363" y="2881313"/>
          <p14:tracePt t="34497" x="1419225" y="2881313"/>
          <p14:tracePt t="34505" x="1376363" y="2881313"/>
          <p14:tracePt t="34514" x="1325563" y="2881313"/>
          <p14:tracePt t="34521" x="1300163" y="2881313"/>
          <p14:tracePt t="34531" x="1282700" y="2881313"/>
          <p14:tracePt t="34569" x="1282700" y="2871788"/>
          <p14:tracePt t="34577" x="1274763" y="2871788"/>
          <p14:tracePt t="34585" x="1265238" y="2863850"/>
          <p14:tracePt t="34593" x="1231900" y="2855913"/>
          <p14:tracePt t="34601" x="1206500" y="2846388"/>
          <p14:tracePt t="34609" x="1163638" y="2838450"/>
          <p14:tracePt t="34618" x="1130300" y="2830513"/>
          <p14:tracePt t="34625" x="1062038" y="2820988"/>
          <p14:tracePt t="34633" x="1028700" y="2820988"/>
          <p14:tracePt t="34641" x="993775" y="2813050"/>
          <p14:tracePt t="34649" x="950913" y="2813050"/>
          <p14:tracePt t="34657" x="917575" y="2805113"/>
          <p14:tracePt t="34665" x="892175" y="2805113"/>
          <p14:tracePt t="34673" x="874713" y="2805113"/>
          <p14:tracePt t="34681" x="858838" y="2805113"/>
          <p14:tracePt t="34689" x="841375" y="2805113"/>
          <p14:tracePt t="34697" x="823913" y="2805113"/>
          <p14:tracePt t="34705" x="815975" y="2805113"/>
          <p14:tracePt t="34713" x="806450" y="2805113"/>
          <p14:tracePt t="34721" x="781050" y="2805113"/>
          <p14:tracePt t="34730" x="765175" y="2805113"/>
          <p14:tracePt t="34737" x="755650" y="2805113"/>
          <p14:tracePt t="34746" x="747713" y="2805113"/>
          <p14:tracePt t="34753" x="730250" y="2805113"/>
          <p14:tracePt t="34762" x="730250" y="2795588"/>
          <p14:tracePt t="34769" x="714375" y="2795588"/>
          <p14:tracePt t="34777" x="696913" y="2795588"/>
          <p14:tracePt t="34786" x="679450" y="2795588"/>
          <p14:tracePt t="34793" x="646113" y="2795588"/>
          <p14:tracePt t="34801" x="620713" y="2787650"/>
          <p14:tracePt t="34809" x="577850" y="2787650"/>
          <p14:tracePt t="34818" x="552450" y="2778125"/>
          <p14:tracePt t="34825" x="517525" y="2770188"/>
          <p14:tracePt t="34833" x="484188" y="2770188"/>
          <p14:tracePt t="34841" x="458788" y="2762250"/>
          <p14:tracePt t="34849" x="450850" y="2762250"/>
          <p14:tracePt t="34865" x="441325" y="2762250"/>
          <p14:tracePt t="34881" x="441325" y="2752725"/>
          <p14:tracePt t="34913" x="441325" y="2744788"/>
          <p14:tracePt t="34946" x="450850" y="2736850"/>
          <p14:tracePt t="34953" x="458788" y="2736850"/>
          <p14:tracePt t="34962" x="466725" y="2727325"/>
          <p14:tracePt t="34969" x="484188" y="2727325"/>
          <p14:tracePt t="34977" x="501650" y="2719388"/>
          <p14:tracePt t="34985" x="509588" y="2711450"/>
          <p14:tracePt t="35002" x="517525" y="2711450"/>
          <p14:tracePt t="37106" x="509588" y="2711450"/>
          <p14:tracePt t="37121" x="501650" y="2711450"/>
          <p14:tracePt t="37201" x="492125" y="2711450"/>
          <p14:tracePt t="37218" x="492125" y="2719388"/>
          <p14:tracePt t="37225" x="484188" y="2727325"/>
          <p14:tracePt t="37235" x="484188" y="2744788"/>
          <p14:tracePt t="37242" x="484188" y="2778125"/>
          <p14:tracePt t="37251" x="484188" y="2795588"/>
          <p14:tracePt t="37258" x="484188" y="2838450"/>
          <p14:tracePt t="37266" x="484188" y="2863850"/>
          <p14:tracePt t="37273" x="501650" y="2889250"/>
          <p14:tracePt t="37282" x="509588" y="2906713"/>
          <p14:tracePt t="37289" x="527050" y="2914650"/>
          <p14:tracePt t="37297" x="534988" y="2932113"/>
          <p14:tracePt t="37306" x="560388" y="2949575"/>
          <p14:tracePt t="37314" x="585788" y="2965450"/>
          <p14:tracePt t="37323" x="611188" y="2974975"/>
          <p14:tracePt t="37331" x="628650" y="2990850"/>
          <p14:tracePt t="37337" x="654050" y="3008313"/>
          <p14:tracePt t="37346" x="696913" y="3016250"/>
          <p14:tracePt t="37354" x="747713" y="3025775"/>
          <p14:tracePt t="37362" x="773113" y="3025775"/>
          <p14:tracePt t="37369" x="806450" y="3025775"/>
          <p14:tracePt t="37377" x="823913" y="3025775"/>
          <p14:tracePt t="37384" x="841375" y="3016250"/>
          <p14:tracePt t="37393" x="841375" y="3000375"/>
          <p14:tracePt t="37401" x="841375" y="2982913"/>
          <p14:tracePt t="37409" x="841375" y="2957513"/>
          <p14:tracePt t="37417" x="841375" y="2940050"/>
          <p14:tracePt t="37425" x="831850" y="2906713"/>
          <p14:tracePt t="37433" x="815975" y="2897188"/>
          <p14:tracePt t="37441" x="790575" y="2863850"/>
          <p14:tracePt t="37449" x="773113" y="2838450"/>
          <p14:tracePt t="37456" x="747713" y="2813050"/>
          <p14:tracePt t="37465" x="739775" y="2787650"/>
          <p14:tracePt t="37474" x="730250" y="2778125"/>
          <p14:tracePt t="37482" x="722313" y="2778125"/>
          <p14:tracePt t="37489" x="714375" y="2778125"/>
          <p14:tracePt t="37554" x="704850" y="2778125"/>
          <p14:tracePt t="37570" x="688975" y="2778125"/>
          <p14:tracePt t="37579" x="679450" y="2770188"/>
          <p14:tracePt t="37585" x="654050" y="2762250"/>
          <p14:tracePt t="37594" x="620713" y="2762250"/>
          <p14:tracePt t="37602" x="585788" y="2752725"/>
          <p14:tracePt t="37610" x="560388" y="2752725"/>
          <p14:tracePt t="37619" x="527050" y="2744788"/>
          <p14:tracePt t="37626" x="501650" y="2744788"/>
          <p14:tracePt t="37636" x="484188" y="2744788"/>
          <p14:tracePt t="37642" x="458788" y="2744788"/>
          <p14:tracePt t="37650" x="433388" y="2744788"/>
          <p14:tracePt t="37658" x="407988" y="2736850"/>
          <p14:tracePt t="37666" x="400050" y="2736850"/>
          <p14:tracePt t="37673" x="382588" y="2736850"/>
          <p14:tracePt t="37682" x="357188" y="2736850"/>
          <p14:tracePt t="37689" x="339725" y="2736850"/>
          <p14:tracePt t="37697" x="322263" y="2727325"/>
          <p14:tracePt t="37705" x="306388" y="2719388"/>
          <p14:tracePt t="37715" x="271463" y="2711450"/>
          <p14:tracePt t="37722" x="263525" y="2701925"/>
          <p14:tracePt t="37730" x="238125" y="2701925"/>
          <p14:tracePt t="37737" x="212725" y="2701925"/>
          <p14:tracePt t="37745" x="195263" y="2701925"/>
          <p14:tracePt t="37753" x="177800" y="2701925"/>
          <p14:tracePt t="37762" x="161925" y="2701925"/>
          <p14:tracePt t="37769" x="144463" y="2701925"/>
          <p14:tracePt t="37777" x="136525" y="2701925"/>
          <p14:tracePt t="37785" x="127000" y="2701925"/>
          <p14:tracePt t="37842" x="136525" y="2701925"/>
          <p14:tracePt t="37851" x="144463" y="2701925"/>
          <p14:tracePt t="37858" x="152400" y="2701925"/>
          <p14:tracePt t="37866" x="169863" y="2701925"/>
          <p14:tracePt t="37873" x="212725" y="2701925"/>
          <p14:tracePt t="37882" x="255588" y="2711450"/>
          <p14:tracePt t="37889" x="365125" y="2711450"/>
          <p14:tracePt t="37898" x="484188" y="2711450"/>
          <p14:tracePt t="37905" x="611188" y="2711450"/>
          <p14:tracePt t="37914" x="798513" y="2711450"/>
          <p14:tracePt t="37921" x="976313" y="2711450"/>
          <p14:tracePt t="37931" x="1290638" y="2711450"/>
          <p14:tracePt t="37938" x="1470025" y="2711450"/>
          <p14:tracePt t="37953" x="1827213" y="2711450"/>
          <p14:tracePt t="37963" x="1997075" y="2711450"/>
          <p14:tracePt t="37969" x="2116138" y="2711450"/>
          <p14:tracePt t="37977" x="2208213" y="2711450"/>
          <p14:tracePt t="37985" x="2311400" y="2711450"/>
          <p14:tracePt t="37993" x="2379663" y="2711450"/>
          <p14:tracePt t="38001" x="2438400" y="2711450"/>
          <p14:tracePt t="38009" x="2463800" y="2711450"/>
          <p14:tracePt t="38074" x="2455863" y="2719388"/>
          <p14:tracePt t="38089" x="2446338" y="2719388"/>
          <p14:tracePt t="38105" x="2438400" y="2719388"/>
          <p14:tracePt t="38162" x="2430463" y="2727325"/>
          <p14:tracePt t="38178" x="2420938" y="2727325"/>
          <p14:tracePt t="38185" x="2405063" y="2736850"/>
          <p14:tracePt t="38194" x="2379663" y="2736850"/>
          <p14:tracePt t="38205" x="2352675" y="2736850"/>
          <p14:tracePt t="38210" x="2327275" y="2736850"/>
          <p14:tracePt t="38218" x="2293938" y="2736850"/>
          <p14:tracePt t="38225" x="2268538" y="2736850"/>
          <p14:tracePt t="38237" x="2225675" y="2736850"/>
          <p14:tracePt t="38242" x="2192338" y="2736850"/>
          <p14:tracePt t="38250" x="2141538" y="2736850"/>
          <p14:tracePt t="38258" x="2081213" y="2736850"/>
          <p14:tracePt t="38266" x="2038350" y="2736850"/>
          <p14:tracePt t="38274" x="1962150" y="2736850"/>
          <p14:tracePt t="38282" x="1920875" y="2736850"/>
          <p14:tracePt t="38289" x="1860550" y="2736850"/>
          <p14:tracePt t="38298" x="1835150" y="2736850"/>
          <p14:tracePt t="38305" x="1809750" y="2736850"/>
          <p14:tracePt t="38314" x="1792288" y="2736850"/>
          <p14:tracePt t="38353" x="1801813" y="2736850"/>
          <p14:tracePt t="38362" x="1809750" y="2736850"/>
          <p14:tracePt t="38369" x="1835150" y="2736850"/>
          <p14:tracePt t="38377" x="1860550" y="2736850"/>
          <p14:tracePt t="38385" x="1893888" y="2736850"/>
          <p14:tracePt t="38393" x="1920875" y="2736850"/>
          <p14:tracePt t="38401" x="1954213" y="2736850"/>
          <p14:tracePt t="38409" x="1997075" y="2736850"/>
          <p14:tracePt t="38417" x="2081213" y="2736850"/>
          <p14:tracePt t="38425" x="2149475" y="2736850"/>
          <p14:tracePt t="38435" x="2293938" y="2736850"/>
          <p14:tracePt t="38441" x="2395538" y="2752725"/>
          <p14:tracePt t="38450" x="2540000" y="2778125"/>
          <p14:tracePt t="38457" x="2651125" y="2805113"/>
          <p14:tracePt t="38465" x="2795588" y="2830513"/>
          <p14:tracePt t="38472" x="2897188" y="2838450"/>
          <p14:tracePt t="38482" x="2982913" y="2855913"/>
          <p14:tracePt t="38490" x="3059113" y="2871788"/>
          <p14:tracePt t="38498" x="3092450" y="2881313"/>
          <p14:tracePt t="38506" x="3100388" y="2881313"/>
          <p14:tracePt t="38522" x="3074988" y="2889250"/>
          <p14:tracePt t="38531" x="3024188" y="2889250"/>
          <p14:tracePt t="38539" x="2922588" y="2881313"/>
          <p14:tracePt t="38546" x="2828925" y="2846388"/>
          <p14:tracePt t="38555" x="2701925" y="2805113"/>
          <p14:tracePt t="38563" x="2600325" y="2752725"/>
          <p14:tracePt t="38569" x="2497138" y="2711450"/>
          <p14:tracePt t="38579" x="2489200" y="2701925"/>
          <p14:tracePt t="38722" x="2463800" y="2701925"/>
          <p14:tracePt t="38730" x="2446338" y="2701925"/>
          <p14:tracePt t="38738" x="2413000" y="2701925"/>
          <p14:tracePt t="38746" x="2395538" y="2701925"/>
          <p14:tracePt t="38755" x="2362200" y="2701925"/>
          <p14:tracePt t="38763" x="2336800" y="2701925"/>
          <p14:tracePt t="38769" x="2319338" y="2711450"/>
          <p14:tracePt t="38776" x="2311400" y="2719388"/>
          <p14:tracePt t="38810" x="2327275" y="2727325"/>
          <p14:tracePt t="38825" x="2370138" y="2727325"/>
          <p14:tracePt t="38834" x="2430463" y="2727325"/>
          <p14:tracePt t="38842" x="2481263" y="2727325"/>
          <p14:tracePt t="38852" x="2582863" y="2719388"/>
          <p14:tracePt t="38858" x="2668588" y="2719388"/>
          <p14:tracePt t="38866" x="2795588" y="2719388"/>
          <p14:tracePt t="38873" x="2879725" y="2711450"/>
          <p14:tracePt t="38882" x="3016250" y="2686050"/>
          <p14:tracePt t="38889" x="3100388" y="2676525"/>
          <p14:tracePt t="38898" x="3168650" y="2676525"/>
          <p14:tracePt t="38905" x="3297238" y="2676525"/>
          <p14:tracePt t="38914" x="3363913" y="2676525"/>
          <p14:tracePt t="38922" x="3449638" y="2676525"/>
          <p14:tracePt t="38930" x="3525838" y="2676525"/>
          <p14:tracePt t="38938" x="3611563" y="2676525"/>
          <p14:tracePt t="38952" x="3670300" y="2686050"/>
          <p14:tracePt t="38955" x="3771900" y="2701925"/>
          <p14:tracePt t="38962" x="3814763" y="2711450"/>
          <p14:tracePt t="38969" x="3873500" y="2719388"/>
          <p14:tracePt t="38977" x="3951288" y="2727325"/>
          <p14:tracePt t="38986" x="3992563" y="2736850"/>
          <p14:tracePt t="38993" x="4044950" y="2736850"/>
          <p14:tracePt t="39002" x="4060825" y="2736850"/>
          <p14:tracePt t="39009" x="4095750" y="2736850"/>
          <p14:tracePt t="39018" x="4111625" y="2736850"/>
          <p14:tracePt t="39035" x="4121150" y="2736850"/>
          <p14:tracePt t="39145" x="4121150" y="2744788"/>
          <p14:tracePt t="39152" x="4103688" y="2752725"/>
          <p14:tracePt t="39161" x="4095750" y="2762250"/>
          <p14:tracePt t="39169" x="4086225" y="2762250"/>
          <p14:tracePt t="39177" x="4078288" y="2770188"/>
          <p14:tracePt t="39186" x="4078288" y="2778125"/>
          <p14:tracePt t="39193" x="4070350" y="2787650"/>
          <p14:tracePt t="39203" x="4070350" y="2795588"/>
          <p14:tracePt t="39208" x="4060825" y="2795588"/>
          <p14:tracePt t="39265" x="4078288" y="2795588"/>
          <p14:tracePt t="39273" x="4086225" y="2795588"/>
          <p14:tracePt t="39281" x="4121150" y="2795588"/>
          <p14:tracePt t="39289" x="4146550" y="2795588"/>
          <p14:tracePt t="39297" x="4187825" y="2795588"/>
          <p14:tracePt t="39305" x="4230688" y="2795588"/>
          <p14:tracePt t="39314" x="4273550" y="2795588"/>
          <p14:tracePt t="39321" x="4306888" y="2795588"/>
          <p14:tracePt t="39330" x="4316413" y="2795588"/>
          <p14:tracePt t="39337" x="4341813" y="2795588"/>
          <p14:tracePt t="39346" x="4359275" y="2795588"/>
          <p14:tracePt t="39554" x="4341813" y="2795588"/>
          <p14:tracePt t="39563" x="4324350" y="2795588"/>
          <p14:tracePt t="39570" x="4265613" y="2813050"/>
          <p14:tracePt t="39579" x="4205288" y="2813050"/>
          <p14:tracePt t="39586" x="4121150" y="2830513"/>
          <p14:tracePt t="39593" x="4052888" y="2830513"/>
          <p14:tracePt t="39603" x="3951288" y="2830513"/>
          <p14:tracePt t="39609" x="3848100" y="2830513"/>
          <p14:tracePt t="39618" x="3756025" y="2830513"/>
          <p14:tracePt t="39625" x="3627438" y="2846388"/>
          <p14:tracePt t="39634" x="3525838" y="2846388"/>
          <p14:tracePt t="39641" x="3381375" y="2846388"/>
          <p14:tracePt t="39651" x="3287713" y="2846388"/>
          <p14:tracePt t="39657" x="3135313" y="2846388"/>
          <p14:tracePt t="39666" x="3033713" y="2846388"/>
          <p14:tracePt t="39673" x="2905125" y="2846388"/>
          <p14:tracePt t="39681" x="2795588" y="2846388"/>
          <p14:tracePt t="39689" x="2684463" y="2846388"/>
          <p14:tracePt t="39697" x="2565400" y="2846388"/>
          <p14:tracePt t="39705" x="2481263" y="2846388"/>
          <p14:tracePt t="39713" x="2379663" y="2846388"/>
          <p14:tracePt t="39721" x="2311400" y="2820988"/>
          <p14:tracePt t="39730" x="2235200" y="2813050"/>
          <p14:tracePt t="39737" x="2208213" y="2813050"/>
          <p14:tracePt t="39745" x="2182813" y="2805113"/>
          <p14:tracePt t="39753" x="2166938" y="2805113"/>
          <p14:tracePt t="39760" x="2157413" y="2805113"/>
          <p14:tracePt t="39768" x="2149475" y="2805113"/>
          <p14:tracePt t="39816" x="2132013" y="2805113"/>
          <p14:tracePt t="39825" x="2124075" y="2805113"/>
          <p14:tracePt t="39833" x="2098675" y="2805113"/>
          <p14:tracePt t="39840" x="2065338" y="2805113"/>
          <p14:tracePt t="39850" x="2047875" y="2805113"/>
          <p14:tracePt t="39856" x="2005013" y="2805113"/>
          <p14:tracePt t="39865" x="1971675" y="2805113"/>
          <p14:tracePt t="39873" x="1936750" y="2805113"/>
          <p14:tracePt t="39880" x="1903413" y="2805113"/>
          <p14:tracePt t="39888" x="1860550" y="2805113"/>
          <p14:tracePt t="39897" x="1843088" y="2805113"/>
          <p14:tracePt t="39905" x="1817688" y="2813050"/>
          <p14:tracePt t="39912" x="1801813" y="2813050"/>
          <p14:tracePt t="39937" x="1801813" y="2820988"/>
          <p14:tracePt t="39950" x="1827213" y="2830513"/>
          <p14:tracePt t="39953" x="1860550" y="2830513"/>
          <p14:tracePt t="39961" x="1936750" y="2838450"/>
          <p14:tracePt t="39968" x="1997075" y="2838450"/>
          <p14:tracePt t="39977" x="2055813" y="2838450"/>
          <p14:tracePt t="39984" x="2141538" y="2838450"/>
          <p14:tracePt t="39993" x="2182813" y="2838450"/>
          <p14:tracePt t="40001" x="2217738" y="2838450"/>
          <p14:tracePt t="40008" x="2217738" y="2830513"/>
          <p14:tracePt t="40025" x="2208213" y="2813050"/>
          <p14:tracePt t="40033" x="2166938" y="2778125"/>
          <p14:tracePt t="40042" x="2124075" y="2752725"/>
          <p14:tracePt t="40049" x="2055813" y="2727325"/>
          <p14:tracePt t="40056" x="1971675" y="2693988"/>
          <p14:tracePt t="40065" x="1903413" y="2660650"/>
          <p14:tracePt t="40072" x="1843088" y="2643188"/>
          <p14:tracePt t="40082" x="1801813" y="2643188"/>
          <p14:tracePt t="40089" x="1776413" y="2643188"/>
          <p14:tracePt t="40114" x="1766888" y="2643188"/>
          <p14:tracePt t="40122" x="1766888" y="2660650"/>
          <p14:tracePt t="40130" x="1766888" y="2686050"/>
          <p14:tracePt t="40138" x="1776413" y="2701925"/>
          <p14:tracePt t="40146" x="1801813" y="2744788"/>
          <p14:tracePt t="40154" x="1827213" y="2752725"/>
          <p14:tracePt t="40163" x="1860550" y="2778125"/>
          <p14:tracePt t="40169" x="1885950" y="2778125"/>
          <p14:tracePt t="40178" x="1911350" y="2778125"/>
          <p14:tracePt t="40185" x="1936750" y="2778125"/>
          <p14:tracePt t="40193" x="1946275" y="2770188"/>
          <p14:tracePt t="40201" x="1954213" y="2744788"/>
          <p14:tracePt t="40209" x="1962150" y="2727325"/>
          <p14:tracePt t="40217" x="1971675" y="2693988"/>
          <p14:tracePt t="40225" x="1971675" y="2686050"/>
          <p14:tracePt t="40234" x="1971675" y="2668588"/>
          <p14:tracePt t="40241" x="1971675" y="2660650"/>
          <p14:tracePt t="40250" x="1971675" y="2643188"/>
          <p14:tracePt t="40257" x="1971675" y="2633663"/>
          <p14:tracePt t="40273" x="1962150" y="2625725"/>
          <p14:tracePt t="40289" x="1954213" y="2625725"/>
          <p14:tracePt t="40297" x="1946275" y="2625725"/>
          <p14:tracePt t="40305" x="1928813" y="2625725"/>
          <p14:tracePt t="40313" x="1903413" y="2651125"/>
          <p14:tracePt t="40321" x="1860550" y="2676525"/>
          <p14:tracePt t="40330" x="1852613" y="2701925"/>
          <p14:tracePt t="40337" x="1843088" y="2719388"/>
          <p14:tracePt t="40345" x="1835150" y="2744788"/>
          <p14:tracePt t="40353" x="1835150" y="2762250"/>
          <p14:tracePt t="40385" x="1843088" y="2762250"/>
          <p14:tracePt t="40393" x="1852613" y="2762250"/>
          <p14:tracePt t="40401" x="1860550" y="2762250"/>
          <p14:tracePt t="40417" x="1868488" y="2752725"/>
          <p14:tracePt t="40770" x="1885950" y="2752725"/>
          <p14:tracePt t="40777" x="1962150" y="2752725"/>
          <p14:tracePt t="40785" x="2065338" y="2752725"/>
          <p14:tracePt t="40793" x="2243138" y="2770188"/>
          <p14:tracePt t="40802" x="2352675" y="2787650"/>
          <p14:tracePt t="40810" x="2481263" y="2787650"/>
          <p14:tracePt t="40818" x="2582863" y="2787650"/>
          <p14:tracePt t="40825" x="2778125" y="2787650"/>
          <p14:tracePt t="40835" x="2930525" y="2787650"/>
          <p14:tracePt t="40842" x="3143250" y="2787650"/>
          <p14:tracePt t="40852" x="3517900" y="2787650"/>
          <p14:tracePt t="40858" x="3840163" y="2787650"/>
          <p14:tracePt t="40866" x="4324350" y="2787650"/>
          <p14:tracePt t="40874" x="4570413" y="2762250"/>
          <p14:tracePt t="40882" x="4902200" y="2711450"/>
          <p14:tracePt t="40889" x="5072063" y="2686050"/>
          <p14:tracePt t="40897" x="5267325" y="2643188"/>
          <p14:tracePt t="40905" x="5335588" y="2633663"/>
          <p14:tracePt t="40914" x="5386388" y="2633663"/>
          <p14:tracePt t="40921" x="5394325" y="2633663"/>
          <p14:tracePt t="40993" x="5378450" y="2633663"/>
          <p14:tracePt t="41001" x="5360988" y="2633663"/>
          <p14:tracePt t="41682" x="5386388" y="2633663"/>
          <p14:tracePt t="41690" x="5394325" y="2633663"/>
          <p14:tracePt t="41705" x="5403850" y="2633663"/>
          <p14:tracePt t="41746" x="5421313" y="2633663"/>
          <p14:tracePt t="41753" x="5437188" y="2643188"/>
          <p14:tracePt t="41763" x="5462588" y="2643188"/>
          <p14:tracePt t="41769" x="5472113" y="2643188"/>
          <p14:tracePt t="41779" x="5480050" y="2643188"/>
          <p14:tracePt t="41786" x="5487988" y="2643188"/>
          <p14:tracePt t="41795" x="5497513" y="2643188"/>
          <p14:tracePt t="41953" x="5487988" y="2643188"/>
          <p14:tracePt t="41962" x="5480050" y="2643188"/>
          <p14:tracePt t="41970" x="5480050" y="2625725"/>
          <p14:tracePt t="41979" x="5497513" y="2617788"/>
          <p14:tracePt t="42017" x="5497513" y="2608263"/>
          <p14:tracePt t="42065" x="5487988" y="2608263"/>
          <p14:tracePt t="42074" x="5480050" y="2608263"/>
          <p14:tracePt t="42081" x="5472113" y="2608263"/>
          <p14:tracePt t="42089" x="5454650" y="2617788"/>
          <p14:tracePt t="42137" x="5462588" y="2617788"/>
          <p14:tracePt t="43458" x="5462588" y="2608263"/>
          <p14:tracePt t="43466" x="5472113" y="2600325"/>
          <p14:tracePt t="43474" x="5480050" y="2592388"/>
          <p14:tracePt t="43482" x="5480050" y="2582863"/>
          <p14:tracePt t="43488" x="5487988" y="2574925"/>
          <p14:tracePt t="43504" x="5497513" y="2566988"/>
          <p14:tracePt t="43521" x="5505450" y="2557463"/>
          <p14:tracePt t="44610" x="5505450" y="2574925"/>
          <p14:tracePt t="44617" x="5505450" y="2633663"/>
          <p14:tracePt t="44625" x="5505450" y="2736850"/>
          <p14:tracePt t="44634" x="5505450" y="2820988"/>
          <p14:tracePt t="44642" x="5522913" y="2881313"/>
          <p14:tracePt t="44652" x="5538788" y="2982913"/>
          <p14:tracePt t="44658" x="5573713" y="3059113"/>
          <p14:tracePt t="44666" x="5607050" y="3119438"/>
          <p14:tracePt t="44673" x="5641975" y="3152775"/>
          <p14:tracePt t="44682" x="5675313" y="3178175"/>
          <p14:tracePt t="44691" x="5692775" y="3178175"/>
          <p14:tracePt t="45017" x="5692775" y="3186113"/>
          <p14:tracePt t="45026" x="5683250" y="3186113"/>
          <p14:tracePt t="45034" x="5675313" y="3186113"/>
          <p14:tracePt t="45042" x="5657850" y="3186113"/>
          <p14:tracePt t="45051" x="5649913" y="3186113"/>
          <p14:tracePt t="45058" x="5641975" y="3186113"/>
          <p14:tracePt t="45066" x="5616575" y="3186113"/>
          <p14:tracePt t="45073" x="5607050" y="3186113"/>
          <p14:tracePt t="45082" x="5599113" y="3186113"/>
          <p14:tracePt t="45138" x="5599113" y="3195638"/>
          <p14:tracePt t="45146" x="5599113" y="3221038"/>
          <p14:tracePt t="45154" x="5599113" y="3238500"/>
          <p14:tracePt t="45163" x="5599113" y="3271838"/>
          <p14:tracePt t="45170" x="5599113" y="3322638"/>
          <p14:tracePt t="45179" x="5599113" y="3355975"/>
          <p14:tracePt t="45186" x="5616575" y="3408363"/>
          <p14:tracePt t="45195" x="5641975" y="3441700"/>
          <p14:tracePt t="45204" x="5657850" y="3492500"/>
          <p14:tracePt t="45210" x="5692775" y="3543300"/>
          <p14:tracePt t="45218" x="5700713" y="3560763"/>
          <p14:tracePt t="45225" x="5726113" y="3586163"/>
          <p14:tracePt t="45236" x="5751513" y="3611563"/>
          <p14:tracePt t="45242" x="5776913" y="3629025"/>
          <p14:tracePt t="45251" x="5802313" y="3646488"/>
          <p14:tracePt t="45260" x="5819775" y="3646488"/>
          <p14:tracePt t="45265" x="5845175" y="3662363"/>
          <p14:tracePt t="45273" x="5880100" y="3671888"/>
          <p14:tracePt t="45281" x="5913438" y="3687763"/>
          <p14:tracePt t="45288" x="5946775" y="3697288"/>
          <p14:tracePt t="45297" x="6007100" y="3713163"/>
          <p14:tracePt t="45304" x="6040438" y="3730625"/>
          <p14:tracePt t="45312" x="6091238" y="3748088"/>
          <p14:tracePt t="45321" x="6126163" y="3773488"/>
          <p14:tracePt t="45328" x="6159500" y="3790950"/>
          <p14:tracePt t="45336" x="6194425" y="3806825"/>
          <p14:tracePt t="45345" x="6219825" y="3816350"/>
          <p14:tracePt t="45352" x="6245225" y="3824288"/>
          <p14:tracePt t="45361" x="6253163" y="3832225"/>
          <p14:tracePt t="45369" x="6261100" y="3841750"/>
          <p14:tracePt t="45378" x="6278563" y="3849688"/>
          <p14:tracePt t="45386" x="6296025" y="3857625"/>
          <p14:tracePt t="45393" x="6311900" y="3867150"/>
          <p14:tracePt t="45400" x="6329363" y="3875088"/>
          <p14:tracePt t="45409" x="6354763" y="3875088"/>
          <p14:tracePt t="45416" x="6380163" y="3883025"/>
          <p14:tracePt t="45425" x="6415088" y="3883025"/>
          <p14:tracePt t="45434" x="6430963" y="3892550"/>
          <p14:tracePt t="45441" x="6473825" y="3892550"/>
          <p14:tracePt t="45450" x="6499225" y="3892550"/>
          <p14:tracePt t="45457" x="6542088" y="3892550"/>
          <p14:tracePt t="45465" x="6584950" y="3892550"/>
          <p14:tracePt t="45473" x="6618288" y="3892550"/>
          <p14:tracePt t="45481" x="6661150" y="3892550"/>
          <p14:tracePt t="45489" x="6694488" y="3883025"/>
          <p14:tracePt t="45497" x="6719888" y="3883025"/>
          <p14:tracePt t="45505" x="6729413" y="3875088"/>
          <p14:tracePt t="45513" x="6737350" y="3875088"/>
          <p14:tracePt t="45521" x="6745288" y="3875088"/>
          <p14:tracePt t="45563" x="6745288" y="3867150"/>
          <p14:tracePt t="46024" x="6745288" y="3857625"/>
          <p14:tracePt t="46032" x="6745288" y="3849688"/>
          <p14:tracePt t="46041" x="6745288" y="3832225"/>
          <p14:tracePt t="46048" x="6745288" y="3806825"/>
          <p14:tracePt t="46057" x="6745288" y="3798888"/>
          <p14:tracePt t="46065" x="6745288" y="3773488"/>
          <p14:tracePt t="46072" x="6737350" y="3756025"/>
          <p14:tracePt t="46081" x="6737350" y="3748088"/>
          <p14:tracePt t="46089" x="6737350" y="3730625"/>
          <p14:tracePt t="46097" x="6737350" y="3722688"/>
          <p14:tracePt t="46105" x="6737350" y="3705225"/>
          <p14:tracePt t="46113" x="6737350" y="3697288"/>
          <p14:tracePt t="46121" x="6737350" y="3687763"/>
          <p14:tracePt t="46129" x="6737350" y="3679825"/>
          <p14:tracePt t="46153" x="6737350" y="3671888"/>
          <p14:tracePt t="56745" x="6729413" y="3671888"/>
          <p14:tracePt t="56753" x="6661150" y="3687763"/>
          <p14:tracePt t="56762" x="6626225" y="3705225"/>
          <p14:tracePt t="56769" x="6559550" y="3748088"/>
          <p14:tracePt t="56778" x="6524625" y="3763963"/>
          <p14:tracePt t="56785" x="6483350" y="3781425"/>
          <p14:tracePt t="56794" x="6364288" y="3824288"/>
          <p14:tracePt t="56801" x="6261100" y="3841750"/>
          <p14:tracePt t="56809" x="6116638" y="3867150"/>
          <p14:tracePt t="56817" x="6015038" y="3875088"/>
          <p14:tracePt t="56825" x="5880100" y="3875088"/>
          <p14:tracePt t="56833" x="5776913" y="3875088"/>
          <p14:tracePt t="56841" x="5641975" y="3875088"/>
          <p14:tracePt t="56850" x="5522913" y="3875088"/>
          <p14:tracePt t="56856" x="5411788" y="3875088"/>
          <p14:tracePt t="56865" x="5259388" y="3875088"/>
          <p14:tracePt t="56872" x="5132388" y="3875088"/>
          <p14:tracePt t="56882" x="4962525" y="3875088"/>
          <p14:tracePt t="56888" x="4833938" y="3875088"/>
          <p14:tracePt t="56897" x="4681538" y="3875088"/>
          <p14:tracePt t="56905" x="4579938" y="3849688"/>
          <p14:tracePt t="56913" x="4435475" y="3824288"/>
          <p14:tracePt t="56921" x="4332288" y="3816350"/>
          <p14:tracePt t="56929" x="4256088" y="3781425"/>
          <p14:tracePt t="56949" x="4095750" y="3730625"/>
          <p14:tracePt t="56954" x="4035425" y="3705225"/>
          <p14:tracePt t="56962" x="4017963" y="3697288"/>
          <p14:tracePt t="56969" x="4010025" y="3697288"/>
          <p14:tracePt t="57521" x="4002088" y="3687763"/>
          <p14:tracePt t="57529" x="3984625" y="3671888"/>
          <p14:tracePt t="57537" x="3951288" y="3654425"/>
          <p14:tracePt t="57544" x="3890963" y="3619500"/>
          <p14:tracePt t="57552" x="3822700" y="3603625"/>
          <p14:tracePt t="57561" x="3738563" y="3594100"/>
          <p14:tracePt t="57568" x="3670300" y="3578225"/>
          <p14:tracePt t="57577" x="3568700" y="3578225"/>
          <p14:tracePt t="57585" x="3424238" y="3594100"/>
          <p14:tracePt t="57594" x="3322638" y="3619500"/>
          <p14:tracePt t="57601" x="3262313" y="3636963"/>
          <p14:tracePt t="57609" x="3236913" y="3654425"/>
          <p14:tracePt t="57618" x="3211513" y="3679825"/>
          <p14:tracePt t="57625" x="3211513" y="3705225"/>
          <p14:tracePt t="57632" x="3203575" y="3730625"/>
          <p14:tracePt t="57641" x="3194050" y="3756025"/>
          <p14:tracePt t="57649" x="3194050" y="3781425"/>
          <p14:tracePt t="57656" x="3194050" y="3790950"/>
          <p14:tracePt t="57664" x="3194050" y="3798888"/>
          <p14:tracePt t="57682" x="3203575" y="3798888"/>
          <p14:tracePt t="57689" x="3219450" y="3798888"/>
          <p14:tracePt t="57697" x="3244850" y="3781425"/>
          <p14:tracePt t="57705" x="3297238" y="3738563"/>
          <p14:tracePt t="57713" x="3355975" y="3705225"/>
          <p14:tracePt t="57721" x="3406775" y="3662363"/>
          <p14:tracePt t="57729" x="3457575" y="3629025"/>
          <p14:tracePt t="57737" x="3492500" y="3611563"/>
          <p14:tracePt t="57745" x="3525838" y="3586163"/>
          <p14:tracePt t="57753" x="3551238" y="3578225"/>
          <p14:tracePt t="57762" x="3576638" y="3568700"/>
          <p14:tracePt t="57769" x="3594100" y="3560763"/>
          <p14:tracePt t="57778" x="3594100" y="3552825"/>
          <p14:tracePt t="57785" x="3602038" y="3552825"/>
          <p14:tracePt t="57793" x="3611563" y="3543300"/>
          <p14:tracePt t="58595" x="3636963" y="3543300"/>
          <p14:tracePt t="58601" x="3670300" y="3543300"/>
          <p14:tracePt t="58611" x="3721100" y="3543300"/>
          <p14:tracePt t="58618" x="3781425" y="3543300"/>
          <p14:tracePt t="58625" x="3890963" y="3543300"/>
          <p14:tracePt t="58632" x="3976688" y="3543300"/>
          <p14:tracePt t="58641" x="4086225" y="3543300"/>
          <p14:tracePt t="58648" x="4187825" y="3543300"/>
          <p14:tracePt t="58657" x="4273550" y="3543300"/>
          <p14:tracePt t="58664" x="4375150" y="3543300"/>
          <p14:tracePt t="58673" x="4443413" y="3543300"/>
          <p14:tracePt t="58681" x="4519613" y="3543300"/>
          <p14:tracePt t="58689" x="4562475" y="3543300"/>
          <p14:tracePt t="58696" x="4605338" y="3543300"/>
          <p14:tracePt t="58704" x="4638675" y="3543300"/>
          <p14:tracePt t="58713" x="4664075" y="3543300"/>
          <p14:tracePt t="58721" x="4699000" y="3543300"/>
          <p14:tracePt t="58729" x="4724400" y="3543300"/>
          <p14:tracePt t="58737" x="4765675" y="3543300"/>
          <p14:tracePt t="58745" x="4800600" y="3543300"/>
          <p14:tracePt t="58753" x="4851400" y="3543300"/>
          <p14:tracePt t="58762" x="4894263" y="3543300"/>
          <p14:tracePt t="58769" x="4953000" y="3543300"/>
          <p14:tracePt t="58778" x="4995863" y="3560763"/>
          <p14:tracePt t="58785" x="5054600" y="3568700"/>
          <p14:tracePt t="58794" x="5106988" y="3578225"/>
          <p14:tracePt t="58801" x="5148263" y="3586163"/>
          <p14:tracePt t="58809" x="5208588" y="3594100"/>
          <p14:tracePt t="58818" x="5259388" y="3611563"/>
          <p14:tracePt t="58825" x="5318125" y="3636963"/>
          <p14:tracePt t="58833" x="5368925" y="3654425"/>
          <p14:tracePt t="58841" x="5437188" y="3679825"/>
          <p14:tracePt t="58849" x="5497513" y="3687763"/>
          <p14:tracePt t="58857" x="5591175" y="3705225"/>
          <p14:tracePt t="58865" x="5649913" y="3730625"/>
          <p14:tracePt t="58873" x="5735638" y="3738563"/>
          <p14:tracePt t="58882" x="5794375" y="3748088"/>
          <p14:tracePt t="58889" x="5870575" y="3756025"/>
          <p14:tracePt t="58897" x="5956300" y="3773488"/>
          <p14:tracePt t="58905" x="5997575" y="3781425"/>
          <p14:tracePt t="58913" x="6049963" y="3781425"/>
          <p14:tracePt t="58921" x="6075363" y="3781425"/>
          <p14:tracePt t="58929" x="6100763" y="3781425"/>
          <p14:tracePt t="58937" x="6108700" y="3781425"/>
          <p14:tracePt t="58948" x="6116638" y="3781425"/>
          <p14:tracePt t="58961" x="6126163" y="3781425"/>
          <p14:tracePt t="60688" x="6116638" y="3781425"/>
          <p14:tracePt t="60784" x="6108700" y="3781425"/>
          <p14:tracePt t="60792" x="6091238" y="3781425"/>
          <p14:tracePt t="60800" x="6049963" y="3781425"/>
          <p14:tracePt t="60808" x="6007100" y="3781425"/>
          <p14:tracePt t="60816" x="5946775" y="3781425"/>
          <p14:tracePt t="60824" x="5845175" y="3798888"/>
          <p14:tracePt t="60832" x="5761038" y="3816350"/>
          <p14:tracePt t="60840" x="5599113" y="3841750"/>
          <p14:tracePt t="60848" x="5497513" y="3841750"/>
          <p14:tracePt t="60856" x="5386388" y="3841750"/>
          <p14:tracePt t="60865" x="5327650" y="3849688"/>
          <p14:tracePt t="60872" x="5267325" y="3849688"/>
          <p14:tracePt t="60880" x="5233988" y="3857625"/>
          <p14:tracePt t="60888" x="5199063" y="3867150"/>
          <p14:tracePt t="60896" x="5165725" y="3875088"/>
          <p14:tracePt t="60904" x="5148263" y="3875088"/>
          <p14:tracePt t="60912" x="5106988" y="3883025"/>
          <p14:tracePt t="60920" x="5072063" y="3892550"/>
          <p14:tracePt t="60928" x="5029200" y="3892550"/>
          <p14:tracePt t="60949" x="4927600" y="3892550"/>
          <p14:tracePt t="60952" x="4894263" y="3892550"/>
          <p14:tracePt t="60960" x="4851400" y="3892550"/>
          <p14:tracePt t="60968" x="4791075" y="3883025"/>
          <p14:tracePt t="60976" x="4740275" y="3875088"/>
          <p14:tracePt t="60984" x="4673600" y="3867150"/>
          <p14:tracePt t="60992" x="4621213" y="3849688"/>
          <p14:tracePt t="61001" x="4554538" y="3841750"/>
          <p14:tracePt t="61008" x="4494213" y="3832225"/>
          <p14:tracePt t="61016" x="4418013" y="3824288"/>
          <p14:tracePt t="61024" x="4359275" y="3816350"/>
          <p14:tracePt t="61032" x="4298950" y="3806825"/>
          <p14:tracePt t="61040" x="4240213" y="3790950"/>
          <p14:tracePt t="61048" x="4197350" y="3781425"/>
          <p14:tracePt t="61057" x="4137025" y="3773488"/>
          <p14:tracePt t="61064" x="4103688" y="3763963"/>
          <p14:tracePt t="61074" x="4070350" y="3763963"/>
          <p14:tracePt t="61083" x="4044950" y="3756025"/>
          <p14:tracePt t="61153" x="4044950" y="3748088"/>
          <p14:tracePt t="61458" x="4027488" y="3748088"/>
          <p14:tracePt t="61465" x="4010025" y="3763963"/>
          <p14:tracePt t="61474" x="4002088" y="3773488"/>
          <p14:tracePt t="61482" x="3984625" y="3773488"/>
          <p14:tracePt t="61490" x="3967163" y="3781425"/>
          <p14:tracePt t="61505" x="3959225" y="3781425"/>
          <p14:tracePt t="61522" x="3941763" y="3781425"/>
          <p14:tracePt t="61530" x="3941763" y="3790950"/>
          <p14:tracePt t="61579" x="3933825" y="3790950"/>
          <p14:tracePt t="61586" x="3925888" y="3790950"/>
          <p14:tracePt t="61594" x="3916363" y="3790950"/>
          <p14:tracePt t="61602" x="3916363" y="3781425"/>
          <p14:tracePt t="61610" x="3908425" y="3781425"/>
          <p14:tracePt t="61617" x="3900488" y="3781425"/>
          <p14:tracePt t="61624" x="3890963" y="3773488"/>
          <p14:tracePt t="61632" x="3857625" y="3763963"/>
          <p14:tracePt t="61640" x="3832225" y="3763963"/>
          <p14:tracePt t="61648" x="3814763" y="3763963"/>
          <p14:tracePt t="61657" x="3789363" y="3756025"/>
          <p14:tracePt t="61665" x="3746500" y="3748088"/>
          <p14:tracePt t="61673" x="3695700" y="3738563"/>
          <p14:tracePt t="61680" x="3594100" y="3730625"/>
          <p14:tracePt t="61689" x="3508375" y="3705225"/>
          <p14:tracePt t="61697" x="3406775" y="3697288"/>
          <p14:tracePt t="61705" x="3279775" y="3697288"/>
          <p14:tracePt t="61713" x="3152775" y="3697288"/>
          <p14:tracePt t="61721" x="3016250" y="3697288"/>
          <p14:tracePt t="61729" x="2914650" y="3697288"/>
          <p14:tracePt t="61737" x="2811463" y="3713163"/>
          <p14:tracePt t="61745" x="2752725" y="3722688"/>
          <p14:tracePt t="61753" x="2719388" y="3730625"/>
          <p14:tracePt t="61761" x="2676525" y="3738563"/>
          <p14:tracePt t="61769" x="2659063" y="3738563"/>
          <p14:tracePt t="61778" x="2651125" y="3738563"/>
          <p14:tracePt t="61794" x="2641600" y="3748088"/>
          <p14:tracePt t="61914" x="2651125" y="3748088"/>
          <p14:tracePt t="61922" x="2693988" y="3738563"/>
          <p14:tracePt t="61930" x="2752725" y="3738563"/>
          <p14:tracePt t="61951" x="2940050" y="3738563"/>
          <p14:tracePt t="61954" x="3067050" y="3763963"/>
          <p14:tracePt t="61962" x="3152775" y="3763963"/>
          <p14:tracePt t="61969" x="3279775" y="3790950"/>
          <p14:tracePt t="61978" x="3330575" y="3790950"/>
          <p14:tracePt t="62001" x="3355975" y="3790950"/>
          <p14:tracePt t="62010" x="3432175" y="3790950"/>
          <p14:tracePt t="62017" x="3449638" y="3790950"/>
          <p14:tracePt t="62122" x="3449638" y="3806825"/>
          <p14:tracePt t="62130" x="3449638" y="3832225"/>
          <p14:tracePt t="62137" x="3406775" y="3857625"/>
          <p14:tracePt t="62145" x="3389313" y="3857625"/>
          <p14:tracePt t="62153" x="3348038" y="3857625"/>
          <p14:tracePt t="62162" x="3297238" y="3867150"/>
          <p14:tracePt t="62169" x="3254375" y="3875088"/>
          <p14:tracePt t="62179" x="3194050" y="3883025"/>
          <p14:tracePt t="62185" x="3160713" y="3883025"/>
          <p14:tracePt t="62194" x="3092450" y="3883025"/>
          <p14:tracePt t="62201" x="3024188" y="3883025"/>
          <p14:tracePt t="62209" x="2914650" y="3883025"/>
          <p14:tracePt t="62217" x="2811463" y="3883025"/>
          <p14:tracePt t="62225" x="2633663" y="3857625"/>
          <p14:tracePt t="62233" x="2497138" y="3824288"/>
          <p14:tracePt t="62241" x="2370138" y="3773488"/>
          <p14:tracePt t="62250" x="2200275" y="3705225"/>
          <p14:tracePt t="62257" x="2065338" y="3646488"/>
          <p14:tracePt t="62265" x="1911350" y="3568700"/>
          <p14:tracePt t="62273" x="1784350" y="3509963"/>
          <p14:tracePt t="62282" x="1665288" y="3449638"/>
          <p14:tracePt t="62289" x="1563688" y="3408363"/>
          <p14:tracePt t="62299" x="1427163" y="3348038"/>
          <p14:tracePt t="62309" x="1343025" y="3305175"/>
          <p14:tracePt t="62315" x="1265238" y="3254375"/>
          <p14:tracePt t="62321" x="1173163" y="3221038"/>
          <p14:tracePt t="62329" x="1120775" y="3195638"/>
          <p14:tracePt t="62337" x="1062038" y="3178175"/>
          <p14:tracePt t="62345" x="1028700" y="3152775"/>
          <p14:tracePt t="62353" x="976313" y="3135313"/>
          <p14:tracePt t="62362" x="960438" y="3127375"/>
          <p14:tracePt t="62369" x="925513" y="3119438"/>
          <p14:tracePt t="62378" x="909638" y="3109913"/>
          <p14:tracePt t="62385" x="892175" y="3109913"/>
          <p14:tracePt t="62394" x="874713" y="3101975"/>
          <p14:tracePt t="62401" x="858838" y="3094038"/>
          <p14:tracePt t="62409" x="849313" y="3094038"/>
          <p14:tracePt t="62418" x="841375" y="3084513"/>
          <p14:tracePt t="62425" x="831850" y="3084513"/>
          <p14:tracePt t="62434" x="823913" y="3076575"/>
          <p14:tracePt t="62441" x="806450" y="3076575"/>
          <p14:tracePt t="62449" x="790575" y="3076575"/>
          <p14:tracePt t="62457" x="755650" y="3076575"/>
          <p14:tracePt t="62465" x="722313" y="3076575"/>
          <p14:tracePt t="62473" x="671513" y="3076575"/>
          <p14:tracePt t="62482" x="620713" y="3076575"/>
          <p14:tracePt t="62490" x="585788" y="3076575"/>
          <p14:tracePt t="62499" x="544513" y="3076575"/>
          <p14:tracePt t="62505" x="527050" y="3076575"/>
          <p14:tracePt t="62512" x="509588" y="3076575"/>
          <p14:tracePt t="62522" x="501650" y="3076575"/>
          <p14:tracePt t="62530" x="484188" y="3076575"/>
          <p14:tracePt t="62545" x="466725" y="3076575"/>
          <p14:tracePt t="62554" x="458788" y="3067050"/>
          <p14:tracePt t="62570" x="458788" y="3059113"/>
          <p14:tracePt t="62586" x="450850" y="3059113"/>
          <p14:tracePt t="62611" x="441325" y="3059113"/>
          <p14:tracePt t="62618" x="441325" y="3051175"/>
          <p14:tracePt t="62625" x="425450" y="3051175"/>
          <p14:tracePt t="62634" x="407988" y="3041650"/>
          <p14:tracePt t="62641" x="400050" y="3041650"/>
          <p14:tracePt t="62649" x="382588" y="3033713"/>
          <p14:tracePt t="62656" x="365125" y="3033713"/>
          <p14:tracePt t="62664" x="357188" y="3033713"/>
          <p14:tracePt t="62673" x="331788" y="3025775"/>
          <p14:tracePt t="62681" x="296863" y="3025775"/>
          <p14:tracePt t="62689" x="288925" y="3016250"/>
          <p14:tracePt t="62697" x="271463" y="3016250"/>
          <p14:tracePt t="62705" x="255588" y="3008313"/>
          <p14:tracePt t="62779" x="246063" y="3008313"/>
          <p14:tracePt t="63857" x="246063" y="3016250"/>
          <p14:tracePt t="63864" x="238125" y="3025775"/>
          <p14:tracePt t="63873" x="238125" y="3033713"/>
          <p14:tracePt t="63881" x="238125" y="3041650"/>
          <p14:tracePt t="63889" x="230188" y="3051175"/>
          <p14:tracePt t="63905" x="230188" y="3059113"/>
          <p14:tracePt t="63921" x="230188" y="3076575"/>
          <p14:tracePt t="63929" x="220663" y="3084513"/>
          <p14:tracePt t="63937" x="220663" y="3101975"/>
          <p14:tracePt t="63950" x="212725" y="3109913"/>
          <p14:tracePt t="63953" x="203200" y="3119438"/>
          <p14:tracePt t="63961" x="203200" y="3127375"/>
          <p14:tracePt t="63969" x="203200" y="3135313"/>
          <p14:tracePt t="64001" x="195263" y="3135313"/>
          <p14:tracePt t="64009" x="195263" y="3144838"/>
          <p14:tracePt t="64025" x="187325" y="3152775"/>
          <p14:tracePt t="74233" x="187325" y="3170238"/>
          <p14:tracePt t="74241" x="187325" y="3178175"/>
          <p14:tracePt t="74248" x="187325" y="3211513"/>
          <p14:tracePt t="74257" x="187325" y="3228975"/>
          <p14:tracePt t="74264" x="187325" y="3246438"/>
          <p14:tracePt t="74273" x="187325" y="3263900"/>
          <p14:tracePt t="74280" x="187325" y="3279775"/>
          <p14:tracePt t="74643" x="187325" y="3271838"/>
          <p14:tracePt t="74674" x="187325" y="3263900"/>
          <p14:tracePt t="74698" x="187325" y="3254375"/>
          <p14:tracePt t="74714" x="187325" y="3246438"/>
          <p14:tracePt t="74730" x="187325" y="3238500"/>
          <p14:tracePt t="74737" x="187325" y="3221038"/>
          <p14:tracePt t="74745" x="177800" y="3221038"/>
          <p14:tracePt t="74762" x="177800" y="3211513"/>
          <p14:tracePt t="74769" x="177800" y="3203575"/>
          <p14:tracePt t="74794" x="177800" y="3195638"/>
          <p14:tracePt t="74810" x="177800" y="3186113"/>
          <p14:tracePt t="81512" x="177800" y="3195638"/>
          <p14:tracePt t="81520" x="177800" y="3221038"/>
          <p14:tracePt t="81528" x="177800" y="3254375"/>
          <p14:tracePt t="81536" x="161925" y="3289300"/>
          <p14:tracePt t="81544" x="161925" y="3297238"/>
          <p14:tracePt t="82112" x="161925" y="3289300"/>
          <p14:tracePt t="82120" x="152400" y="3289300"/>
          <p14:tracePt t="82128" x="152400" y="3271838"/>
          <p14:tracePt t="82145" x="152400" y="3254375"/>
          <p14:tracePt t="82153" x="144463" y="3246438"/>
          <p14:tracePt t="82169" x="144463" y="3228975"/>
          <p14:tracePt t="82185" x="144463" y="3221038"/>
          <p14:tracePt t="82201" x="144463" y="3211513"/>
          <p14:tracePt t="82210" x="144463" y="3203575"/>
          <p14:tracePt t="82225" x="144463" y="3195638"/>
          <p14:tracePt t="82241" x="144463" y="3186113"/>
          <p14:tracePt t="82257" x="136525" y="3186113"/>
          <p14:tracePt t="82273" x="136525" y="3178175"/>
          <p14:tracePt t="82296" x="136525" y="3170238"/>
          <p14:tracePt t="82312" x="136525" y="3160713"/>
          <p14:tracePt t="82321" x="136525" y="3152775"/>
          <p14:tracePt t="82329" x="136525" y="3144838"/>
          <p14:tracePt t="82344" x="136525" y="3135313"/>
          <p14:tracePt t="82538" x="136525" y="3144838"/>
          <p14:tracePt t="82570" x="136525" y="3152775"/>
          <p14:tracePt t="82578" x="136525" y="3160713"/>
          <p14:tracePt t="82585" x="136525" y="3170238"/>
          <p14:tracePt t="82601" x="136525" y="3186113"/>
          <p14:tracePt t="82609" x="136525" y="3195638"/>
          <p14:tracePt t="87122" x="136525" y="3211513"/>
          <p14:tracePt t="87130" x="136525" y="3246438"/>
          <p14:tracePt t="87138" x="152400" y="3314700"/>
          <p14:tracePt t="87146" x="169863" y="3382963"/>
          <p14:tracePt t="87154" x="177800" y="3502025"/>
          <p14:tracePt t="87161" x="195263" y="3568700"/>
          <p14:tracePt t="87170" x="212725" y="3671888"/>
          <p14:tracePt t="87179" x="220663" y="3730625"/>
          <p14:tracePt t="87186" x="238125" y="3781425"/>
          <p14:tracePt t="87195" x="246063" y="3841750"/>
          <p14:tracePt t="87203" x="263525" y="3867150"/>
          <p14:tracePt t="87211" x="280988" y="3917950"/>
          <p14:tracePt t="87218" x="306388" y="3951288"/>
          <p14:tracePt t="87226" x="357188" y="4019550"/>
          <p14:tracePt t="87234" x="400050" y="4070350"/>
          <p14:tracePt t="87243" x="441325" y="4121150"/>
          <p14:tracePt t="87251" x="458788" y="4156075"/>
          <p14:tracePt t="87258" x="484188" y="4181475"/>
          <p14:tracePt t="87266" x="501650" y="4197350"/>
          <p14:tracePt t="87273" x="509588" y="4224338"/>
          <p14:tracePt t="87282" x="517525" y="4232275"/>
          <p14:tracePt t="87289" x="534988" y="4249738"/>
          <p14:tracePt t="87298" x="544513" y="4265613"/>
          <p14:tracePt t="87305" x="560388" y="4283075"/>
          <p14:tracePt t="87313" x="569913" y="4291013"/>
          <p14:tracePt t="87321" x="569913" y="4300538"/>
          <p14:tracePt t="87330" x="577850" y="4308475"/>
          <p14:tracePt t="87337" x="585788" y="4308475"/>
          <p14:tracePt t="87353" x="585788" y="4300538"/>
          <p14:tracePt t="87361" x="585788" y="4275138"/>
          <p14:tracePt t="87369" x="585788" y="4232275"/>
          <p14:tracePt t="87378" x="577850" y="4181475"/>
          <p14:tracePt t="87387" x="569913" y="4164013"/>
          <p14:tracePt t="87505" x="569913" y="4156075"/>
          <p14:tracePt t="87513" x="569913" y="4146550"/>
          <p14:tracePt t="87522" x="569913" y="4138613"/>
          <p14:tracePt t="87538" x="569913" y="4130675"/>
          <p14:tracePt t="87546" x="560388" y="4130675"/>
          <p14:tracePt t="87554" x="552450" y="4121150"/>
          <p14:tracePt t="87562" x="552450" y="4113213"/>
          <p14:tracePt t="87586" x="552450" y="4105275"/>
          <p14:tracePt t="87595" x="560388" y="4105275"/>
          <p14:tracePt t="87601" x="569913" y="4105275"/>
          <p14:tracePt t="87611" x="577850" y="4105275"/>
          <p14:tracePt t="87618" x="585788" y="4105275"/>
          <p14:tracePt t="87674" x="577850" y="4105275"/>
          <p14:tracePt t="87722" x="569913" y="4105275"/>
          <p14:tracePt t="87738" x="560388" y="4105275"/>
          <p14:tracePt t="87754" x="552450" y="4105275"/>
          <p14:tracePt t="87762" x="534988" y="4105275"/>
          <p14:tracePt t="87769" x="527050" y="4105275"/>
          <p14:tracePt t="87779" x="509588" y="4105275"/>
          <p14:tracePt t="87785" x="492125" y="4113213"/>
          <p14:tracePt t="87795" x="484188" y="4121150"/>
          <p14:tracePt t="87801" x="466725" y="4121150"/>
          <p14:tracePt t="87811" x="450850" y="4130675"/>
          <p14:tracePt t="87818" x="425450" y="4138613"/>
          <p14:tracePt t="87826" x="425450" y="4146550"/>
          <p14:tracePt t="87833" x="407988" y="4146550"/>
          <p14:tracePt t="87843" x="400050" y="4156075"/>
          <p14:tracePt t="87913" x="390525" y="4156075"/>
          <p14:tracePt t="87922" x="382588" y="4156075"/>
          <p14:tracePt t="87946" x="373063" y="4164013"/>
          <p14:tracePt t="87954" x="357188" y="4164013"/>
          <p14:tracePt t="87963" x="357188" y="4171950"/>
          <p14:tracePt t="87985" x="347663" y="4171950"/>
          <p14:tracePt t="88130" x="339725" y="4171950"/>
          <p14:tracePt t="88138" x="331788" y="4171950"/>
          <p14:tracePt t="88146" x="322263" y="4171950"/>
          <p14:tracePt t="88154" x="314325" y="4181475"/>
          <p14:tracePt t="88162" x="306388" y="4181475"/>
          <p14:tracePt t="88169" x="288925" y="4181475"/>
          <p14:tracePt t="88178" x="288925" y="4189413"/>
          <p14:tracePt t="88186" x="280988" y="4189413"/>
          <p14:tracePt t="88195" x="271463" y="4189413"/>
          <p14:tracePt t="88211" x="263525" y="4189413"/>
          <p14:tracePt t="90169" x="263525" y="4181475"/>
          <p14:tracePt t="90194" x="263525" y="4171950"/>
          <p14:tracePt t="90305" x="263525" y="4164013"/>
          <p14:tracePt t="90330" x="271463" y="4164013"/>
          <p14:tracePt t="90346" x="271463" y="4156075"/>
          <p14:tracePt t="90354" x="271463" y="4146550"/>
          <p14:tracePt t="90378" x="280988" y="4138613"/>
          <p14:tracePt t="90403" x="280988" y="4130675"/>
          <p14:tracePt t="90473" x="280988" y="4121150"/>
          <p14:tracePt t="90522" x="288925" y="4121150"/>
          <p14:tracePt t="90602" x="296863" y="4121150"/>
          <p14:tracePt t="92713" x="296863" y="4130675"/>
          <p14:tracePt t="92721" x="296863" y="4146550"/>
          <p14:tracePt t="92731" x="306388" y="4164013"/>
          <p14:tracePt t="92737" x="314325" y="4189413"/>
          <p14:tracePt t="92748" x="331788" y="4206875"/>
          <p14:tracePt t="92754" x="347663" y="4214813"/>
          <p14:tracePt t="92763" x="365125" y="4224338"/>
          <p14:tracePt t="92770" x="373063" y="4240213"/>
          <p14:tracePt t="92780" x="382588" y="4240213"/>
          <p14:tracePt t="92786" x="390525" y="4249738"/>
          <p14:tracePt t="92797" x="400050" y="4249738"/>
          <p14:tracePt t="92817" x="407988" y="4249738"/>
          <p14:tracePt t="92826" x="415925" y="4249738"/>
          <p14:tracePt t="92849" x="415925" y="4232275"/>
          <p14:tracePt t="92858" x="407988" y="4232275"/>
          <p14:tracePt t="92865" x="407988" y="4224338"/>
          <p14:tracePt t="93026" x="400050" y="4232275"/>
          <p14:tracePt t="93034" x="390525" y="4240213"/>
          <p14:tracePt t="93049" x="373063" y="4249738"/>
          <p14:tracePt t="93058" x="373063" y="4257675"/>
          <p14:tracePt t="93074" x="365125" y="4257675"/>
          <p14:tracePt t="93081" x="357188" y="4257675"/>
          <p14:tracePt t="93113" x="347663" y="4257675"/>
          <p14:tracePt t="93193" x="339725" y="4257675"/>
          <p14:tracePt t="93201" x="331788" y="4265613"/>
          <p14:tracePt t="93217" x="322263" y="4265613"/>
          <p14:tracePt t="93225" x="322263" y="4275138"/>
          <p14:tracePt t="93234" x="314325" y="4275138"/>
          <p14:tracePt t="93946" x="314325" y="4283075"/>
          <p14:tracePt t="93953" x="314325" y="4300538"/>
          <p14:tracePt t="93962" x="314325" y="4333875"/>
          <p14:tracePt t="93970" x="314325" y="4359275"/>
          <p14:tracePt t="93980" x="314325" y="4419600"/>
          <p14:tracePt t="93986" x="322263" y="4452938"/>
          <p14:tracePt t="93997" x="347663" y="4495800"/>
          <p14:tracePt t="94001" x="365125" y="4546600"/>
          <p14:tracePt t="94011" x="382588" y="4579938"/>
          <p14:tracePt t="94017" x="407988" y="4630738"/>
          <p14:tracePt t="94027" x="425450" y="4657725"/>
          <p14:tracePt t="94034" x="441325" y="4683125"/>
          <p14:tracePt t="94041" x="450850" y="4699000"/>
          <p14:tracePt t="94049" x="450850" y="4716463"/>
          <p14:tracePt t="94057" x="458788" y="4733925"/>
          <p14:tracePt t="94065" x="466725" y="4733925"/>
          <p14:tracePt t="94073" x="466725" y="4741863"/>
          <p14:tracePt t="94105" x="466725" y="4733925"/>
          <p14:tracePt t="94113" x="466725" y="4716463"/>
          <p14:tracePt t="94122" x="466725" y="4691063"/>
          <p14:tracePt t="94129" x="466725" y="4665663"/>
          <p14:tracePt t="94138" x="466725" y="4630738"/>
          <p14:tracePt t="94146" x="466725" y="4622800"/>
          <p14:tracePt t="94288" x="458788" y="4622800"/>
          <p14:tracePt t="94304" x="441325" y="4622800"/>
          <p14:tracePt t="94320" x="433388" y="4630738"/>
          <p14:tracePt t="94344" x="433388" y="4640263"/>
          <p14:tracePt t="94360" x="441325" y="4640263"/>
          <p14:tracePt t="94440" x="450850" y="4640263"/>
          <p14:tracePt t="95024" x="450850" y="4648200"/>
          <p14:tracePt t="95033" x="450850" y="4657725"/>
          <p14:tracePt t="95057" x="450850" y="4665663"/>
          <p14:tracePt t="95065" x="450850" y="4673600"/>
          <p14:tracePt t="95113" x="450850" y="4683125"/>
          <p14:tracePt t="95161" x="450850" y="4691063"/>
          <p14:tracePt t="95169" x="450850" y="4699000"/>
          <p14:tracePt t="95177" x="458788" y="4699000"/>
          <p14:tracePt t="95184" x="458788" y="4708525"/>
          <p14:tracePt t="95194" x="458788" y="4724400"/>
          <p14:tracePt t="95201" x="458788" y="4733925"/>
          <p14:tracePt t="95210" x="466725" y="4733925"/>
          <p14:tracePt t="95217" x="466725" y="4741863"/>
          <p14:tracePt t="95233" x="466725" y="4749800"/>
          <p14:tracePt t="95313" x="466725" y="4759325"/>
          <p14:tracePt t="95322" x="466725" y="4775200"/>
          <p14:tracePt t="95329" x="466725" y="4784725"/>
          <p14:tracePt t="95338" x="466725" y="4792663"/>
          <p14:tracePt t="95347" x="466725" y="4802188"/>
          <p14:tracePt t="95353" x="466725" y="4810125"/>
          <p14:tracePt t="95370" x="476250" y="4818063"/>
          <p14:tracePt t="95505" x="476250" y="4827588"/>
          <p14:tracePt t="95746" x="466725" y="4827588"/>
          <p14:tracePt t="95754" x="458788" y="4827588"/>
          <p14:tracePt t="95762" x="458788" y="4835525"/>
          <p14:tracePt t="95770" x="450850" y="4835525"/>
          <p14:tracePt t="95780" x="441325" y="4843463"/>
          <p14:tracePt t="95785" x="433388" y="4843463"/>
          <p14:tracePt t="95802" x="425450" y="4843463"/>
          <p14:tracePt t="95811" x="415925" y="4843463"/>
          <p14:tracePt t="95922" x="407988" y="4843463"/>
          <p14:tracePt t="95953" x="400050" y="4843463"/>
          <p14:tracePt t="95960" x="390525" y="4843463"/>
          <p14:tracePt t="95985" x="382588" y="4843463"/>
          <p14:tracePt t="95994" x="373063" y="4843463"/>
          <p14:tracePt t="96058" x="365125" y="4843463"/>
          <p14:tracePt t="96074" x="357188" y="4843463"/>
          <p14:tracePt t="96081" x="347663" y="4843463"/>
          <p14:tracePt t="96096" x="339725" y="4843463"/>
          <p14:tracePt t="96104" x="331788" y="4843463"/>
          <p14:tracePt t="96137" x="322263" y="4843463"/>
          <p14:tracePt t="96144" x="314325" y="4843463"/>
          <p14:tracePt t="96168" x="306388" y="4843463"/>
          <p14:tracePt t="100795" x="306388" y="4860925"/>
          <p14:tracePt t="100802" x="306388" y="4886325"/>
          <p14:tracePt t="100810" x="306388" y="4929188"/>
          <p14:tracePt t="100817" x="306388" y="4972050"/>
          <p14:tracePt t="100827" x="306388" y="5030788"/>
          <p14:tracePt t="100833" x="306388" y="5064125"/>
          <p14:tracePt t="100843" x="306388" y="5081588"/>
          <p14:tracePt t="100849" x="306388" y="5091113"/>
          <p14:tracePt t="100865" x="306388" y="5081588"/>
          <p14:tracePt t="100882" x="306388" y="5073650"/>
          <p14:tracePt t="101082" x="306388" y="5064125"/>
          <p14:tracePt t="101090" x="331788" y="5048250"/>
          <p14:tracePt t="101098" x="306388" y="5073650"/>
          <p14:tracePt t="101114" x="306388" y="5056188"/>
          <p14:tracePt t="101122" x="306388" y="5048250"/>
          <p14:tracePt t="101131" x="314325" y="5048250"/>
          <p14:tracePt t="101138" x="322263" y="5048250"/>
          <p14:tracePt t="101154" x="331788" y="5048250"/>
          <p14:tracePt t="101313" x="306388" y="5056188"/>
          <p14:tracePt t="101322" x="296863" y="5064125"/>
          <p14:tracePt t="101329" x="296863" y="5073650"/>
          <p14:tracePt t="101338" x="288925" y="5073650"/>
          <p14:tracePt t="101347" x="288925" y="5091113"/>
          <p14:tracePt t="101354" x="271463" y="5099050"/>
          <p14:tracePt t="101370" x="263525" y="5116513"/>
          <p14:tracePt t="101380" x="263525" y="5124450"/>
          <p14:tracePt t="101386" x="255588" y="5124450"/>
          <p14:tracePt t="101395" x="255588" y="5132388"/>
          <p14:tracePt t="101402" x="246063" y="5149850"/>
          <p14:tracePt t="101417" x="238125" y="5167313"/>
          <p14:tracePt t="101426" x="238125" y="5183188"/>
          <p14:tracePt t="101443" x="238125" y="5192713"/>
          <p14:tracePt t="102026" x="238125" y="5200650"/>
          <p14:tracePt t="102034" x="238125" y="5235575"/>
          <p14:tracePt t="102043" x="238125" y="5268913"/>
          <p14:tracePt t="102050" x="238125" y="5302250"/>
          <p14:tracePt t="102058" x="238125" y="5327650"/>
          <p14:tracePt t="102065" x="238125" y="5345113"/>
          <p14:tracePt t="102074" x="238125" y="5370513"/>
          <p14:tracePt t="102200" x="238125" y="5380038"/>
          <p14:tracePt t="102208" x="238125" y="5387975"/>
          <p14:tracePt t="102224" x="238125" y="5395913"/>
          <p14:tracePt t="102497" x="238125" y="5387975"/>
          <p14:tracePt t="102514" x="238125" y="5380038"/>
          <p14:tracePt t="102530" x="238125" y="5370513"/>
          <p14:tracePt t="102538" x="238125" y="5362575"/>
          <p14:tracePt t="102562" x="238125" y="5353050"/>
          <p14:tracePt t="102586" x="238125" y="5345113"/>
          <p14:tracePt t="113016" x="246063" y="5345113"/>
          <p14:tracePt t="113024" x="255588" y="5337175"/>
          <p14:tracePt t="113033" x="263525" y="5327650"/>
          <p14:tracePt t="113041" x="280988" y="5311775"/>
          <p14:tracePt t="113049" x="288925" y="5302250"/>
          <p14:tracePt t="113057" x="288925" y="5294313"/>
          <p14:tracePt t="113234" x="296863" y="5294313"/>
          <p14:tracePt t="113257" x="322263" y="5294313"/>
          <p14:tracePt t="113273" x="331788" y="5294313"/>
          <p14:tracePt t="113281" x="339725" y="5294313"/>
          <p14:tracePt t="113288" x="347663" y="5294313"/>
          <p14:tracePt t="113296" x="347663" y="5302250"/>
          <p14:tracePt t="113304" x="365125" y="5302250"/>
          <p14:tracePt t="113312" x="373063" y="5302250"/>
          <p14:tracePt t="113321" x="390525" y="5302250"/>
          <p14:tracePt t="113328" x="407988" y="5311775"/>
          <p14:tracePt t="113345" x="425450" y="5311775"/>
          <p14:tracePt t="113353" x="433388" y="5311775"/>
          <p14:tracePt t="114648" x="433388" y="5319713"/>
          <p14:tracePt t="114656" x="433388" y="5327650"/>
          <p14:tracePt t="114664" x="415925" y="5337175"/>
          <p14:tracePt t="114672" x="407988" y="5353050"/>
          <p14:tracePt t="114680" x="400050" y="5370513"/>
          <p14:tracePt t="114688" x="400050" y="5380038"/>
          <p14:tracePt t="114696" x="390525" y="5387975"/>
          <p14:tracePt t="114704" x="390525" y="5395913"/>
          <p14:tracePt t="114712" x="382588" y="5405438"/>
          <p14:tracePt t="114736" x="382588" y="5413375"/>
          <p14:tracePt t="114768" x="382588" y="5421313"/>
          <p14:tracePt t="114848" x="382588" y="5430838"/>
          <p14:tracePt t="114856" x="382588" y="5438775"/>
          <p14:tracePt t="114872" x="382588" y="5446713"/>
          <p14:tracePt t="114880" x="382588" y="5456238"/>
          <p14:tracePt t="114888" x="390525" y="5472113"/>
          <p14:tracePt t="114896" x="407988" y="5489575"/>
          <p14:tracePt t="114904" x="441325" y="5514975"/>
          <p14:tracePt t="114912" x="466725" y="5532438"/>
          <p14:tracePt t="114920" x="501650" y="5549900"/>
          <p14:tracePt t="114942" x="577850" y="5575300"/>
          <p14:tracePt t="114945" x="628650" y="5591175"/>
          <p14:tracePt t="114953" x="661988" y="5608638"/>
          <p14:tracePt t="114960" x="696913" y="5626100"/>
          <p14:tracePt t="114969" x="739775" y="5626100"/>
          <p14:tracePt t="114977" x="773113" y="5634038"/>
          <p14:tracePt t="114985" x="831850" y="5641975"/>
          <p14:tracePt t="114993" x="866775" y="5651500"/>
          <p14:tracePt t="115001" x="925513" y="5651500"/>
          <p14:tracePt t="115009" x="950913" y="5659438"/>
          <p14:tracePt t="115017" x="976313" y="5668963"/>
          <p14:tracePt t="115024" x="1003300" y="5668963"/>
          <p14:tracePt t="115033" x="1019175" y="5668963"/>
          <p14:tracePt t="115041" x="1028700" y="5676900"/>
          <p14:tracePt t="115104" x="1028700" y="5684838"/>
          <p14:tracePt t="115112" x="1011238" y="5684838"/>
          <p14:tracePt t="115121" x="1003300" y="5694363"/>
          <p14:tracePt t="115129" x="985838" y="5702300"/>
          <p14:tracePt t="115137" x="968375" y="5710238"/>
          <p14:tracePt t="115146" x="950913" y="5727700"/>
          <p14:tracePt t="115153" x="950913" y="5735638"/>
          <p14:tracePt t="115163" x="942975" y="5745163"/>
          <p14:tracePt t="115170" x="935038" y="5745163"/>
          <p14:tracePt t="115194" x="935038" y="5753100"/>
          <p14:tracePt t="115208" x="935038" y="5761038"/>
          <p14:tracePt t="115217" x="935038" y="5770563"/>
          <p14:tracePt t="115225" x="942975" y="5795963"/>
          <p14:tracePt t="115233" x="950913" y="5813425"/>
          <p14:tracePt t="115241" x="968375" y="5829300"/>
          <p14:tracePt t="115249" x="993775" y="5838825"/>
          <p14:tracePt t="115257" x="1036638" y="5872163"/>
          <p14:tracePt t="115265" x="1069975" y="5889625"/>
          <p14:tracePt t="115273" x="1147763" y="5922963"/>
          <p14:tracePt t="115281" x="1189038" y="5932488"/>
          <p14:tracePt t="115289" x="1239838" y="5932488"/>
          <p14:tracePt t="115297" x="1282700" y="5932488"/>
          <p14:tracePt t="115305" x="1333500" y="5905500"/>
          <p14:tracePt t="115313" x="1358900" y="5905500"/>
          <p14:tracePt t="115321" x="1376363" y="5889625"/>
          <p14:tracePt t="115329" x="1393825" y="5872163"/>
          <p14:tracePt t="115337" x="1393825" y="5864225"/>
          <p14:tracePt t="115353" x="1384300" y="5864225"/>
          <p14:tracePt t="115361" x="1350963" y="5846763"/>
          <p14:tracePt t="115369" x="1317625" y="5846763"/>
          <p14:tracePt t="115378" x="1265238" y="5838825"/>
          <p14:tracePt t="115385" x="1223963" y="5821363"/>
          <p14:tracePt t="115522" x="1206500" y="5821363"/>
          <p14:tracePt t="115530" x="1181100" y="5821363"/>
          <p14:tracePt t="115538" x="1147763" y="5821363"/>
          <p14:tracePt t="115546" x="1130300" y="5813425"/>
          <p14:tracePt t="115554" x="1104900" y="5803900"/>
          <p14:tracePt t="115563" x="1069975" y="5795963"/>
          <p14:tracePt t="115570" x="1044575" y="5788025"/>
          <p14:tracePt t="115579" x="1028700" y="5788025"/>
          <p14:tracePt t="115585" x="1011238" y="5778500"/>
          <p14:tracePt t="115596" x="985838" y="5778500"/>
          <p14:tracePt t="115602" x="976313" y="5770563"/>
          <p14:tracePt t="115618" x="960438" y="5770563"/>
          <p14:tracePt t="115627" x="950913" y="5770563"/>
          <p14:tracePt t="115634" x="950913" y="5761038"/>
          <p14:tracePt t="115649" x="942975" y="5761038"/>
          <p14:tracePt t="115665" x="935038" y="5753100"/>
          <p14:tracePt t="115834" x="935038" y="5745163"/>
          <p14:tracePt t="115866" x="942975" y="5745163"/>
          <p14:tracePt t="115881" x="960438" y="5745163"/>
          <p14:tracePt t="115890" x="976313" y="5745163"/>
          <p14:tracePt t="115897" x="993775" y="5745163"/>
          <p14:tracePt t="115905" x="1036638" y="5745163"/>
          <p14:tracePt t="115913" x="1069975" y="5745163"/>
          <p14:tracePt t="115921" x="1138238" y="5745163"/>
          <p14:tracePt t="115929" x="1181100" y="5745163"/>
          <p14:tracePt t="115946" x="1308100" y="5745163"/>
          <p14:tracePt t="115953" x="1393825" y="5745163"/>
          <p14:tracePt t="115961" x="1452563" y="5745163"/>
          <p14:tracePt t="115969" x="1520825" y="5745163"/>
          <p14:tracePt t="115978" x="1606550" y="5745163"/>
          <p14:tracePt t="115985" x="1682750" y="5745163"/>
          <p14:tracePt t="115995" x="1792288" y="5745163"/>
          <p14:tracePt t="116001" x="1878013" y="5745163"/>
          <p14:tracePt t="116012" x="1979613" y="5761038"/>
          <p14:tracePt t="116017" x="2055813" y="5770563"/>
          <p14:tracePt t="116026" x="2124075" y="5778500"/>
          <p14:tracePt t="116033" x="2217738" y="5803900"/>
          <p14:tracePt t="116041" x="2286000" y="5813425"/>
          <p14:tracePt t="116049" x="2362200" y="5821363"/>
          <p14:tracePt t="116057" x="2405063" y="5829300"/>
          <p14:tracePt t="116065" x="2481263" y="5846763"/>
          <p14:tracePt t="116073" x="2524125" y="5854700"/>
          <p14:tracePt t="116081" x="2600325" y="5864225"/>
          <p14:tracePt t="116089" x="2659063" y="5872163"/>
          <p14:tracePt t="116097" x="2744788" y="5880100"/>
          <p14:tracePt t="116105" x="2811463" y="5880100"/>
          <p14:tracePt t="116113" x="2897188" y="5880100"/>
          <p14:tracePt t="116121" x="3024188" y="5880100"/>
          <p14:tracePt t="116129" x="3127375" y="5880100"/>
          <p14:tracePt t="116136" x="3236913" y="5880100"/>
          <p14:tracePt t="116145" x="3313113" y="5880100"/>
          <p14:tracePt t="116153" x="3398838" y="5880100"/>
          <p14:tracePt t="116163" x="3467100" y="5872163"/>
          <p14:tracePt t="116170" x="3525838" y="5864225"/>
          <p14:tracePt t="116179" x="3602038" y="5846763"/>
          <p14:tracePt t="116186" x="3662363" y="5838825"/>
          <p14:tracePt t="116195" x="3738563" y="5838825"/>
          <p14:tracePt t="116202" x="3789363" y="5838825"/>
          <p14:tracePt t="116213" x="3865563" y="5838825"/>
          <p14:tracePt t="116217" x="3908425" y="5838825"/>
          <p14:tracePt t="116226" x="3984625" y="5854700"/>
          <p14:tracePt t="116234" x="4027488" y="5864225"/>
          <p14:tracePt t="116243" x="4086225" y="5872163"/>
          <p14:tracePt t="116250" x="4121150" y="5880100"/>
          <p14:tracePt t="116257" x="4154488" y="5880100"/>
          <p14:tracePt t="116265" x="4197350" y="5889625"/>
          <p14:tracePt t="116272" x="4222750" y="5889625"/>
          <p14:tracePt t="116280" x="4248150" y="5897563"/>
          <p14:tracePt t="116288" x="4281488" y="5897563"/>
          <p14:tracePt t="116297" x="4316413" y="5897563"/>
          <p14:tracePt t="116304" x="4359275" y="5897563"/>
          <p14:tracePt t="116312" x="4418013" y="5897563"/>
          <p14:tracePt t="116321" x="4460875" y="5889625"/>
          <p14:tracePt t="116328" x="4511675" y="5872163"/>
          <p14:tracePt t="116336" x="4554538" y="5864225"/>
          <p14:tracePt t="116344" x="4587875" y="5854700"/>
          <p14:tracePt t="116353" x="4630738" y="5854700"/>
          <p14:tracePt t="116360" x="4664075" y="5854700"/>
          <p14:tracePt t="116369" x="4699000" y="5854700"/>
          <p14:tracePt t="116377" x="4706938" y="5854700"/>
          <p14:tracePt t="116385" x="4732338" y="5854700"/>
          <p14:tracePt t="116393" x="4749800" y="5854700"/>
          <p14:tracePt t="116400" x="4765675" y="5854700"/>
          <p14:tracePt t="116410" x="4783138" y="5854700"/>
          <p14:tracePt t="116417" x="4791075" y="5854700"/>
          <p14:tracePt t="116425" x="4818063" y="5854700"/>
          <p14:tracePt t="116432" x="4833938" y="5854700"/>
          <p14:tracePt t="116441" x="4843463" y="5854700"/>
          <p14:tracePt t="116448" x="4859338" y="5854700"/>
          <p14:tracePt t="116458" x="4884738" y="5854700"/>
          <p14:tracePt t="116465" x="4894263" y="5854700"/>
          <p14:tracePt t="116474" x="4919663" y="5854700"/>
          <p14:tracePt t="116481" x="4935538" y="5854700"/>
          <p14:tracePt t="116490" x="4953000" y="5854700"/>
          <p14:tracePt t="116498" x="4995863" y="5854700"/>
          <p14:tracePt t="116506" x="5029200" y="5854700"/>
          <p14:tracePt t="116516" x="5080000" y="5854700"/>
          <p14:tracePt t="116522" x="5114925" y="5854700"/>
          <p14:tracePt t="116529" x="5157788" y="5854700"/>
          <p14:tracePt t="116537" x="5191125" y="5854700"/>
          <p14:tracePt t="116545" x="5208588" y="5854700"/>
          <p14:tracePt t="116553" x="5241925" y="5854700"/>
          <p14:tracePt t="116561" x="5267325" y="5854700"/>
          <p14:tracePt t="116569" x="5284788" y="5854700"/>
          <p14:tracePt t="116579" x="5302250" y="5854700"/>
          <p14:tracePt t="116585" x="5327650" y="5854700"/>
          <p14:tracePt t="116596" x="5335588" y="5854700"/>
          <p14:tracePt t="116601" x="5353050" y="5854700"/>
          <p14:tracePt t="116612" x="5360988" y="5864225"/>
          <p14:tracePt t="116617" x="5360988" y="5889625"/>
          <p14:tracePt t="116625" x="5360988" y="5915025"/>
          <p14:tracePt t="116633" x="5335588" y="5922963"/>
          <p14:tracePt t="116642" x="5327650" y="5922963"/>
          <p14:tracePt t="116890" x="5318125" y="5922963"/>
          <p14:tracePt t="116904" x="5310188" y="5922963"/>
          <p14:tracePt t="116921" x="5327650" y="5922963"/>
          <p14:tracePt t="116937" x="5343525" y="5932488"/>
          <p14:tracePt t="116944" x="5378450" y="5932488"/>
          <p14:tracePt t="116953" x="5394325" y="5940425"/>
          <p14:tracePt t="116961" x="5411788" y="5940425"/>
          <p14:tracePt t="116969" x="5421313" y="5940425"/>
          <p14:tracePt t="116978" x="5429250" y="5940425"/>
          <p14:tracePt t="116985" x="5446713" y="5940425"/>
          <p14:tracePt t="117001" x="5462588" y="5940425"/>
          <p14:tracePt t="117017" x="5472113" y="5940425"/>
          <p14:tracePt t="117041" x="5480050" y="5940425"/>
          <p14:tracePt t="117049" x="5487988" y="5940425"/>
          <p14:tracePt t="117065" x="5505450" y="5940425"/>
          <p14:tracePt t="117073" x="5522913" y="5940425"/>
          <p14:tracePt t="117089" x="5556250" y="5932488"/>
          <p14:tracePt t="117097" x="5591175" y="5922963"/>
          <p14:tracePt t="117105" x="5632450" y="5922963"/>
          <p14:tracePt t="117112" x="5692775" y="5915025"/>
          <p14:tracePt t="117121" x="5735638" y="5915025"/>
          <p14:tracePt t="117128" x="5794375" y="5915025"/>
          <p14:tracePt t="117137" x="5837238" y="5915025"/>
          <p14:tracePt t="117144" x="5905500" y="5915025"/>
          <p14:tracePt t="117152" x="5938838" y="5915025"/>
          <p14:tracePt t="117160" x="5981700" y="5915025"/>
          <p14:tracePt t="117169" x="6015038" y="5915025"/>
          <p14:tracePt t="117177" x="6040438" y="5915025"/>
          <p14:tracePt t="117184" x="6075363" y="5915025"/>
          <p14:tracePt t="117193" x="6100763" y="5915025"/>
          <p14:tracePt t="117201" x="6142038" y="5922963"/>
          <p14:tracePt t="117210" x="6176963" y="5932488"/>
          <p14:tracePt t="117217" x="6219825" y="5932488"/>
          <p14:tracePt t="117225" x="6253163" y="5932488"/>
          <p14:tracePt t="117233" x="6303963" y="5932488"/>
          <p14:tracePt t="117242" x="6338888" y="5932488"/>
          <p14:tracePt t="117251" x="6380163" y="5932488"/>
          <p14:tracePt t="117258" x="6440488" y="5932488"/>
          <p14:tracePt t="117265" x="6483350" y="5932488"/>
          <p14:tracePt t="117274" x="6550025" y="5932488"/>
          <p14:tracePt t="117281" x="6592888" y="5932488"/>
          <p14:tracePt t="117289" x="6669088" y="5932488"/>
          <p14:tracePt t="117297" x="6711950" y="5932488"/>
          <p14:tracePt t="117305" x="6780213" y="5932488"/>
          <p14:tracePt t="117313" x="6838950" y="5932488"/>
          <p14:tracePt t="117321" x="6899275" y="5932488"/>
          <p14:tracePt t="117329" x="6975475" y="5948363"/>
          <p14:tracePt t="117337" x="7018338" y="5957888"/>
          <p14:tracePt t="117345" x="7102475" y="5965825"/>
          <p14:tracePt t="117353" x="7162800" y="5983288"/>
          <p14:tracePt t="117361" x="7246938" y="5991225"/>
          <p14:tracePt t="117369" x="7307263" y="5991225"/>
          <p14:tracePt t="117377" x="7366000" y="5991225"/>
          <p14:tracePt t="117385" x="7408863" y="5991225"/>
          <p14:tracePt t="117394" x="7451725" y="5991225"/>
          <p14:tracePt t="117401" x="7502525" y="5991225"/>
          <p14:tracePt t="117411" x="7527925" y="5991225"/>
          <p14:tracePt t="117417" x="7570788" y="5991225"/>
          <p14:tracePt t="117427" x="7596188" y="5991225"/>
          <p14:tracePt t="117433" x="7637463" y="5991225"/>
          <p14:tracePt t="117441" x="7672388" y="5991225"/>
          <p14:tracePt t="117449" x="7723188" y="5991225"/>
          <p14:tracePt t="117456" x="7766050" y="5991225"/>
          <p14:tracePt t="117465" x="7807325" y="5991225"/>
          <p14:tracePt t="117472" x="7893050" y="5991225"/>
          <p14:tracePt t="117480" x="7969250" y="5991225"/>
          <p14:tracePt t="117488" x="8037513" y="5991225"/>
          <p14:tracePt t="117496" x="8080375" y="5991225"/>
          <p14:tracePt t="117505" x="8156575" y="5991225"/>
          <p14:tracePt t="117512" x="8181975" y="5991225"/>
          <p14:tracePt t="117522" x="8240713" y="5991225"/>
          <p14:tracePt t="117530" x="8266113" y="5991225"/>
          <p14:tracePt t="117538" x="8326438" y="5991225"/>
          <p14:tracePt t="117546" x="8343900" y="5991225"/>
          <p14:tracePt t="117553" x="8377238" y="5991225"/>
          <p14:tracePt t="117562" x="8402638" y="5991225"/>
          <p14:tracePt t="117570" x="8420100" y="5991225"/>
          <p14:tracePt t="117579" x="8428038" y="5983288"/>
          <p14:tracePt t="117770" x="8435975" y="5973763"/>
          <p14:tracePt t="117785" x="8445500" y="5973763"/>
          <p14:tracePt t="117793" x="8445500" y="5965825"/>
          <p14:tracePt t="117817" x="8445500" y="5957888"/>
          <p14:tracePt t="117833" x="8453438" y="5957888"/>
          <p14:tracePt t="117841" x="8462963" y="5948363"/>
          <p14:tracePt t="117849" x="8470900" y="5940425"/>
          <p14:tracePt t="117857" x="8470900" y="5932488"/>
          <p14:tracePt t="117865" x="8478838" y="5932488"/>
          <p14:tracePt t="117873" x="8488363" y="5932488"/>
          <p14:tracePt t="117889" x="8488363" y="5922963"/>
          <p14:tracePt t="117921" x="8488363" y="5915025"/>
          <p14:tracePt t="117945" x="8488363" y="5905500"/>
          <p14:tracePt t="117954" x="8488363" y="5897563"/>
          <p14:tracePt t="118144" x="8478838" y="5897563"/>
          <p14:tracePt t="118427" x="8478838" y="5905500"/>
          <p14:tracePt t="118442" x="8478838" y="5915025"/>
          <p14:tracePt t="118449" x="8478838" y="5922963"/>
          <p14:tracePt t="118465" x="8478838" y="5932488"/>
          <p14:tracePt t="118474" x="8478838" y="5940425"/>
          <p14:tracePt t="118481" x="8496300" y="5940425"/>
          <p14:tracePt t="118490" x="8470900" y="5940425"/>
          <p14:tracePt t="118641" x="8496300" y="5940425"/>
          <p14:tracePt t="118650" x="8504238" y="5940425"/>
          <p14:tracePt t="118657" x="8513763" y="5948363"/>
          <p14:tracePt t="118665" x="8521700" y="5948363"/>
          <p14:tracePt t="118674" x="8539163" y="5948363"/>
          <p14:tracePt t="118690" x="8547100" y="5948363"/>
          <p14:tracePt t="118697" x="8555038" y="5948363"/>
          <p14:tracePt t="118713" x="8564563" y="5948363"/>
          <p14:tracePt t="119145" x="8547100" y="5948363"/>
          <p14:tracePt t="119154" x="8539163" y="5948363"/>
          <p14:tracePt t="119162" x="8521700" y="5948363"/>
          <p14:tracePt t="119170" x="8496300" y="5957888"/>
          <p14:tracePt t="119179" x="8453438" y="5965825"/>
          <p14:tracePt t="119185" x="8410575" y="5965825"/>
          <p14:tracePt t="119195" x="8334375" y="5991225"/>
          <p14:tracePt t="119202" x="8207375" y="6016625"/>
          <p14:tracePt t="119212" x="8062913" y="6034088"/>
          <p14:tracePt t="119218" x="7799388" y="6084888"/>
          <p14:tracePt t="119228" x="7502525" y="6118225"/>
          <p14:tracePt t="119234" x="7008813" y="6118225"/>
          <p14:tracePt t="119245" x="6600825" y="6118225"/>
          <p14:tracePt t="119250" x="6091238" y="6118225"/>
          <p14:tracePt t="119258" x="5683250" y="6118225"/>
          <p14:tracePt t="119265" x="5267325" y="6084888"/>
          <p14:tracePt t="119273" x="4681538" y="5983288"/>
          <p14:tracePt t="119281" x="4306888" y="5905500"/>
          <p14:tracePt t="119289" x="3721100" y="5821363"/>
          <p14:tracePt t="119297" x="3355975" y="5745163"/>
          <p14:tracePt t="119305" x="2871788" y="5651500"/>
          <p14:tracePt t="119313" x="2540000" y="5591175"/>
          <p14:tracePt t="119321" x="2301875" y="5583238"/>
          <p14:tracePt t="119329" x="1946275" y="5565775"/>
          <p14:tracePt t="119337" x="1741488" y="5565775"/>
          <p14:tracePt t="119345" x="1538288" y="5565775"/>
          <p14:tracePt t="119353" x="1427163" y="5565775"/>
          <p14:tracePt t="119362" x="1300163" y="5565775"/>
          <p14:tracePt t="119369" x="1214438" y="5565775"/>
          <p14:tracePt t="119378" x="1155700" y="5549900"/>
          <p14:tracePt t="119385" x="1130300" y="5549900"/>
          <p14:tracePt t="119395" x="1112838" y="5524500"/>
          <p14:tracePt t="119401" x="1112838" y="5497513"/>
          <p14:tracePt t="119410" x="1120775" y="5481638"/>
          <p14:tracePt t="119682" x="1112838" y="5481638"/>
          <p14:tracePt t="119690" x="1095375" y="5489575"/>
          <p14:tracePt t="119697" x="1079500" y="5497513"/>
          <p14:tracePt t="119705" x="1062038" y="5507038"/>
          <p14:tracePt t="119714" x="1028700" y="5514975"/>
          <p14:tracePt t="119721" x="985838" y="5514975"/>
          <p14:tracePt t="119730" x="935038" y="5524500"/>
          <p14:tracePt t="119738" x="866775" y="5532438"/>
          <p14:tracePt t="119746" x="831850" y="5532438"/>
          <p14:tracePt t="119754" x="790575" y="5532438"/>
          <p14:tracePt t="119762" x="765175" y="5532438"/>
          <p14:tracePt t="119769" x="739775" y="5532438"/>
          <p14:tracePt t="119778" x="704850" y="5532438"/>
          <p14:tracePt t="119785" x="679450" y="5532438"/>
          <p14:tracePt t="119794" x="654050" y="5514975"/>
          <p14:tracePt t="119801" x="636588" y="5507038"/>
          <p14:tracePt t="119810" x="603250" y="5497513"/>
          <p14:tracePt t="119817" x="585788" y="5489575"/>
          <p14:tracePt t="119827" x="569913" y="5489575"/>
          <p14:tracePt t="119833" x="569913" y="5481638"/>
          <p14:tracePt t="119844" x="560388" y="5481638"/>
          <p14:tracePt t="119881" x="560388" y="5472113"/>
          <p14:tracePt t="119890" x="552450" y="5464175"/>
          <p14:tracePt t="119897" x="544513" y="5464175"/>
          <p14:tracePt t="119905" x="517525" y="5456238"/>
          <p14:tracePt t="119913" x="492125" y="5438775"/>
          <p14:tracePt t="119921" x="458788" y="5430838"/>
          <p14:tracePt t="119929" x="433388" y="5421313"/>
          <p14:tracePt t="119937" x="390525" y="5405438"/>
          <p14:tracePt t="119945" x="373063" y="5405438"/>
          <p14:tracePt t="119961" x="314325" y="5387975"/>
          <p14:tracePt t="119969" x="296863" y="5387975"/>
          <p14:tracePt t="119979" x="296863" y="5380038"/>
          <p14:tracePt t="119985" x="288925" y="5380038"/>
          <p14:tracePt t="120033" x="288925" y="5370513"/>
          <p14:tracePt t="120042" x="288925" y="5362575"/>
          <p14:tracePt t="120049" x="288925" y="5353050"/>
          <p14:tracePt t="120091" x="296863" y="5345113"/>
          <p14:tracePt t="122474" x="306388" y="5345113"/>
          <p14:tracePt t="122482" x="314325" y="5353050"/>
          <p14:tracePt t="122490" x="314325" y="5370513"/>
          <p14:tracePt t="122498" x="314325" y="5380038"/>
          <p14:tracePt t="122506" x="331788" y="5387975"/>
          <p14:tracePt t="122513" x="347663" y="5413375"/>
          <p14:tracePt t="122522" x="365125" y="5438775"/>
          <p14:tracePt t="122533" x="373063" y="5464175"/>
          <p14:tracePt t="122539" x="390525" y="5472113"/>
          <p14:tracePt t="122546" x="407988" y="5489575"/>
          <p14:tracePt t="122553" x="425450" y="5507038"/>
          <p14:tracePt t="122561" x="441325" y="5514975"/>
          <p14:tracePt t="122577" x="450850" y="5524500"/>
          <p14:tracePt t="122585" x="450850" y="5532438"/>
          <p14:tracePt t="122601" x="450850" y="5540375"/>
          <p14:tracePt t="122754" x="458788" y="5540375"/>
          <p14:tracePt t="122785" x="458788" y="5549900"/>
          <p14:tracePt t="123121" x="433388" y="5549900"/>
          <p14:tracePt t="123169" x="425450" y="5549900"/>
          <p14:tracePt t="123386" x="415925" y="5549900"/>
          <p14:tracePt t="123433" x="407988" y="5549900"/>
          <p14:tracePt t="124146" x="400050" y="5549900"/>
          <p14:tracePt t="124154" x="390525" y="5549900"/>
          <p14:tracePt t="129146" x="400050" y="5540375"/>
          <p14:tracePt t="129153" x="415925" y="5532438"/>
          <p14:tracePt t="129162" x="415925" y="5514975"/>
          <p14:tracePt t="129170" x="433388" y="5489575"/>
          <p14:tracePt t="129179" x="450850" y="5472113"/>
          <p14:tracePt t="129185" x="466725" y="5456238"/>
          <p14:tracePt t="129193" x="476250" y="5430838"/>
          <p14:tracePt t="129201" x="484188" y="5413375"/>
          <p14:tracePt t="129210" x="492125" y="5395913"/>
          <p14:tracePt t="129218" x="501650" y="5380038"/>
          <p14:tracePt t="129226" x="501650" y="5345113"/>
          <p14:tracePt t="129233" x="527050" y="5294313"/>
          <p14:tracePt t="129243" x="534988" y="5251450"/>
          <p14:tracePt t="129249" x="544513" y="5200650"/>
          <p14:tracePt t="129259" x="552450" y="5157788"/>
          <p14:tracePt t="129265" x="552450" y="5132388"/>
          <p14:tracePt t="129273" x="552450" y="5124450"/>
          <p14:tracePt t="129281" x="560388" y="5099050"/>
          <p14:tracePt t="129289" x="560388" y="5073650"/>
          <p14:tracePt t="129297" x="569913" y="5073650"/>
          <p14:tracePt t="129305" x="569913" y="5056188"/>
          <p14:tracePt t="129313" x="569913" y="5038725"/>
          <p14:tracePt t="129353" x="577850" y="5038725"/>
          <p14:tracePt t="129370" x="585788" y="5030788"/>
          <p14:tracePt t="129378" x="595313" y="5022850"/>
          <p14:tracePt t="129385" x="611188" y="5013325"/>
          <p14:tracePt t="129394" x="628650" y="5005388"/>
          <p14:tracePt t="129402" x="636588" y="5005388"/>
          <p14:tracePt t="129410" x="646113" y="5005388"/>
          <p14:tracePt t="129418" x="654050" y="5005388"/>
          <p14:tracePt t="129427" x="654050" y="4997450"/>
          <p14:tracePt t="129434" x="661988" y="4997450"/>
          <p14:tracePt t="129444" x="661988" y="4987925"/>
          <p14:tracePt t="129810" x="661988" y="4979988"/>
          <p14:tracePt t="129818" x="654050" y="4972050"/>
          <p14:tracePt t="129826" x="628650" y="4954588"/>
          <p14:tracePt t="129833" x="628650" y="4946650"/>
          <p14:tracePt t="129844" x="620713" y="4929188"/>
          <p14:tracePt t="129850" x="603250" y="4903788"/>
          <p14:tracePt t="129860" x="585788" y="4886325"/>
          <p14:tracePt t="129866" x="569913" y="4868863"/>
          <p14:tracePt t="129874" x="560388" y="4852988"/>
          <p14:tracePt t="129883" x="544513" y="4835525"/>
          <p14:tracePt t="129890" x="534988" y="4818063"/>
          <p14:tracePt t="129898" x="517525" y="4792663"/>
          <p14:tracePt t="129906" x="484188" y="4767263"/>
          <p14:tracePt t="129914" x="466725" y="4749800"/>
          <p14:tracePt t="129921" x="441325" y="4708525"/>
          <p14:tracePt t="129930" x="425450" y="4691063"/>
          <p14:tracePt t="129946" x="400050" y="4630738"/>
          <p14:tracePt t="129954" x="382588" y="4614863"/>
          <p14:tracePt t="129962" x="373063" y="4597400"/>
          <p14:tracePt t="129985" x="373063" y="4589463"/>
          <p14:tracePt t="130090" x="373063" y="4579938"/>
          <p14:tracePt t="130098" x="365125" y="4572000"/>
          <p14:tracePt t="130106" x="365125" y="4564063"/>
          <p14:tracePt t="130113" x="357188" y="4546600"/>
          <p14:tracePt t="130121" x="357188" y="4538663"/>
          <p14:tracePt t="130129" x="347663" y="4529138"/>
          <p14:tracePt t="130138" x="347663" y="4521200"/>
          <p14:tracePt t="130146" x="347663" y="4513263"/>
          <p14:tracePt t="130153" x="347663" y="4503738"/>
          <p14:tracePt t="130170" x="347663" y="4495800"/>
          <p14:tracePt t="130186" x="347663" y="4486275"/>
          <p14:tracePt t="130209" x="347663" y="4478338"/>
          <p14:tracePt t="130866" x="339725" y="4478338"/>
          <p14:tracePt t="130904" x="331788" y="4478338"/>
          <p14:tracePt t="130937" x="331788" y="4486275"/>
          <p14:tracePt t="130961" x="331788" y="4495800"/>
          <p14:tracePt t="130985" x="322263" y="4495800"/>
          <p14:tracePt t="133041" x="322263" y="4521200"/>
          <p14:tracePt t="133050" x="339725" y="4554538"/>
          <p14:tracePt t="133059" x="400050" y="4614863"/>
          <p14:tracePt t="133065" x="415925" y="4640263"/>
          <p14:tracePt t="133090" x="415925" y="4605338"/>
          <p14:tracePt t="133098" x="407988" y="4529138"/>
          <p14:tracePt t="133106" x="339725" y="4359275"/>
          <p14:tracePt t="133114" x="271463" y="4240213"/>
          <p14:tracePt t="133122" x="187325" y="4044950"/>
          <p14:tracePt t="133131" x="58738" y="3722688"/>
        </p14:tracePtLst>
      </p14:laserTraceLst>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A1A613D-CD22-4627-8CE4-646679F213E6}"/>
              </a:ext>
            </a:extLst>
          </p:cNvPr>
          <p:cNvSpPr>
            <a:spLocks noGrp="1"/>
          </p:cNvSpPr>
          <p:nvPr>
            <p:ph sz="quarter" idx="14"/>
          </p:nvPr>
        </p:nvSpPr>
        <p:spPr>
          <a:xfrm>
            <a:off x="449202" y="1390128"/>
            <a:ext cx="7952156" cy="4571805"/>
          </a:xfrm>
        </p:spPr>
        <p:txBody>
          <a:bodyPr/>
          <a:lstStyle/>
          <a:p>
            <a:r>
              <a:rPr lang="en-US" dirty="0"/>
              <a:t>Container-based Capabilities</a:t>
            </a:r>
          </a:p>
          <a:p>
            <a:pPr lvl="1"/>
            <a:r>
              <a:rPr lang="en-US" dirty="0"/>
              <a:t>Prove isolation, security and resiliency across “apps”</a:t>
            </a:r>
          </a:p>
          <a:p>
            <a:pPr lvl="1"/>
            <a:r>
              <a:rPr lang="en-US" dirty="0"/>
              <a:t>Test performance and orchestration  </a:t>
            </a:r>
          </a:p>
          <a:p>
            <a:r>
              <a:rPr lang="en-US" dirty="0"/>
              <a:t>Public Cloud</a:t>
            </a:r>
          </a:p>
          <a:p>
            <a:pPr lvl="1"/>
            <a:r>
              <a:rPr lang="en-US" dirty="0"/>
              <a:t>Test connection KPIs and security posture</a:t>
            </a:r>
          </a:p>
          <a:p>
            <a:pPr lvl="1"/>
            <a:r>
              <a:rPr lang="en-US" dirty="0"/>
              <a:t>Test processing and storage elasticity</a:t>
            </a:r>
          </a:p>
          <a:p>
            <a:pPr lvl="1"/>
            <a:r>
              <a:rPr lang="en-US" dirty="0"/>
              <a:t>Monitor for cyber intrusion</a:t>
            </a:r>
          </a:p>
          <a:p>
            <a:pPr lvl="1"/>
            <a:r>
              <a:rPr lang="en-US" dirty="0"/>
              <a:t>Test efficacy of DevSecOps integration</a:t>
            </a:r>
          </a:p>
          <a:p>
            <a:r>
              <a:rPr lang="en-US" dirty="0"/>
              <a:t>AI/ML</a:t>
            </a:r>
          </a:p>
          <a:p>
            <a:pPr lvl="1"/>
            <a:r>
              <a:rPr lang="en-US" dirty="0"/>
              <a:t>Algorithms to avoid interference complicates the testing</a:t>
            </a:r>
          </a:p>
          <a:p>
            <a:pPr lvl="1"/>
            <a:r>
              <a:rPr lang="en-US" dirty="0"/>
              <a:t>Network behavior is unpredictable</a:t>
            </a:r>
          </a:p>
          <a:p>
            <a:pPr lvl="1"/>
            <a:r>
              <a:rPr lang="en-US" dirty="0"/>
              <a:t>Nodes may react to interference, but was the reaction effective?</a:t>
            </a:r>
          </a:p>
          <a:p>
            <a:pPr lvl="1"/>
            <a:r>
              <a:rPr lang="en-US" dirty="0"/>
              <a:t>Test for success rather than looking for a specific reaction from a network device</a:t>
            </a:r>
          </a:p>
          <a:p>
            <a:pPr marL="182880" lvl="1" indent="0">
              <a:buNone/>
            </a:pPr>
            <a:endParaRPr lang="en-US" sz="2000" dirty="0"/>
          </a:p>
        </p:txBody>
      </p:sp>
      <p:sp>
        <p:nvSpPr>
          <p:cNvPr id="3" name="Text Placeholder 2">
            <a:extLst>
              <a:ext uri="{FF2B5EF4-FFF2-40B4-BE49-F238E27FC236}">
                <a16:creationId xmlns:a16="http://schemas.microsoft.com/office/drawing/2014/main" id="{94BFC8B1-15F8-4BD3-8667-CAED3183649C}"/>
              </a:ext>
            </a:extLst>
          </p:cNvPr>
          <p:cNvSpPr>
            <a:spLocks noGrp="1"/>
          </p:cNvSpPr>
          <p:nvPr>
            <p:ph type="body" sz="quarter" idx="13"/>
          </p:nvPr>
        </p:nvSpPr>
        <p:spPr>
          <a:xfrm>
            <a:off x="408818" y="917418"/>
            <a:ext cx="7453790" cy="342241"/>
          </a:xfrm>
        </p:spPr>
        <p:txBody>
          <a:bodyPr/>
          <a:lstStyle/>
          <a:p>
            <a:r>
              <a:rPr lang="en-US" dirty="0"/>
              <a:t>…EXTENDED capabilities</a:t>
            </a:r>
          </a:p>
        </p:txBody>
      </p:sp>
      <p:sp>
        <p:nvSpPr>
          <p:cNvPr id="5" name="Title 4">
            <a:extLst>
              <a:ext uri="{FF2B5EF4-FFF2-40B4-BE49-F238E27FC236}">
                <a16:creationId xmlns:a16="http://schemas.microsoft.com/office/drawing/2014/main" id="{81964378-EB0D-4428-8D9C-91BD21F05179}"/>
              </a:ext>
            </a:extLst>
          </p:cNvPr>
          <p:cNvSpPr>
            <a:spLocks noGrp="1"/>
          </p:cNvSpPr>
          <p:nvPr>
            <p:ph type="title"/>
          </p:nvPr>
        </p:nvSpPr>
        <p:spPr/>
        <p:txBody>
          <a:bodyPr/>
          <a:lstStyle/>
          <a:p>
            <a:r>
              <a:rPr lang="en-US" dirty="0"/>
              <a:t>Considerations for Another Time</a:t>
            </a:r>
          </a:p>
        </p:txBody>
      </p:sp>
      <p:sp>
        <p:nvSpPr>
          <p:cNvPr id="8" name="Rectangle 7">
            <a:extLst>
              <a:ext uri="{FF2B5EF4-FFF2-40B4-BE49-F238E27FC236}">
                <a16:creationId xmlns:a16="http://schemas.microsoft.com/office/drawing/2014/main" id="{10204395-BF40-4726-B64C-542D0DDDD083}"/>
              </a:ext>
            </a:extLst>
          </p:cNvPr>
          <p:cNvSpPr/>
          <p:nvPr/>
        </p:nvSpPr>
        <p:spPr>
          <a:xfrm>
            <a:off x="8915633" y="5579679"/>
            <a:ext cx="2167966" cy="369332"/>
          </a:xfrm>
          <a:prstGeom prst="rect">
            <a:avLst/>
          </a:prstGeom>
        </p:spPr>
        <p:txBody>
          <a:bodyPr wrap="square">
            <a:spAutoFit/>
          </a:bodyPr>
          <a:lstStyle/>
          <a:p>
            <a:pPr algn="ctr"/>
            <a:r>
              <a:rPr lang="en-US" dirty="0"/>
              <a:t>Distributed testing</a:t>
            </a:r>
          </a:p>
        </p:txBody>
      </p:sp>
      <p:pic>
        <p:nvPicPr>
          <p:cNvPr id="6" name="Picture 5">
            <a:extLst>
              <a:ext uri="{FF2B5EF4-FFF2-40B4-BE49-F238E27FC236}">
                <a16:creationId xmlns:a16="http://schemas.microsoft.com/office/drawing/2014/main" id="{30BCE4D9-835E-47C3-95A4-1EFDD3023310}"/>
              </a:ext>
            </a:extLst>
          </p:cNvPr>
          <p:cNvPicPr>
            <a:picLocks noChangeAspect="1"/>
          </p:cNvPicPr>
          <p:nvPr/>
        </p:nvPicPr>
        <p:blipFill>
          <a:blip r:embed="rId5"/>
          <a:stretch>
            <a:fillRect/>
          </a:stretch>
        </p:blipFill>
        <p:spPr>
          <a:xfrm>
            <a:off x="8658496" y="502237"/>
            <a:ext cx="2682241" cy="1675302"/>
          </a:xfrm>
          <a:prstGeom prst="rect">
            <a:avLst/>
          </a:prstGeom>
          <a:ln w="12700">
            <a:solidFill>
              <a:srgbClr val="C00000"/>
            </a:solidFill>
          </a:ln>
        </p:spPr>
      </p:pic>
      <p:sp>
        <p:nvSpPr>
          <p:cNvPr id="10" name="Rectangle 9">
            <a:extLst>
              <a:ext uri="{FF2B5EF4-FFF2-40B4-BE49-F238E27FC236}">
                <a16:creationId xmlns:a16="http://schemas.microsoft.com/office/drawing/2014/main" id="{F21AE901-ED04-4C32-92C0-F9303E406D29}"/>
              </a:ext>
            </a:extLst>
          </p:cNvPr>
          <p:cNvSpPr/>
          <p:nvPr/>
        </p:nvSpPr>
        <p:spPr>
          <a:xfrm>
            <a:off x="8915633" y="2131029"/>
            <a:ext cx="2167966" cy="369332"/>
          </a:xfrm>
          <a:prstGeom prst="rect">
            <a:avLst/>
          </a:prstGeom>
        </p:spPr>
        <p:txBody>
          <a:bodyPr wrap="square">
            <a:spAutoFit/>
          </a:bodyPr>
          <a:lstStyle/>
          <a:p>
            <a:pPr algn="ctr"/>
            <a:r>
              <a:rPr lang="en-US" dirty="0"/>
              <a:t>Container testing</a:t>
            </a:r>
          </a:p>
        </p:txBody>
      </p:sp>
      <p:pic>
        <p:nvPicPr>
          <p:cNvPr id="11" name="Picture 10">
            <a:extLst>
              <a:ext uri="{FF2B5EF4-FFF2-40B4-BE49-F238E27FC236}">
                <a16:creationId xmlns:a16="http://schemas.microsoft.com/office/drawing/2014/main" id="{1C8F83C6-E559-430F-8F90-C03A872A62E9}"/>
              </a:ext>
            </a:extLst>
          </p:cNvPr>
          <p:cNvPicPr>
            <a:picLocks noChangeAspect="1"/>
          </p:cNvPicPr>
          <p:nvPr/>
        </p:nvPicPr>
        <p:blipFill>
          <a:blip r:embed="rId6"/>
          <a:stretch>
            <a:fillRect/>
          </a:stretch>
        </p:blipFill>
        <p:spPr>
          <a:xfrm>
            <a:off x="7632441" y="2631636"/>
            <a:ext cx="4482114" cy="2966705"/>
          </a:xfrm>
          <a:prstGeom prst="rect">
            <a:avLst/>
          </a:prstGeom>
          <a:ln w="12700">
            <a:solidFill>
              <a:srgbClr val="C00000"/>
            </a:solidFill>
          </a:ln>
        </p:spPr>
      </p:pic>
      <p:pic>
        <p:nvPicPr>
          <p:cNvPr id="4" name="Audio 3">
            <a:hlinkClick r:id="" action="ppaction://media"/>
            <a:extLst>
              <a:ext uri="{FF2B5EF4-FFF2-40B4-BE49-F238E27FC236}">
                <a16:creationId xmlns:a16="http://schemas.microsoft.com/office/drawing/2014/main" id="{5AC9842B-9FD2-49AD-88B4-920738A1CA8E}"/>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1961315962"/>
      </p:ext>
    </p:extLst>
  </p:cSld>
  <p:clrMapOvr>
    <a:masterClrMapping/>
  </p:clrMapOvr>
  <mc:AlternateContent xmlns:mc="http://schemas.openxmlformats.org/markup-compatibility/2006" xmlns:p14="http://schemas.microsoft.com/office/powerpoint/2010/main">
    <mc:Choice Requires="p14">
      <p:transition spd="slow" p14:dur="2000" advTm="102433"/>
    </mc:Choice>
    <mc:Fallback xmlns="">
      <p:transition spd="slow" advTm="10243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E8E7BD1-0DC1-4B06-9CAE-690368F82AD7}"/>
              </a:ext>
            </a:extLst>
          </p:cNvPr>
          <p:cNvSpPr>
            <a:spLocks noGrp="1"/>
          </p:cNvSpPr>
          <p:nvPr>
            <p:ph sz="quarter" idx="14"/>
          </p:nvPr>
        </p:nvSpPr>
        <p:spPr/>
        <p:txBody>
          <a:bodyPr/>
          <a:lstStyle/>
          <a:p>
            <a:r>
              <a:rPr lang="en-US" dirty="0"/>
              <a:t>Testing network functionality is not enough</a:t>
            </a:r>
          </a:p>
          <a:p>
            <a:pPr lvl="1"/>
            <a:r>
              <a:rPr lang="en-US" dirty="0"/>
              <a:t>User interface testing – Need to be sure that users can handle whatever gets thrown at them</a:t>
            </a:r>
          </a:p>
          <a:p>
            <a:pPr lvl="1"/>
            <a:r>
              <a:rPr lang="en-US" dirty="0"/>
              <a:t>Test many scenarios to ensure that the network survives under a combination of different degradations and attacks at the same time</a:t>
            </a:r>
          </a:p>
          <a:p>
            <a:pPr lvl="1"/>
            <a:r>
              <a:rPr lang="en-US" dirty="0"/>
              <a:t>It’s too much!</a:t>
            </a:r>
          </a:p>
          <a:p>
            <a:r>
              <a:rPr lang="en-US" dirty="0"/>
              <a:t>Test Automation is required</a:t>
            </a:r>
          </a:p>
          <a:p>
            <a:pPr lvl="1"/>
            <a:r>
              <a:rPr lang="en-US" dirty="0"/>
              <a:t>US military recently began to require this</a:t>
            </a:r>
          </a:p>
        </p:txBody>
      </p:sp>
      <p:sp>
        <p:nvSpPr>
          <p:cNvPr id="3" name="Text Placeholder 2">
            <a:extLst>
              <a:ext uri="{FF2B5EF4-FFF2-40B4-BE49-F238E27FC236}">
                <a16:creationId xmlns:a16="http://schemas.microsoft.com/office/drawing/2014/main" id="{573D0168-8B71-4AD4-9445-C1896A8B1659}"/>
              </a:ext>
            </a:extLst>
          </p:cNvPr>
          <p:cNvSpPr>
            <a:spLocks noGrp="1"/>
          </p:cNvSpPr>
          <p:nvPr>
            <p:ph type="body" sz="quarter" idx="13"/>
          </p:nvPr>
        </p:nvSpPr>
        <p:spPr>
          <a:xfrm>
            <a:off x="449201" y="920555"/>
            <a:ext cx="7453790" cy="351033"/>
          </a:xfrm>
        </p:spPr>
        <p:txBody>
          <a:bodyPr/>
          <a:lstStyle/>
          <a:p>
            <a:r>
              <a:rPr lang="en-US" dirty="0"/>
              <a:t>…under many combinations of the above</a:t>
            </a:r>
          </a:p>
        </p:txBody>
      </p:sp>
      <p:sp>
        <p:nvSpPr>
          <p:cNvPr id="5" name="Title 4">
            <a:extLst>
              <a:ext uri="{FF2B5EF4-FFF2-40B4-BE49-F238E27FC236}">
                <a16:creationId xmlns:a16="http://schemas.microsoft.com/office/drawing/2014/main" id="{1DA46FF5-BFFE-489D-B929-5083850EEAD8}"/>
              </a:ext>
            </a:extLst>
          </p:cNvPr>
          <p:cNvSpPr>
            <a:spLocks noGrp="1"/>
          </p:cNvSpPr>
          <p:nvPr>
            <p:ph type="title"/>
          </p:nvPr>
        </p:nvSpPr>
        <p:spPr/>
        <p:txBody>
          <a:bodyPr/>
          <a:lstStyle/>
          <a:p>
            <a:r>
              <a:rPr lang="en-US" dirty="0"/>
              <a:t>Testing the Network</a:t>
            </a:r>
          </a:p>
        </p:txBody>
      </p:sp>
      <p:pic>
        <p:nvPicPr>
          <p:cNvPr id="6" name="Audio 5">
            <a:hlinkClick r:id="" action="ppaction://media"/>
            <a:extLst>
              <a:ext uri="{FF2B5EF4-FFF2-40B4-BE49-F238E27FC236}">
                <a16:creationId xmlns:a16="http://schemas.microsoft.com/office/drawing/2014/main" id="{AE473DBA-0464-4FA5-9CF4-43E096980B18}"/>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4246826957"/>
      </p:ext>
    </p:extLst>
  </p:cSld>
  <p:clrMapOvr>
    <a:masterClrMapping/>
  </p:clrMapOvr>
  <mc:AlternateContent xmlns:mc="http://schemas.openxmlformats.org/markup-compatibility/2006" xmlns:p14="http://schemas.microsoft.com/office/powerpoint/2010/main">
    <mc:Choice Requires="p14">
      <p:transition spd="slow" p14:dur="2000" advTm="33112"/>
    </mc:Choice>
    <mc:Fallback xmlns="">
      <p:transition spd="slow" advTm="3311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DE28A4D-B796-49F6-AA61-83D619268EA7}"/>
              </a:ext>
            </a:extLst>
          </p:cNvPr>
          <p:cNvSpPr>
            <a:spLocks noGrp="1"/>
          </p:cNvSpPr>
          <p:nvPr>
            <p:ph type="title"/>
          </p:nvPr>
        </p:nvSpPr>
        <p:spPr/>
        <p:txBody>
          <a:bodyPr/>
          <a:lstStyle/>
          <a:p>
            <a:r>
              <a:rPr lang="en-US" dirty="0"/>
              <a:t>AI Assisted Automation</a:t>
            </a:r>
          </a:p>
        </p:txBody>
      </p:sp>
      <p:sp>
        <p:nvSpPr>
          <p:cNvPr id="2" name="Rectangle 1">
            <a:extLst>
              <a:ext uri="{FF2B5EF4-FFF2-40B4-BE49-F238E27FC236}">
                <a16:creationId xmlns:a16="http://schemas.microsoft.com/office/drawing/2014/main" id="{4A2781C3-53BB-CF43-836B-D86840E33357}"/>
              </a:ext>
            </a:extLst>
          </p:cNvPr>
          <p:cNvSpPr/>
          <p:nvPr/>
        </p:nvSpPr>
        <p:spPr>
          <a:xfrm>
            <a:off x="169209" y="869069"/>
            <a:ext cx="11853582" cy="584775"/>
          </a:xfrm>
          <a:prstGeom prst="rect">
            <a:avLst/>
          </a:prstGeom>
        </p:spPr>
        <p:txBody>
          <a:bodyPr wrap="square">
            <a:spAutoFit/>
          </a:bodyPr>
          <a:lstStyle/>
          <a:p>
            <a:pPr algn="ctr" defTabSz="932384" fontAlgn="base">
              <a:defRPr/>
            </a:pPr>
            <a:r>
              <a:rPr lang="en-US" sz="1600" dirty="0">
                <a:latin typeface="Arial" panose="020B0604020202020204" pitchFamily="34" charset="0"/>
                <a:ea typeface="Open Sans" panose="020B0606030504020204" pitchFamily="34" charset="0"/>
                <a:cs typeface="Arial" panose="020B0604020202020204" pitchFamily="34" charset="0"/>
              </a:rPr>
              <a:t>Intelligent exploratory testing identifies unique combinations not easily conceived of in the testing lab. This approach mimics real user behavior such as stressful situations in the field (multiple clicks, unusual ordering of actions, “fat finger” data entry, etc.)</a:t>
            </a:r>
          </a:p>
        </p:txBody>
      </p:sp>
      <p:grpSp>
        <p:nvGrpSpPr>
          <p:cNvPr id="4" name="Group 3">
            <a:extLst>
              <a:ext uri="{FF2B5EF4-FFF2-40B4-BE49-F238E27FC236}">
                <a16:creationId xmlns:a16="http://schemas.microsoft.com/office/drawing/2014/main" id="{A89E0D20-CAE1-7B4F-AF3C-F7549EEFAE3C}"/>
              </a:ext>
            </a:extLst>
          </p:cNvPr>
          <p:cNvGrpSpPr/>
          <p:nvPr/>
        </p:nvGrpSpPr>
        <p:grpSpPr>
          <a:xfrm>
            <a:off x="2511558" y="1473999"/>
            <a:ext cx="2715205" cy="4562217"/>
            <a:chOff x="2511558" y="1473999"/>
            <a:chExt cx="2715205" cy="4562217"/>
          </a:xfrm>
        </p:grpSpPr>
        <p:pic>
          <p:nvPicPr>
            <p:cNvPr id="46" name="Picture 45">
              <a:extLst>
                <a:ext uri="{FF2B5EF4-FFF2-40B4-BE49-F238E27FC236}">
                  <a16:creationId xmlns:a16="http://schemas.microsoft.com/office/drawing/2014/main" id="{E2EB931C-54D6-8741-80EC-3102657D08A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640969" y="2891557"/>
              <a:ext cx="2456385" cy="2029689"/>
            </a:xfrm>
            <a:prstGeom prst="rect">
              <a:avLst/>
            </a:prstGeom>
          </p:spPr>
        </p:pic>
        <p:sp>
          <p:nvSpPr>
            <p:cNvPr id="85" name="object 80">
              <a:extLst>
                <a:ext uri="{FF2B5EF4-FFF2-40B4-BE49-F238E27FC236}">
                  <a16:creationId xmlns:a16="http://schemas.microsoft.com/office/drawing/2014/main" id="{3FB5ADEA-6596-8C47-B819-46A05B34BA6B}"/>
                </a:ext>
              </a:extLst>
            </p:cNvPr>
            <p:cNvSpPr txBox="1"/>
            <p:nvPr/>
          </p:nvSpPr>
          <p:spPr>
            <a:xfrm>
              <a:off x="2511558" y="5141419"/>
              <a:ext cx="2715205" cy="894797"/>
            </a:xfrm>
            <a:prstGeom prst="rect">
              <a:avLst/>
            </a:prstGeom>
          </p:spPr>
          <p:txBody>
            <a:bodyPr vert="horz" wrap="square" lIns="0" tIns="12065" rIns="0" bIns="0" rtlCol="0">
              <a:spAutoFit/>
            </a:bodyPr>
            <a:lstStyle/>
            <a:p>
              <a:pPr marL="12700" marR="5080" algn="ctr">
                <a:lnSpc>
                  <a:spcPct val="101499"/>
                </a:lnSpc>
                <a:spcBef>
                  <a:spcPts val="95"/>
                </a:spcBef>
              </a:pPr>
              <a:r>
                <a:rPr lang="en-GB" sz="1400" b="1" spc="20" dirty="0">
                  <a:solidFill>
                    <a:schemeClr val="accent1"/>
                  </a:solidFill>
                  <a:latin typeface="Arial" panose="020B0604020202020204" pitchFamily="34" charset="0"/>
                  <a:cs typeface="Arial" panose="020B0604020202020204" pitchFamily="34" charset="0"/>
                </a:rPr>
                <a:t>Defines all possible journeys</a:t>
              </a:r>
            </a:p>
            <a:p>
              <a:pPr marL="12700" marR="5080" algn="ctr">
                <a:lnSpc>
                  <a:spcPct val="101499"/>
                </a:lnSpc>
                <a:spcBef>
                  <a:spcPts val="95"/>
                </a:spcBef>
              </a:pPr>
              <a:r>
                <a:rPr lang="en-US" sz="1400" dirty="0">
                  <a:solidFill>
                    <a:schemeClr val="accent1"/>
                  </a:solidFill>
                  <a:latin typeface="Arial" panose="020B0604020202020204" pitchFamily="34" charset="0"/>
                  <a:cs typeface="Arial" panose="020B0604020202020204" pitchFamily="34" charset="0"/>
                </a:rPr>
                <a:t>Can include regression packs of pre-defined test cases</a:t>
              </a:r>
            </a:p>
            <a:p>
              <a:pPr marL="12700" marR="5080" algn="ctr">
                <a:lnSpc>
                  <a:spcPct val="101499"/>
                </a:lnSpc>
                <a:spcBef>
                  <a:spcPts val="95"/>
                </a:spcBef>
              </a:pPr>
              <a:endParaRPr sz="1400" dirty="0">
                <a:solidFill>
                  <a:schemeClr val="accent1"/>
                </a:solidFill>
                <a:latin typeface="Arial" panose="020B0604020202020204" pitchFamily="34" charset="0"/>
                <a:cs typeface="Arial" panose="020B0604020202020204" pitchFamily="34" charset="0"/>
              </a:endParaRPr>
            </a:p>
          </p:txBody>
        </p:sp>
        <p:sp>
          <p:nvSpPr>
            <p:cNvPr id="104" name="Rectangle 103">
              <a:extLst>
                <a:ext uri="{FF2B5EF4-FFF2-40B4-BE49-F238E27FC236}">
                  <a16:creationId xmlns:a16="http://schemas.microsoft.com/office/drawing/2014/main" id="{92AF5576-13DA-BC4C-8E8D-6F2F29A0B776}"/>
                </a:ext>
              </a:extLst>
            </p:cNvPr>
            <p:cNvSpPr/>
            <p:nvPr/>
          </p:nvSpPr>
          <p:spPr>
            <a:xfrm>
              <a:off x="2776068" y="1473999"/>
              <a:ext cx="2186191" cy="457200"/>
            </a:xfrm>
            <a:prstGeom prst="rect">
              <a:avLst/>
            </a:prstGeom>
            <a:gradFill>
              <a:gsLst>
                <a:gs pos="0">
                  <a:schemeClr val="accent1"/>
                </a:gs>
                <a:gs pos="100000">
                  <a:schemeClr val="accent1">
                    <a:lumMod val="50000"/>
                  </a:schemeClr>
                </a:gs>
              </a:gsLst>
              <a:lin ang="54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793" tIns="39897" rIns="79793" bIns="39897" numCol="1" spcCol="0" rtlCol="0" fromWordArt="0" anchor="ctr" anchorCtr="0" forceAA="0" compatLnSpc="1">
              <a:prstTxWarp prst="textNoShape">
                <a:avLst/>
              </a:prstTxWarp>
              <a:noAutofit/>
            </a:bodyPr>
            <a:lstStyle/>
            <a:p>
              <a:pPr algn="ctr"/>
              <a:r>
                <a:rPr lang="en-US" sz="1600" b="1" dirty="0">
                  <a:solidFill>
                    <a:schemeClr val="bg1"/>
                  </a:solidFill>
                  <a:latin typeface="Arial" panose="020B0604020202020204" pitchFamily="34" charset="0"/>
                  <a:cs typeface="Arial" panose="020B0604020202020204" pitchFamily="34" charset="0"/>
                </a:rPr>
                <a:t>“Digital twin” model</a:t>
              </a:r>
            </a:p>
          </p:txBody>
        </p:sp>
      </p:grpSp>
      <p:grpSp>
        <p:nvGrpSpPr>
          <p:cNvPr id="6" name="Group 5">
            <a:extLst>
              <a:ext uri="{FF2B5EF4-FFF2-40B4-BE49-F238E27FC236}">
                <a16:creationId xmlns:a16="http://schemas.microsoft.com/office/drawing/2014/main" id="{ADF66524-BDA5-5C49-B21A-34164B2C2BC6}"/>
              </a:ext>
            </a:extLst>
          </p:cNvPr>
          <p:cNvGrpSpPr/>
          <p:nvPr/>
        </p:nvGrpSpPr>
        <p:grpSpPr>
          <a:xfrm>
            <a:off x="8935776" y="1472292"/>
            <a:ext cx="2585454" cy="4298547"/>
            <a:chOff x="8935776" y="1472292"/>
            <a:chExt cx="2585454" cy="4298547"/>
          </a:xfrm>
        </p:grpSpPr>
        <p:pic>
          <p:nvPicPr>
            <p:cNvPr id="74" name="Picture 73">
              <a:extLst>
                <a:ext uri="{FF2B5EF4-FFF2-40B4-BE49-F238E27FC236}">
                  <a16:creationId xmlns:a16="http://schemas.microsoft.com/office/drawing/2014/main" id="{39820EAF-F73C-E14D-A2F9-82ECBDB0F168}"/>
                </a:ext>
              </a:extLst>
            </p:cNvPr>
            <p:cNvPicPr>
              <a:picLocks noChangeAspect="1"/>
            </p:cNvPicPr>
            <p:nvPr/>
          </p:nvPicPr>
          <p:blipFill>
            <a:blip r:embed="rId6"/>
            <a:stretch>
              <a:fillRect/>
            </a:stretch>
          </p:blipFill>
          <p:spPr>
            <a:xfrm>
              <a:off x="9064845" y="3031288"/>
              <a:ext cx="2456385" cy="2032228"/>
            </a:xfrm>
            <a:prstGeom prst="rect">
              <a:avLst/>
            </a:prstGeom>
          </p:spPr>
        </p:pic>
        <p:grpSp>
          <p:nvGrpSpPr>
            <p:cNvPr id="9" name="Group 8">
              <a:extLst>
                <a:ext uri="{FF2B5EF4-FFF2-40B4-BE49-F238E27FC236}">
                  <a16:creationId xmlns:a16="http://schemas.microsoft.com/office/drawing/2014/main" id="{F70D49E1-A548-C24F-944E-CA1267B4F405}"/>
                </a:ext>
              </a:extLst>
            </p:cNvPr>
            <p:cNvGrpSpPr/>
            <p:nvPr/>
          </p:nvGrpSpPr>
          <p:grpSpPr>
            <a:xfrm>
              <a:off x="8935776" y="3090273"/>
              <a:ext cx="2277459" cy="2680566"/>
              <a:chOff x="8935776" y="3350321"/>
              <a:chExt cx="2277459" cy="2680566"/>
            </a:xfrm>
          </p:grpSpPr>
          <p:sp>
            <p:nvSpPr>
              <p:cNvPr id="44" name="object 80">
                <a:extLst>
                  <a:ext uri="{FF2B5EF4-FFF2-40B4-BE49-F238E27FC236}">
                    <a16:creationId xmlns:a16="http://schemas.microsoft.com/office/drawing/2014/main" id="{423BB501-6C06-A644-88FC-792540141933}"/>
                  </a:ext>
                </a:extLst>
              </p:cNvPr>
              <p:cNvSpPr txBox="1"/>
              <p:nvPr/>
            </p:nvSpPr>
            <p:spPr>
              <a:xfrm>
                <a:off x="9346614" y="5814609"/>
                <a:ext cx="1866621" cy="216278"/>
              </a:xfrm>
              <a:prstGeom prst="rect">
                <a:avLst/>
              </a:prstGeom>
            </p:spPr>
            <p:txBody>
              <a:bodyPr vert="horz" wrap="square" lIns="0" tIns="12065" rIns="0" bIns="0" rtlCol="0">
                <a:spAutoFit/>
              </a:bodyPr>
              <a:lstStyle/>
              <a:p>
                <a:pPr marL="12700" marR="5080" algn="ctr">
                  <a:lnSpc>
                    <a:spcPct val="101499"/>
                  </a:lnSpc>
                  <a:spcBef>
                    <a:spcPts val="95"/>
                  </a:spcBef>
                </a:pPr>
                <a:r>
                  <a:rPr lang="en-GB" sz="1400" b="1" spc="20" dirty="0">
                    <a:solidFill>
                      <a:schemeClr val="accent1"/>
                    </a:solidFill>
                    <a:latin typeface="Arial" panose="020B0604020202020204" pitchFamily="34" charset="0"/>
                    <a:cs typeface="Arial" panose="020B0604020202020204" pitchFamily="34" charset="0"/>
                  </a:rPr>
                  <a:t>Mission objective</a:t>
                </a:r>
                <a:endParaRPr sz="1400" dirty="0">
                  <a:solidFill>
                    <a:schemeClr val="accent1"/>
                  </a:solidFill>
                  <a:latin typeface="Arial" panose="020B0604020202020204" pitchFamily="34" charset="0"/>
                  <a:cs typeface="Arial" panose="020B0604020202020204" pitchFamily="34" charset="0"/>
                </a:endParaRPr>
              </a:p>
            </p:txBody>
          </p:sp>
          <p:cxnSp>
            <p:nvCxnSpPr>
              <p:cNvPr id="82" name="Straight Connector 81">
                <a:extLst>
                  <a:ext uri="{FF2B5EF4-FFF2-40B4-BE49-F238E27FC236}">
                    <a16:creationId xmlns:a16="http://schemas.microsoft.com/office/drawing/2014/main" id="{9B4DC3B9-8C08-C641-BC05-E8CFE627EF2A}"/>
                  </a:ext>
                </a:extLst>
              </p:cNvPr>
              <p:cNvCxnSpPr>
                <a:cxnSpLocks/>
              </p:cNvCxnSpPr>
              <p:nvPr/>
            </p:nvCxnSpPr>
            <p:spPr>
              <a:xfrm>
                <a:off x="9556607" y="5269370"/>
                <a:ext cx="351907" cy="545239"/>
              </a:xfrm>
              <a:prstGeom prst="line">
                <a:avLst/>
              </a:prstGeom>
            </p:spPr>
            <p:style>
              <a:lnRef idx="1">
                <a:schemeClr val="accent1"/>
              </a:lnRef>
              <a:fillRef idx="0">
                <a:schemeClr val="accent1"/>
              </a:fillRef>
              <a:effectRef idx="0">
                <a:schemeClr val="accent1"/>
              </a:effectRef>
              <a:fontRef idx="minor">
                <a:schemeClr val="tx1"/>
              </a:fontRef>
            </p:style>
          </p:cxnSp>
          <p:cxnSp>
            <p:nvCxnSpPr>
              <p:cNvPr id="84" name="Curved Connector 83">
                <a:extLst>
                  <a:ext uri="{FF2B5EF4-FFF2-40B4-BE49-F238E27FC236}">
                    <a16:creationId xmlns:a16="http://schemas.microsoft.com/office/drawing/2014/main" id="{C78544DF-61CD-864D-ADBE-C2D649207E08}"/>
                  </a:ext>
                </a:extLst>
              </p:cNvPr>
              <p:cNvCxnSpPr>
                <a:cxnSpLocks/>
              </p:cNvCxnSpPr>
              <p:nvPr/>
            </p:nvCxnSpPr>
            <p:spPr>
              <a:xfrm>
                <a:off x="8935776" y="3350321"/>
                <a:ext cx="454726" cy="242326"/>
              </a:xfrm>
              <a:prstGeom prst="curvedConnector3">
                <a:avLst>
                  <a:gd name="adj1" fmla="val -1478"/>
                </a:avLst>
              </a:prstGeom>
              <a:ln w="3492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sp>
          <p:nvSpPr>
            <p:cNvPr id="105" name="Rectangle 104">
              <a:extLst>
                <a:ext uri="{FF2B5EF4-FFF2-40B4-BE49-F238E27FC236}">
                  <a16:creationId xmlns:a16="http://schemas.microsoft.com/office/drawing/2014/main" id="{3F5482C2-C597-A14A-97DA-B59D5B2AAA17}"/>
                </a:ext>
              </a:extLst>
            </p:cNvPr>
            <p:cNvSpPr/>
            <p:nvPr/>
          </p:nvSpPr>
          <p:spPr>
            <a:xfrm>
              <a:off x="9199941" y="1472292"/>
              <a:ext cx="2186191" cy="457200"/>
            </a:xfrm>
            <a:prstGeom prst="rect">
              <a:avLst/>
            </a:prstGeom>
            <a:gradFill>
              <a:gsLst>
                <a:gs pos="0">
                  <a:schemeClr val="accent1"/>
                </a:gs>
                <a:gs pos="100000">
                  <a:schemeClr val="accent1">
                    <a:lumMod val="50000"/>
                  </a:schemeClr>
                </a:gs>
              </a:gsLst>
              <a:lin ang="54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793" tIns="39897" rIns="79793" bIns="39897" numCol="1" spcCol="0" rtlCol="0" fromWordArt="0" anchor="ctr" anchorCtr="0" forceAA="0" compatLnSpc="1">
              <a:prstTxWarp prst="textNoShape">
                <a:avLst/>
              </a:prstTxWarp>
              <a:noAutofit/>
            </a:bodyPr>
            <a:lstStyle/>
            <a:p>
              <a:pPr algn="ctr"/>
              <a:r>
                <a:rPr lang="en-US" sz="1600" b="1" dirty="0">
                  <a:solidFill>
                    <a:schemeClr val="bg1"/>
                  </a:solidFill>
                  <a:latin typeface="Arial" panose="020B0604020202020204" pitchFamily="34" charset="0"/>
                  <a:cs typeface="Arial" panose="020B0604020202020204" pitchFamily="34" charset="0"/>
                </a:rPr>
                <a:t>User journey</a:t>
              </a:r>
            </a:p>
          </p:txBody>
        </p:sp>
      </p:grpSp>
      <p:grpSp>
        <p:nvGrpSpPr>
          <p:cNvPr id="3" name="Group 2">
            <a:extLst>
              <a:ext uri="{FF2B5EF4-FFF2-40B4-BE49-F238E27FC236}">
                <a16:creationId xmlns:a16="http://schemas.microsoft.com/office/drawing/2014/main" id="{558A8DF3-5FEB-7140-9C2F-F410034CB89F}"/>
              </a:ext>
            </a:extLst>
          </p:cNvPr>
          <p:cNvGrpSpPr/>
          <p:nvPr/>
        </p:nvGrpSpPr>
        <p:grpSpPr>
          <a:xfrm>
            <a:off x="211159" y="1887574"/>
            <a:ext cx="2300399" cy="4409021"/>
            <a:chOff x="211159" y="1887574"/>
            <a:chExt cx="2300399" cy="4409021"/>
          </a:xfrm>
        </p:grpSpPr>
        <p:grpSp>
          <p:nvGrpSpPr>
            <p:cNvPr id="89" name="Group 88">
              <a:extLst>
                <a:ext uri="{FF2B5EF4-FFF2-40B4-BE49-F238E27FC236}">
                  <a16:creationId xmlns:a16="http://schemas.microsoft.com/office/drawing/2014/main" id="{FDE5CE34-F5A2-6244-8773-FDBED4306613}"/>
                </a:ext>
              </a:extLst>
            </p:cNvPr>
            <p:cNvGrpSpPr/>
            <p:nvPr/>
          </p:nvGrpSpPr>
          <p:grpSpPr>
            <a:xfrm>
              <a:off x="211159" y="1887574"/>
              <a:ext cx="1611834" cy="4409021"/>
              <a:chOff x="161705" y="1588205"/>
              <a:chExt cx="1611834" cy="4409021"/>
            </a:xfrm>
            <a:solidFill>
              <a:schemeClr val="tx2">
                <a:alpha val="41000"/>
              </a:schemeClr>
            </a:solidFill>
          </p:grpSpPr>
          <p:grpSp>
            <p:nvGrpSpPr>
              <p:cNvPr id="90" name="Group 89">
                <a:extLst>
                  <a:ext uri="{FF2B5EF4-FFF2-40B4-BE49-F238E27FC236}">
                    <a16:creationId xmlns:a16="http://schemas.microsoft.com/office/drawing/2014/main" id="{26C01ED0-1FAB-5A4E-A115-40F58D09C493}"/>
                  </a:ext>
                </a:extLst>
              </p:cNvPr>
              <p:cNvGrpSpPr/>
              <p:nvPr/>
            </p:nvGrpSpPr>
            <p:grpSpPr>
              <a:xfrm>
                <a:off x="166252" y="2488156"/>
                <a:ext cx="1607287" cy="3509070"/>
                <a:chOff x="261257" y="2169331"/>
                <a:chExt cx="1386751" cy="4161210"/>
              </a:xfrm>
              <a:grpFill/>
            </p:grpSpPr>
            <p:sp>
              <p:nvSpPr>
                <p:cNvPr id="95" name="object 97">
                  <a:extLst>
                    <a:ext uri="{FF2B5EF4-FFF2-40B4-BE49-F238E27FC236}">
                      <a16:creationId xmlns:a16="http://schemas.microsoft.com/office/drawing/2014/main" id="{EC16940F-E67D-B342-B40B-91C052B0E62A}"/>
                    </a:ext>
                  </a:extLst>
                </p:cNvPr>
                <p:cNvSpPr txBox="1"/>
                <p:nvPr/>
              </p:nvSpPr>
              <p:spPr>
                <a:xfrm>
                  <a:off x="261257" y="2169331"/>
                  <a:ext cx="1386751" cy="992994"/>
                </a:xfrm>
                <a:prstGeom prst="rect">
                  <a:avLst/>
                </a:prstGeom>
                <a:grpFill/>
              </p:spPr>
              <p:txBody>
                <a:bodyPr vert="horz" wrap="square" lIns="0" tIns="66040" rIns="0" bIns="0" rtlCol="0" anchor="ctr" anchorCtr="1">
                  <a:noAutofit/>
                </a:bodyPr>
                <a:lstStyle/>
                <a:p>
                  <a:pPr marL="133985" marR="101600" algn="ctr">
                    <a:lnSpc>
                      <a:spcPct val="100000"/>
                    </a:lnSpc>
                    <a:spcBef>
                      <a:spcPts val="520"/>
                    </a:spcBef>
                  </a:pPr>
                  <a:r>
                    <a:rPr lang="en-GB" sz="1300" dirty="0">
                      <a:latin typeface="Arial" panose="020B0604020202020204" pitchFamily="34" charset="0"/>
                      <a:cs typeface="Arial" panose="020B0604020202020204" pitchFamily="34" charset="0"/>
                    </a:rPr>
                    <a:t>Full IDE for test automation snippets &amp; scripts</a:t>
                  </a:r>
                  <a:endParaRPr sz="1300" dirty="0">
                    <a:latin typeface="Arial" panose="020B0604020202020204" pitchFamily="34" charset="0"/>
                    <a:cs typeface="Arial" panose="020B0604020202020204" pitchFamily="34" charset="0"/>
                  </a:endParaRPr>
                </a:p>
              </p:txBody>
            </p:sp>
            <p:sp>
              <p:nvSpPr>
                <p:cNvPr id="96" name="object 99">
                  <a:extLst>
                    <a:ext uri="{FF2B5EF4-FFF2-40B4-BE49-F238E27FC236}">
                      <a16:creationId xmlns:a16="http://schemas.microsoft.com/office/drawing/2014/main" id="{414CB5FB-2843-F94B-97C6-3D2E571CDFB6}"/>
                    </a:ext>
                  </a:extLst>
                </p:cNvPr>
                <p:cNvSpPr txBox="1"/>
                <p:nvPr/>
              </p:nvSpPr>
              <p:spPr>
                <a:xfrm>
                  <a:off x="261257" y="3225403"/>
                  <a:ext cx="1386751" cy="992994"/>
                </a:xfrm>
                <a:prstGeom prst="rect">
                  <a:avLst/>
                </a:prstGeom>
                <a:grpFill/>
              </p:spPr>
              <p:txBody>
                <a:bodyPr vert="horz" wrap="square" lIns="0" tIns="83820" rIns="0" bIns="0" rtlCol="0" anchor="ctr" anchorCtr="1">
                  <a:noAutofit/>
                </a:bodyPr>
                <a:lstStyle/>
                <a:p>
                  <a:pPr marL="36195" marR="40005" indent="-3810" algn="ctr">
                    <a:lnSpc>
                      <a:spcPct val="100000"/>
                    </a:lnSpc>
                    <a:spcBef>
                      <a:spcPts val="660"/>
                    </a:spcBef>
                  </a:pPr>
                  <a:r>
                    <a:rPr sz="1300" spc="-30" dirty="0">
                      <a:latin typeface="Arial" panose="020B0604020202020204" pitchFamily="34" charset="0"/>
                      <a:cs typeface="Arial" panose="020B0604020202020204" pitchFamily="34" charset="0"/>
                    </a:rPr>
                    <a:t>Model  </a:t>
                  </a:r>
                  <a:r>
                    <a:rPr sz="1300" spc="-35" dirty="0">
                      <a:latin typeface="Arial" panose="020B0604020202020204" pitchFamily="34" charset="0"/>
                      <a:cs typeface="Arial" panose="020B0604020202020204" pitchFamily="34" charset="0"/>
                    </a:rPr>
                    <a:t>generation  </a:t>
                  </a:r>
                  <a:r>
                    <a:rPr sz="1300" spc="-5" dirty="0">
                      <a:latin typeface="Arial" panose="020B0604020202020204" pitchFamily="34" charset="0"/>
                      <a:cs typeface="Arial" panose="020B0604020202020204" pitchFamily="34" charset="0"/>
                    </a:rPr>
                    <a:t>from</a:t>
                  </a:r>
                  <a:r>
                    <a:rPr sz="1300" spc="-145" dirty="0">
                      <a:latin typeface="Arial" panose="020B0604020202020204" pitchFamily="34" charset="0"/>
                      <a:cs typeface="Arial" panose="020B0604020202020204" pitchFamily="34" charset="0"/>
                    </a:rPr>
                    <a:t> </a:t>
                  </a:r>
                  <a:r>
                    <a:rPr sz="1300" spc="-30" dirty="0">
                      <a:latin typeface="Arial" panose="020B0604020202020204" pitchFamily="34" charset="0"/>
                      <a:cs typeface="Arial" panose="020B0604020202020204" pitchFamily="34" charset="0"/>
                    </a:rPr>
                    <a:t>existing </a:t>
                  </a:r>
                  <a:r>
                    <a:rPr sz="1300" dirty="0">
                      <a:latin typeface="Arial" panose="020B0604020202020204" pitchFamily="34" charset="0"/>
                      <a:cs typeface="Arial" panose="020B0604020202020204" pitchFamily="34" charset="0"/>
                    </a:rPr>
                    <a:t> </a:t>
                  </a:r>
                  <a:r>
                    <a:rPr sz="1300" spc="-25" dirty="0">
                      <a:latin typeface="Arial" panose="020B0604020202020204" pitchFamily="34" charset="0"/>
                      <a:cs typeface="Arial" panose="020B0604020202020204" pitchFamily="34" charset="0"/>
                    </a:rPr>
                    <a:t>assets</a:t>
                  </a:r>
                  <a:r>
                    <a:rPr sz="1300" spc="-85" dirty="0">
                      <a:latin typeface="Arial" panose="020B0604020202020204" pitchFamily="34" charset="0"/>
                      <a:cs typeface="Arial" panose="020B0604020202020204" pitchFamily="34" charset="0"/>
                    </a:rPr>
                    <a:t> </a:t>
                  </a:r>
                  <a:r>
                    <a:rPr sz="1300" spc="-35" dirty="0">
                      <a:latin typeface="Arial" panose="020B0604020202020204" pitchFamily="34" charset="0"/>
                      <a:cs typeface="Arial" panose="020B0604020202020204" pitchFamily="34" charset="0"/>
                    </a:rPr>
                    <a:t>e.g.</a:t>
                  </a:r>
                  <a:r>
                    <a:rPr lang="en-GB" sz="1300" dirty="0">
                      <a:latin typeface="Arial" panose="020B0604020202020204" pitchFamily="34" charset="0"/>
                      <a:cs typeface="Arial" panose="020B0604020202020204" pitchFamily="34" charset="0"/>
                    </a:rPr>
                    <a:t> </a:t>
                  </a:r>
                  <a:r>
                    <a:rPr sz="1300" spc="-35" dirty="0">
                      <a:latin typeface="Arial" panose="020B0604020202020204" pitchFamily="34" charset="0"/>
                      <a:cs typeface="Arial" panose="020B0604020202020204" pitchFamily="34" charset="0"/>
                    </a:rPr>
                    <a:t>Gherkin</a:t>
                  </a:r>
                  <a:endParaRPr sz="1300" dirty="0">
                    <a:latin typeface="Arial" panose="020B0604020202020204" pitchFamily="34" charset="0"/>
                    <a:cs typeface="Arial" panose="020B0604020202020204" pitchFamily="34" charset="0"/>
                  </a:endParaRPr>
                </a:p>
              </p:txBody>
            </p:sp>
            <p:sp>
              <p:nvSpPr>
                <p:cNvPr id="97" name="object 100">
                  <a:extLst>
                    <a:ext uri="{FF2B5EF4-FFF2-40B4-BE49-F238E27FC236}">
                      <a16:creationId xmlns:a16="http://schemas.microsoft.com/office/drawing/2014/main" id="{9DC4DF95-7261-024A-BFDD-D4D06D8AAE15}"/>
                    </a:ext>
                  </a:extLst>
                </p:cNvPr>
                <p:cNvSpPr txBox="1"/>
                <p:nvPr/>
              </p:nvSpPr>
              <p:spPr>
                <a:xfrm>
                  <a:off x="261257" y="4281475"/>
                  <a:ext cx="1386751" cy="992994"/>
                </a:xfrm>
                <a:prstGeom prst="rect">
                  <a:avLst/>
                </a:prstGeom>
                <a:grpFill/>
              </p:spPr>
              <p:txBody>
                <a:bodyPr vert="horz" wrap="square" lIns="0" tIns="43180" rIns="0" bIns="0" rtlCol="0" anchor="ctr" anchorCtr="1">
                  <a:noAutofit/>
                </a:bodyPr>
                <a:lstStyle/>
                <a:p>
                  <a:pPr marL="98425" marR="106045" indent="-635" algn="ctr">
                    <a:lnSpc>
                      <a:spcPct val="100000"/>
                    </a:lnSpc>
                    <a:spcBef>
                      <a:spcPts val="340"/>
                    </a:spcBef>
                  </a:pPr>
                  <a:r>
                    <a:rPr lang="en-GB" sz="1300" dirty="0">
                      <a:latin typeface="Arial" panose="020B0604020202020204" pitchFamily="34" charset="0"/>
                      <a:cs typeface="Arial" panose="020B0604020202020204" pitchFamily="34" charset="0"/>
                    </a:rPr>
                    <a:t>Import existing process diagrams</a:t>
                  </a:r>
                  <a:endParaRPr sz="1300" dirty="0">
                    <a:latin typeface="Arial" panose="020B0604020202020204" pitchFamily="34" charset="0"/>
                    <a:cs typeface="Arial" panose="020B0604020202020204" pitchFamily="34" charset="0"/>
                  </a:endParaRPr>
                </a:p>
              </p:txBody>
            </p:sp>
            <p:sp>
              <p:nvSpPr>
                <p:cNvPr id="98" name="object 101">
                  <a:extLst>
                    <a:ext uri="{FF2B5EF4-FFF2-40B4-BE49-F238E27FC236}">
                      <a16:creationId xmlns:a16="http://schemas.microsoft.com/office/drawing/2014/main" id="{D3BBC34A-30C4-D649-88E6-028356D4BAAF}"/>
                    </a:ext>
                  </a:extLst>
                </p:cNvPr>
                <p:cNvSpPr txBox="1"/>
                <p:nvPr/>
              </p:nvSpPr>
              <p:spPr>
                <a:xfrm>
                  <a:off x="261257" y="5337547"/>
                  <a:ext cx="1386751" cy="992994"/>
                </a:xfrm>
                <a:prstGeom prst="rect">
                  <a:avLst/>
                </a:prstGeom>
                <a:grpFill/>
              </p:spPr>
              <p:txBody>
                <a:bodyPr vert="horz" wrap="square" lIns="0" tIns="35560" rIns="0" bIns="0" rtlCol="0" anchor="ctr" anchorCtr="1">
                  <a:noAutofit/>
                </a:bodyPr>
                <a:lstStyle/>
                <a:p>
                  <a:pPr marL="112395" marR="80010" indent="34925" algn="ctr">
                    <a:lnSpc>
                      <a:spcPct val="100000"/>
                    </a:lnSpc>
                    <a:spcBef>
                      <a:spcPts val="280"/>
                    </a:spcBef>
                  </a:pPr>
                  <a:r>
                    <a:rPr sz="1300" spc="-5" dirty="0">
                      <a:latin typeface="Arial" panose="020B0604020202020204" pitchFamily="34" charset="0"/>
                      <a:cs typeface="Arial" panose="020B0604020202020204" pitchFamily="34" charset="0"/>
                    </a:rPr>
                    <a:t>Intelligent  </a:t>
                  </a:r>
                  <a:r>
                    <a:rPr sz="1300" dirty="0">
                      <a:latin typeface="Arial" panose="020B0604020202020204" pitchFamily="34" charset="0"/>
                      <a:cs typeface="Arial" panose="020B0604020202020204" pitchFamily="34" charset="0"/>
                    </a:rPr>
                    <a:t>application  </a:t>
                  </a:r>
                  <a:r>
                    <a:rPr sz="1300" spc="-5" dirty="0">
                      <a:latin typeface="Arial" panose="020B0604020202020204" pitchFamily="34" charset="0"/>
                      <a:cs typeface="Arial" panose="020B0604020202020204" pitchFamily="34" charset="0"/>
                    </a:rPr>
                    <a:t>“scraping”</a:t>
                  </a:r>
                  <a:endParaRPr sz="1300" dirty="0">
                    <a:latin typeface="Arial" panose="020B0604020202020204" pitchFamily="34" charset="0"/>
                    <a:cs typeface="Arial" panose="020B0604020202020204" pitchFamily="34" charset="0"/>
                  </a:endParaRPr>
                </a:p>
              </p:txBody>
            </p:sp>
          </p:grpSp>
          <p:sp>
            <p:nvSpPr>
              <p:cNvPr id="92" name="object 97">
                <a:extLst>
                  <a:ext uri="{FF2B5EF4-FFF2-40B4-BE49-F238E27FC236}">
                    <a16:creationId xmlns:a16="http://schemas.microsoft.com/office/drawing/2014/main" id="{71A478E1-E3D5-0E40-8049-C36C090BD61B}"/>
                  </a:ext>
                </a:extLst>
              </p:cNvPr>
              <p:cNvSpPr txBox="1"/>
              <p:nvPr/>
            </p:nvSpPr>
            <p:spPr>
              <a:xfrm>
                <a:off x="161705" y="1588205"/>
                <a:ext cx="1607287" cy="837373"/>
              </a:xfrm>
              <a:prstGeom prst="rect">
                <a:avLst/>
              </a:prstGeom>
              <a:grpFill/>
            </p:spPr>
            <p:txBody>
              <a:bodyPr vert="horz" wrap="square" lIns="0" tIns="66040" rIns="0" bIns="0" rtlCol="0" anchor="ctr" anchorCtr="1">
                <a:noAutofit/>
              </a:bodyPr>
              <a:lstStyle/>
              <a:p>
                <a:pPr marL="133985" marR="101600" algn="ctr">
                  <a:lnSpc>
                    <a:spcPct val="100000"/>
                  </a:lnSpc>
                  <a:spcBef>
                    <a:spcPts val="520"/>
                  </a:spcBef>
                </a:pPr>
                <a:r>
                  <a:rPr sz="1300" dirty="0">
                    <a:latin typeface="Arial" panose="020B0604020202020204" pitchFamily="34" charset="0"/>
                    <a:cs typeface="Arial" panose="020B0604020202020204" pitchFamily="34" charset="0"/>
                  </a:rPr>
                  <a:t>In</a:t>
                </a:r>
                <a:r>
                  <a:rPr sz="1300" spc="-25" dirty="0">
                    <a:latin typeface="Arial" panose="020B0604020202020204" pitchFamily="34" charset="0"/>
                    <a:cs typeface="Arial" panose="020B0604020202020204" pitchFamily="34" charset="0"/>
                  </a:rPr>
                  <a:t>t</a:t>
                </a:r>
                <a:r>
                  <a:rPr sz="1300" dirty="0">
                    <a:latin typeface="Arial" panose="020B0604020202020204" pitchFamily="34" charset="0"/>
                    <a:cs typeface="Arial" panose="020B0604020202020204" pitchFamily="34" charset="0"/>
                  </a:rPr>
                  <a:t>e</a:t>
                </a:r>
                <a:r>
                  <a:rPr sz="1300" spc="-15" dirty="0">
                    <a:latin typeface="Arial" panose="020B0604020202020204" pitchFamily="34" charset="0"/>
                    <a:cs typeface="Arial" panose="020B0604020202020204" pitchFamily="34" charset="0"/>
                  </a:rPr>
                  <a:t>r</a:t>
                </a:r>
                <a:r>
                  <a:rPr sz="1300" dirty="0">
                    <a:latin typeface="Arial" panose="020B0604020202020204" pitchFamily="34" charset="0"/>
                    <a:cs typeface="Arial" panose="020B0604020202020204" pitchFamily="34" charset="0"/>
                  </a:rPr>
                  <a:t>a</a:t>
                </a:r>
                <a:r>
                  <a:rPr sz="1300" spc="5" dirty="0">
                    <a:latin typeface="Arial" panose="020B0604020202020204" pitchFamily="34" charset="0"/>
                    <a:cs typeface="Arial" panose="020B0604020202020204" pitchFamily="34" charset="0"/>
                  </a:rPr>
                  <a:t>c</a:t>
                </a:r>
                <a:r>
                  <a:rPr sz="1300" dirty="0">
                    <a:latin typeface="Arial" panose="020B0604020202020204" pitchFamily="34" charset="0"/>
                    <a:cs typeface="Arial" panose="020B0604020202020204" pitchFamily="34" charset="0"/>
                  </a:rPr>
                  <a:t>ti</a:t>
                </a:r>
                <a:r>
                  <a:rPr sz="1300" spc="-20" dirty="0">
                    <a:latin typeface="Arial" panose="020B0604020202020204" pitchFamily="34" charset="0"/>
                    <a:cs typeface="Arial" panose="020B0604020202020204" pitchFamily="34" charset="0"/>
                  </a:rPr>
                  <a:t>v</a:t>
                </a:r>
                <a:r>
                  <a:rPr sz="1300" dirty="0">
                    <a:latin typeface="Arial" panose="020B0604020202020204" pitchFamily="34" charset="0"/>
                    <a:cs typeface="Arial" panose="020B0604020202020204" pitchFamily="34" charset="0"/>
                  </a:rPr>
                  <a:t>e model building</a:t>
                </a:r>
              </a:p>
            </p:txBody>
          </p:sp>
        </p:grpSp>
        <p:pic>
          <p:nvPicPr>
            <p:cNvPr id="13" name="Graphic 12" descr="Play with solid fill">
              <a:extLst>
                <a:ext uri="{FF2B5EF4-FFF2-40B4-BE49-F238E27FC236}">
                  <a16:creationId xmlns:a16="http://schemas.microsoft.com/office/drawing/2014/main" id="{7AC7A6D2-B9F4-B443-B003-AFED8F94185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56174" y="1945995"/>
              <a:ext cx="755384" cy="755384"/>
            </a:xfrm>
            <a:prstGeom prst="rect">
              <a:avLst/>
            </a:prstGeom>
          </p:spPr>
        </p:pic>
        <p:pic>
          <p:nvPicPr>
            <p:cNvPr id="117" name="Graphic 116" descr="Play with solid fill">
              <a:extLst>
                <a:ext uri="{FF2B5EF4-FFF2-40B4-BE49-F238E27FC236}">
                  <a16:creationId xmlns:a16="http://schemas.microsoft.com/office/drawing/2014/main" id="{AAFDFB42-8622-F747-8DF2-5C135839066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54499" y="2826649"/>
              <a:ext cx="755384" cy="755384"/>
            </a:xfrm>
            <a:prstGeom prst="rect">
              <a:avLst/>
            </a:prstGeom>
          </p:spPr>
        </p:pic>
        <p:pic>
          <p:nvPicPr>
            <p:cNvPr id="123" name="Graphic 122" descr="Play with solid fill">
              <a:extLst>
                <a:ext uri="{FF2B5EF4-FFF2-40B4-BE49-F238E27FC236}">
                  <a16:creationId xmlns:a16="http://schemas.microsoft.com/office/drawing/2014/main" id="{F1719A3C-66EE-5945-9065-658791FCF6F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54499" y="3723591"/>
              <a:ext cx="755384" cy="755384"/>
            </a:xfrm>
            <a:prstGeom prst="rect">
              <a:avLst/>
            </a:prstGeom>
          </p:spPr>
        </p:pic>
        <p:pic>
          <p:nvPicPr>
            <p:cNvPr id="124" name="Graphic 123" descr="Play with solid fill">
              <a:extLst>
                <a:ext uri="{FF2B5EF4-FFF2-40B4-BE49-F238E27FC236}">
                  <a16:creationId xmlns:a16="http://schemas.microsoft.com/office/drawing/2014/main" id="{62D6C96D-184A-4542-A34B-C81684788F3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54499" y="4609650"/>
              <a:ext cx="755384" cy="755384"/>
            </a:xfrm>
            <a:prstGeom prst="rect">
              <a:avLst/>
            </a:prstGeom>
          </p:spPr>
        </p:pic>
        <p:pic>
          <p:nvPicPr>
            <p:cNvPr id="125" name="Graphic 124" descr="Play with solid fill">
              <a:extLst>
                <a:ext uri="{FF2B5EF4-FFF2-40B4-BE49-F238E27FC236}">
                  <a16:creationId xmlns:a16="http://schemas.microsoft.com/office/drawing/2014/main" id="{1B2BC01C-ACAF-C44D-A7FC-125D68D69C3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54499" y="5512453"/>
              <a:ext cx="755384" cy="755384"/>
            </a:xfrm>
            <a:prstGeom prst="rect">
              <a:avLst/>
            </a:prstGeom>
          </p:spPr>
        </p:pic>
      </p:grpSp>
      <p:grpSp>
        <p:nvGrpSpPr>
          <p:cNvPr id="5" name="Group 4">
            <a:extLst>
              <a:ext uri="{FF2B5EF4-FFF2-40B4-BE49-F238E27FC236}">
                <a16:creationId xmlns:a16="http://schemas.microsoft.com/office/drawing/2014/main" id="{984231D8-8242-B14B-A2A3-C8622D6EAEBA}"/>
              </a:ext>
            </a:extLst>
          </p:cNvPr>
          <p:cNvGrpSpPr/>
          <p:nvPr/>
        </p:nvGrpSpPr>
        <p:grpSpPr>
          <a:xfrm>
            <a:off x="5511327" y="1883569"/>
            <a:ext cx="3114796" cy="4530339"/>
            <a:chOff x="5511327" y="1883569"/>
            <a:chExt cx="3114796" cy="4530339"/>
          </a:xfrm>
        </p:grpSpPr>
        <p:sp>
          <p:nvSpPr>
            <p:cNvPr id="45" name="object 98">
              <a:extLst>
                <a:ext uri="{FF2B5EF4-FFF2-40B4-BE49-F238E27FC236}">
                  <a16:creationId xmlns:a16="http://schemas.microsoft.com/office/drawing/2014/main" id="{94FB83E2-C6BF-6145-A711-07CAA3FE4140}"/>
                </a:ext>
              </a:extLst>
            </p:cNvPr>
            <p:cNvSpPr txBox="1"/>
            <p:nvPr/>
          </p:nvSpPr>
          <p:spPr>
            <a:xfrm>
              <a:off x="5541916" y="1883569"/>
              <a:ext cx="2857500" cy="817810"/>
            </a:xfrm>
            <a:prstGeom prst="rect">
              <a:avLst/>
            </a:prstGeom>
            <a:solidFill>
              <a:schemeClr val="tx2">
                <a:alpha val="41000"/>
              </a:schemeClr>
            </a:solidFill>
          </p:spPr>
          <p:txBody>
            <a:bodyPr vert="horz" wrap="square" lIns="0" tIns="0" rIns="0" bIns="0" rtlCol="0" anchor="ctr" anchorCtr="1">
              <a:noAutofit/>
            </a:bodyPr>
            <a:lstStyle/>
            <a:p>
              <a:pPr marL="127635" marR="160020" algn="ctr">
                <a:lnSpc>
                  <a:spcPct val="100000"/>
                </a:lnSpc>
                <a:spcBef>
                  <a:spcPts val="900"/>
                </a:spcBef>
              </a:pPr>
              <a:r>
                <a:rPr lang="en-GB" sz="1300" spc="-5" dirty="0">
                  <a:latin typeface="Arial" panose="020B0604020202020204" pitchFamily="34" charset="0"/>
                  <a:cs typeface="Arial" panose="020B0604020202020204" pitchFamily="34" charset="0"/>
                </a:rPr>
                <a:t>Ensemble of a</a:t>
              </a:r>
              <a:r>
                <a:rPr lang="en-US" sz="1300" spc="-5" dirty="0">
                  <a:latin typeface="Arial" panose="020B0604020202020204" pitchFamily="34" charset="0"/>
                  <a:cs typeface="Arial" panose="020B0604020202020204" pitchFamily="34" charset="0"/>
                </a:rPr>
                <a:t>lgorithms</a:t>
              </a:r>
              <a:r>
                <a:rPr sz="1300" spc="-5" dirty="0">
                  <a:latin typeface="Arial" panose="020B0604020202020204" pitchFamily="34" charset="0"/>
                  <a:cs typeface="Arial" panose="020B0604020202020204" pitchFamily="34" charset="0"/>
                </a:rPr>
                <a:t> </a:t>
              </a:r>
              <a:r>
                <a:rPr sz="1300" spc="-10" dirty="0">
                  <a:latin typeface="Arial" panose="020B0604020202020204" pitchFamily="34" charset="0"/>
                  <a:cs typeface="Arial" panose="020B0604020202020204" pitchFamily="34" charset="0"/>
                </a:rPr>
                <a:t>drive </a:t>
              </a:r>
              <a:r>
                <a:rPr sz="1300" spc="-5" dirty="0">
                  <a:latin typeface="Arial" panose="020B0604020202020204" pitchFamily="34" charset="0"/>
                  <a:cs typeface="Arial" panose="020B0604020202020204" pitchFamily="34" charset="0"/>
                </a:rPr>
                <a:t>intelligent </a:t>
              </a:r>
              <a:r>
                <a:rPr sz="1300" spc="-10" dirty="0">
                  <a:latin typeface="Arial" panose="020B0604020202020204" pitchFamily="34" charset="0"/>
                  <a:cs typeface="Arial" panose="020B0604020202020204" pitchFamily="34" charset="0"/>
                </a:rPr>
                <a:t>automated </a:t>
              </a:r>
              <a:r>
                <a:rPr sz="1300" spc="-5" dirty="0">
                  <a:latin typeface="Arial" panose="020B0604020202020204" pitchFamily="34" charset="0"/>
                  <a:cs typeface="Arial" panose="020B0604020202020204" pitchFamily="34" charset="0"/>
                </a:rPr>
                <a:t>creation </a:t>
              </a:r>
              <a:r>
                <a:rPr sz="1300" dirty="0">
                  <a:latin typeface="Arial" panose="020B0604020202020204" pitchFamily="34" charset="0"/>
                  <a:cs typeface="Arial" panose="020B0604020202020204" pitchFamily="34" charset="0"/>
                </a:rPr>
                <a:t>of user </a:t>
              </a:r>
              <a:r>
                <a:rPr sz="1300" spc="-5" dirty="0">
                  <a:latin typeface="Arial" panose="020B0604020202020204" pitchFamily="34" charset="0"/>
                  <a:cs typeface="Arial" panose="020B0604020202020204" pitchFamily="34" charset="0"/>
                </a:rPr>
                <a:t>journey</a:t>
              </a:r>
              <a:r>
                <a:rPr lang="en-GB" sz="1300" spc="-5" dirty="0">
                  <a:latin typeface="Arial" panose="020B0604020202020204" pitchFamily="34" charset="0"/>
                  <a:cs typeface="Arial" panose="020B0604020202020204" pitchFamily="34" charset="0"/>
                </a:rPr>
                <a:t>s</a:t>
              </a:r>
            </a:p>
          </p:txBody>
        </p:sp>
        <p:sp>
          <p:nvSpPr>
            <p:cNvPr id="48" name="Rounded Rectangle 47">
              <a:extLst>
                <a:ext uri="{FF2B5EF4-FFF2-40B4-BE49-F238E27FC236}">
                  <a16:creationId xmlns:a16="http://schemas.microsoft.com/office/drawing/2014/main" id="{CF5B490D-7000-304E-BC74-D6DC5301F908}"/>
                </a:ext>
              </a:extLst>
            </p:cNvPr>
            <p:cNvSpPr/>
            <p:nvPr/>
          </p:nvSpPr>
          <p:spPr>
            <a:xfrm rot="10800000" flipV="1">
              <a:off x="5511327" y="3684981"/>
              <a:ext cx="2642141" cy="221765"/>
            </a:xfrm>
            <a:prstGeom prst="roundRect">
              <a:avLst>
                <a:gd name="adj" fmla="val 4676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mj-lt"/>
                </a:rPr>
                <a:t>AI bug hunting</a:t>
              </a:r>
            </a:p>
          </p:txBody>
        </p:sp>
        <p:sp>
          <p:nvSpPr>
            <p:cNvPr id="53" name="Rounded Rectangle 52">
              <a:extLst>
                <a:ext uri="{FF2B5EF4-FFF2-40B4-BE49-F238E27FC236}">
                  <a16:creationId xmlns:a16="http://schemas.microsoft.com/office/drawing/2014/main" id="{CF0A46B4-A7BC-B340-990A-CB29AF1DB462}"/>
                </a:ext>
              </a:extLst>
            </p:cNvPr>
            <p:cNvSpPr/>
            <p:nvPr/>
          </p:nvSpPr>
          <p:spPr>
            <a:xfrm rot="10800000" flipV="1">
              <a:off x="5536075" y="2967290"/>
              <a:ext cx="2642141" cy="221765"/>
            </a:xfrm>
            <a:prstGeom prst="roundRect">
              <a:avLst>
                <a:gd name="adj" fmla="val 4676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mj-lt"/>
                </a:rPr>
                <a:t>Regression packs</a:t>
              </a:r>
            </a:p>
          </p:txBody>
        </p:sp>
        <p:sp>
          <p:nvSpPr>
            <p:cNvPr id="58" name="Rounded Rectangle 57">
              <a:extLst>
                <a:ext uri="{FF2B5EF4-FFF2-40B4-BE49-F238E27FC236}">
                  <a16:creationId xmlns:a16="http://schemas.microsoft.com/office/drawing/2014/main" id="{82CAB3EB-9BBD-3D4A-811E-948659F5FFF5}"/>
                </a:ext>
              </a:extLst>
            </p:cNvPr>
            <p:cNvSpPr/>
            <p:nvPr/>
          </p:nvSpPr>
          <p:spPr>
            <a:xfrm rot="10800000" flipV="1">
              <a:off x="5546126" y="5211489"/>
              <a:ext cx="2642141" cy="221765"/>
            </a:xfrm>
            <a:prstGeom prst="roundRect">
              <a:avLst>
                <a:gd name="adj" fmla="val 4676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mj-lt"/>
                </a:rPr>
                <a:t>Real user journeys</a:t>
              </a:r>
            </a:p>
          </p:txBody>
        </p:sp>
        <p:sp>
          <p:nvSpPr>
            <p:cNvPr id="63" name="Rounded Rectangle 62">
              <a:extLst>
                <a:ext uri="{FF2B5EF4-FFF2-40B4-BE49-F238E27FC236}">
                  <a16:creationId xmlns:a16="http://schemas.microsoft.com/office/drawing/2014/main" id="{BACB2061-0F66-8546-9248-B072235D9B9F}"/>
                </a:ext>
              </a:extLst>
            </p:cNvPr>
            <p:cNvSpPr/>
            <p:nvPr/>
          </p:nvSpPr>
          <p:spPr>
            <a:xfrm rot="10800000" flipV="1">
              <a:off x="5546127" y="4446092"/>
              <a:ext cx="2642141" cy="221765"/>
            </a:xfrm>
            <a:prstGeom prst="roundRect">
              <a:avLst>
                <a:gd name="adj" fmla="val 4676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mj-lt"/>
                </a:rPr>
                <a:t>Coverage analysis</a:t>
              </a:r>
            </a:p>
          </p:txBody>
        </p:sp>
        <p:sp>
          <p:nvSpPr>
            <p:cNvPr id="68" name="Rounded Rectangle 67">
              <a:extLst>
                <a:ext uri="{FF2B5EF4-FFF2-40B4-BE49-F238E27FC236}">
                  <a16:creationId xmlns:a16="http://schemas.microsoft.com/office/drawing/2014/main" id="{5E835517-4F34-1D4F-B1F1-D788CF5FC8DD}"/>
                </a:ext>
              </a:extLst>
            </p:cNvPr>
            <p:cNvSpPr/>
            <p:nvPr/>
          </p:nvSpPr>
          <p:spPr>
            <a:xfrm rot="10800000" flipV="1">
              <a:off x="5551390" y="5925333"/>
              <a:ext cx="2642141" cy="221765"/>
            </a:xfrm>
            <a:prstGeom prst="roundRect">
              <a:avLst>
                <a:gd name="adj" fmla="val 4676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mj-lt"/>
                </a:rPr>
                <a:t>Change &amp; defect monitoring</a:t>
              </a:r>
            </a:p>
          </p:txBody>
        </p:sp>
        <p:pic>
          <p:nvPicPr>
            <p:cNvPr id="126" name="Graphic 125" descr="Play with solid fill">
              <a:extLst>
                <a:ext uri="{FF2B5EF4-FFF2-40B4-BE49-F238E27FC236}">
                  <a16:creationId xmlns:a16="http://schemas.microsoft.com/office/drawing/2014/main" id="{F647442A-D32B-8B45-8D78-D8298DAD87F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870739" y="2678170"/>
              <a:ext cx="755384" cy="755384"/>
            </a:xfrm>
            <a:prstGeom prst="rect">
              <a:avLst/>
            </a:prstGeom>
          </p:spPr>
        </p:pic>
        <p:pic>
          <p:nvPicPr>
            <p:cNvPr id="127" name="Graphic 126" descr="Play with solid fill">
              <a:extLst>
                <a:ext uri="{FF2B5EF4-FFF2-40B4-BE49-F238E27FC236}">
                  <a16:creationId xmlns:a16="http://schemas.microsoft.com/office/drawing/2014/main" id="{9D2E09F6-75DF-2847-B4D7-62094F2CA19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842307" y="4179282"/>
              <a:ext cx="755384" cy="755384"/>
            </a:xfrm>
            <a:prstGeom prst="rect">
              <a:avLst/>
            </a:prstGeom>
          </p:spPr>
        </p:pic>
        <p:pic>
          <p:nvPicPr>
            <p:cNvPr id="128" name="Graphic 127" descr="Play with solid fill">
              <a:extLst>
                <a:ext uri="{FF2B5EF4-FFF2-40B4-BE49-F238E27FC236}">
                  <a16:creationId xmlns:a16="http://schemas.microsoft.com/office/drawing/2014/main" id="{0A6F7A54-6826-9742-859A-6B75CA485BE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842307" y="5658524"/>
              <a:ext cx="755384" cy="755384"/>
            </a:xfrm>
            <a:prstGeom prst="rect">
              <a:avLst/>
            </a:prstGeom>
          </p:spPr>
        </p:pic>
        <p:pic>
          <p:nvPicPr>
            <p:cNvPr id="129" name="Graphic 128" descr="Play with solid fill">
              <a:extLst>
                <a:ext uri="{FF2B5EF4-FFF2-40B4-BE49-F238E27FC236}">
                  <a16:creationId xmlns:a16="http://schemas.microsoft.com/office/drawing/2014/main" id="{37161225-E9A0-2240-B4C3-F1738A58220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802245" y="3419069"/>
              <a:ext cx="755384" cy="755384"/>
            </a:xfrm>
            <a:prstGeom prst="rect">
              <a:avLst/>
            </a:prstGeom>
          </p:spPr>
        </p:pic>
        <p:pic>
          <p:nvPicPr>
            <p:cNvPr id="130" name="Graphic 129" descr="Play with solid fill">
              <a:extLst>
                <a:ext uri="{FF2B5EF4-FFF2-40B4-BE49-F238E27FC236}">
                  <a16:creationId xmlns:a16="http://schemas.microsoft.com/office/drawing/2014/main" id="{DD79AFC0-95FE-CE4F-8C91-1315745D7DB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849629" y="4938953"/>
              <a:ext cx="755384" cy="755384"/>
            </a:xfrm>
            <a:prstGeom prst="rect">
              <a:avLst/>
            </a:prstGeom>
          </p:spPr>
        </p:pic>
      </p:grpSp>
      <p:pic>
        <p:nvPicPr>
          <p:cNvPr id="10" name="Audio 9">
            <a:hlinkClick r:id="" action="ppaction://media"/>
            <a:extLst>
              <a:ext uri="{FF2B5EF4-FFF2-40B4-BE49-F238E27FC236}">
                <a16:creationId xmlns:a16="http://schemas.microsoft.com/office/drawing/2014/main" id="{41FDEC17-505A-4FC8-9F81-3334F4C45213}"/>
              </a:ext>
            </a:extLst>
          </p:cNvPr>
          <p:cNvPicPr>
            <a:picLocks noChangeAspect="1"/>
          </p:cNvPicPr>
          <p:nvPr>
            <a:audioFile r:link="rId2"/>
            <p:extLst>
              <p:ext uri="{DAA4B4D4-6D71-4841-9C94-3DE7FCFB9230}">
                <p14:media xmlns:p14="http://schemas.microsoft.com/office/powerpoint/2010/main" r:embed="rId1"/>
              </p:ext>
            </p:extLst>
          </p:nvPr>
        </p:nvPicPr>
        <p:blipFill>
          <a:blip r:embed="rId11"/>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1611313554"/>
      </p:ext>
    </p:extLst>
  </p:cSld>
  <p:clrMapOvr>
    <a:masterClrMapping/>
  </p:clrMapOvr>
  <mc:AlternateContent xmlns:mc="http://schemas.openxmlformats.org/markup-compatibility/2006" xmlns:p14="http://schemas.microsoft.com/office/powerpoint/2010/main">
    <mc:Choice Requires="p14">
      <p:transition spd="med" p14:dur="700" advTm="96372">
        <p:fade/>
      </p:transition>
    </mc:Choice>
    <mc:Fallback xmlns="">
      <p:transition spd="med" advTm="9637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0"/>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3BFB0A0-9F33-4DB1-940C-DE8184F927CF}"/>
              </a:ext>
            </a:extLst>
          </p:cNvPr>
          <p:cNvSpPr>
            <a:spLocks noGrp="1"/>
          </p:cNvSpPr>
          <p:nvPr>
            <p:ph sz="quarter" idx="14"/>
          </p:nvPr>
        </p:nvSpPr>
        <p:spPr>
          <a:xfrm>
            <a:off x="449580" y="1802869"/>
            <a:ext cx="11292840" cy="4479059"/>
          </a:xfrm>
        </p:spPr>
        <p:txBody>
          <a:bodyPr>
            <a:normAutofit/>
          </a:bodyPr>
          <a:lstStyle/>
          <a:p>
            <a:pPr>
              <a:lnSpc>
                <a:spcPct val="90000"/>
              </a:lnSpc>
            </a:pPr>
            <a:r>
              <a:rPr lang="en-US" dirty="0"/>
              <a:t>Designing mixed-use networks is hard.  Testing them is harder.</a:t>
            </a:r>
          </a:p>
          <a:p>
            <a:pPr>
              <a:lnSpc>
                <a:spcPct val="90000"/>
              </a:lnSpc>
            </a:pPr>
            <a:r>
              <a:rPr lang="en-US" dirty="0"/>
              <a:t>Consider accelerating the delivery of capabilities via 3</a:t>
            </a:r>
            <a:r>
              <a:rPr lang="en-US" baseline="30000" dirty="0"/>
              <a:t>rd</a:t>
            </a:r>
            <a:r>
              <a:rPr lang="en-US" dirty="0"/>
              <a:t> party expert testing</a:t>
            </a:r>
          </a:p>
          <a:p>
            <a:pPr lvl="1">
              <a:lnSpc>
                <a:spcPct val="90000"/>
              </a:lnSpc>
            </a:pPr>
            <a:r>
              <a:rPr lang="en-US" dirty="0"/>
              <a:t>In-house test tools are often not comprehensive enough against a fully integrated system</a:t>
            </a:r>
          </a:p>
          <a:p>
            <a:pPr lvl="1">
              <a:lnSpc>
                <a:spcPct val="90000"/>
              </a:lnSpc>
            </a:pPr>
            <a:r>
              <a:rPr lang="en-US" dirty="0"/>
              <a:t>Designing, developing and maintaining in-house test tools is a distraction to the actual capability under test</a:t>
            </a:r>
          </a:p>
          <a:p>
            <a:pPr lvl="1">
              <a:lnSpc>
                <a:spcPct val="90000"/>
              </a:lnSpc>
            </a:pPr>
            <a:r>
              <a:rPr lang="en-US" dirty="0"/>
              <a:t>No one person knows how to do everything</a:t>
            </a:r>
          </a:p>
          <a:p>
            <a:pPr lvl="1">
              <a:lnSpc>
                <a:spcPct val="90000"/>
              </a:lnSpc>
            </a:pPr>
            <a:r>
              <a:rPr lang="en-US" dirty="0"/>
              <a:t>Few companies can offer one-stop shopping</a:t>
            </a:r>
          </a:p>
          <a:p>
            <a:pPr lvl="1">
              <a:lnSpc>
                <a:spcPct val="90000"/>
              </a:lnSpc>
            </a:pPr>
            <a:endParaRPr lang="en-US" sz="2000" dirty="0"/>
          </a:p>
          <a:p>
            <a:pPr>
              <a:lnSpc>
                <a:spcPct val="90000"/>
              </a:lnSpc>
            </a:pPr>
            <a:r>
              <a:rPr lang="en-US" b="1" i="1" dirty="0"/>
              <a:t>Need to plan for testing in advance</a:t>
            </a:r>
          </a:p>
          <a:p>
            <a:pPr lvl="1">
              <a:lnSpc>
                <a:spcPct val="90000"/>
              </a:lnSpc>
            </a:pPr>
            <a:r>
              <a:rPr lang="en-US" dirty="0"/>
              <a:t>Test interfaces may need to be built into the hardware/software</a:t>
            </a:r>
          </a:p>
          <a:p>
            <a:pPr lvl="1">
              <a:lnSpc>
                <a:spcPct val="90000"/>
              </a:lnSpc>
            </a:pPr>
            <a:r>
              <a:rPr lang="en-US" dirty="0"/>
              <a:t>Special test equipment may be needed</a:t>
            </a:r>
          </a:p>
          <a:p>
            <a:pPr lvl="1">
              <a:lnSpc>
                <a:spcPct val="90000"/>
              </a:lnSpc>
            </a:pPr>
            <a:r>
              <a:rPr lang="en-US" dirty="0"/>
              <a:t>“Digital twin” models should be developed at the same time as the system</a:t>
            </a:r>
          </a:p>
          <a:p>
            <a:pPr lvl="1">
              <a:lnSpc>
                <a:spcPct val="90000"/>
              </a:lnSpc>
            </a:pPr>
            <a:r>
              <a:rPr lang="en-US" dirty="0"/>
              <a:t>Include testing in the plan for budget and schedule</a:t>
            </a:r>
          </a:p>
        </p:txBody>
      </p:sp>
      <p:sp>
        <p:nvSpPr>
          <p:cNvPr id="3" name="Text Placeholder 2">
            <a:extLst>
              <a:ext uri="{FF2B5EF4-FFF2-40B4-BE49-F238E27FC236}">
                <a16:creationId xmlns:a16="http://schemas.microsoft.com/office/drawing/2014/main" id="{4A129C87-C00C-45E6-99D7-0CA986B572E5}"/>
              </a:ext>
            </a:extLst>
          </p:cNvPr>
          <p:cNvSpPr>
            <a:spLocks noGrp="1"/>
          </p:cNvSpPr>
          <p:nvPr>
            <p:ph type="body" sz="quarter" idx="13"/>
          </p:nvPr>
        </p:nvSpPr>
        <p:spPr>
          <a:xfrm>
            <a:off x="449201" y="920555"/>
            <a:ext cx="7453790" cy="393954"/>
          </a:xfrm>
        </p:spPr>
        <p:txBody>
          <a:bodyPr anchor="ctr">
            <a:normAutofit/>
          </a:bodyPr>
          <a:lstStyle/>
          <a:p>
            <a:r>
              <a:rPr lang="en-US" dirty="0"/>
              <a:t>…and some suggestions</a:t>
            </a:r>
          </a:p>
        </p:txBody>
      </p:sp>
      <p:sp>
        <p:nvSpPr>
          <p:cNvPr id="5" name="Title 4">
            <a:extLst>
              <a:ext uri="{FF2B5EF4-FFF2-40B4-BE49-F238E27FC236}">
                <a16:creationId xmlns:a16="http://schemas.microsoft.com/office/drawing/2014/main" id="{4D28F1B4-60B6-4C66-9E6E-E7BB5444F8CF}"/>
              </a:ext>
            </a:extLst>
          </p:cNvPr>
          <p:cNvSpPr>
            <a:spLocks noGrp="1"/>
          </p:cNvSpPr>
          <p:nvPr>
            <p:ph type="title"/>
          </p:nvPr>
        </p:nvSpPr>
        <p:spPr>
          <a:xfrm>
            <a:off x="449202" y="372339"/>
            <a:ext cx="11293597" cy="492443"/>
          </a:xfrm>
        </p:spPr>
        <p:txBody>
          <a:bodyPr anchor="t">
            <a:normAutofit/>
          </a:bodyPr>
          <a:lstStyle/>
          <a:p>
            <a:r>
              <a:rPr lang="en-US" dirty="0"/>
              <a:t>Summary</a:t>
            </a:r>
          </a:p>
        </p:txBody>
      </p:sp>
      <p:pic>
        <p:nvPicPr>
          <p:cNvPr id="6" name="Audio 5">
            <a:hlinkClick r:id="" action="ppaction://media"/>
            <a:extLst>
              <a:ext uri="{FF2B5EF4-FFF2-40B4-BE49-F238E27FC236}">
                <a16:creationId xmlns:a16="http://schemas.microsoft.com/office/drawing/2014/main" id="{59C11AFA-135D-4CE7-823C-A2843D8CB747}"/>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2417716111"/>
      </p:ext>
    </p:extLst>
  </p:cSld>
  <p:clrMapOvr>
    <a:masterClrMapping/>
  </p:clrMapOvr>
  <mc:AlternateContent xmlns:mc="http://schemas.openxmlformats.org/markup-compatibility/2006" xmlns:p14="http://schemas.microsoft.com/office/powerpoint/2010/main">
    <mc:Choice Requires="p14">
      <p:transition spd="slow" p14:dur="2000" advTm="132870"/>
    </mc:Choice>
    <mc:Fallback xmlns="">
      <p:transition spd="slow" advTm="13287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extLst>
    <p:ext uri="{3A86A75C-4F4B-4683-9AE1-C65F6400EC91}">
      <p14:laserTraceLst xmlns:p14="http://schemas.microsoft.com/office/powerpoint/2010/main">
        <p14:tracePtLst>
          <p14:tracePt t="132870" x="1054100" y="187325"/>
          <p14:tracePt t="132870" x="1817688" y="322263"/>
          <p14:tracePt t="132870" x="2405063" y="425450"/>
          <p14:tracePt t="132870" x="3262313" y="585788"/>
          <p14:tracePt t="132870" x="3992563" y="722313"/>
          <p14:tracePt t="132870" x="4646613" y="833438"/>
          <p14:tracePt t="132870" x="5378450" y="968375"/>
          <p14:tracePt t="132870" x="5802313" y="1062038"/>
          <p14:tracePt t="132870" x="6202363" y="1155700"/>
          <p14:tracePt t="132870" x="6448425" y="1189038"/>
          <p14:tracePt t="132870" x="6704013" y="1231900"/>
          <p14:tracePt t="132870" x="6805613" y="1249363"/>
          <p14:tracePt t="132870" x="6889750" y="1257300"/>
          <p14:tracePt t="132870" x="6958013" y="1266825"/>
          <p14:tracePt t="132870" x="6983413" y="1274763"/>
          <p14:tracePt t="132870" x="7008813" y="1274763"/>
          <p14:tracePt t="132870" x="7018338" y="1274763"/>
          <p14:tracePt t="132870" x="7000875" y="1266825"/>
          <p14:tracePt t="132870" x="6958013" y="1231900"/>
          <p14:tracePt t="132870" x="6907213" y="1189038"/>
          <p14:tracePt t="132870" x="6873875" y="1173163"/>
          <p14:tracePt t="132870" x="6864350" y="1181100"/>
          <p14:tracePt t="132870" x="6856413" y="1206500"/>
          <p14:tracePt t="132870" x="6848475" y="1231900"/>
          <p14:tracePt t="132870" x="6848475" y="1282700"/>
          <p14:tracePt t="132870" x="6838950" y="1300163"/>
          <p14:tracePt t="132870" x="6838950" y="1308100"/>
          <p14:tracePt t="132870" x="6831013" y="1325563"/>
          <p14:tracePt t="132870" x="6831013" y="1333500"/>
          <p14:tracePt t="132870" x="6864350" y="1333500"/>
          <p14:tracePt t="132870" x="6924675" y="1333500"/>
          <p14:tracePt t="132870" x="7085013" y="1333500"/>
          <p14:tracePt t="132870" x="7239000" y="1333500"/>
          <p14:tracePt t="132870" x="7518400" y="1300163"/>
          <p14:tracePt t="132870" x="7799388" y="1266825"/>
          <p14:tracePt t="132870" x="8029575" y="1206500"/>
          <p14:tracePt t="132870" x="8275638" y="1155700"/>
          <p14:tracePt t="132870" x="8369300" y="1138238"/>
          <p14:tracePt t="132870" x="8470900" y="1104900"/>
          <p14:tracePt t="132870" x="8529638" y="1079500"/>
          <p14:tracePt t="132870" x="8564563" y="1062038"/>
          <p14:tracePt t="132870" x="8589963" y="1054100"/>
          <p14:tracePt t="132870" x="8605838" y="1036638"/>
          <p14:tracePt t="132870" x="8605838" y="1028700"/>
          <p14:tracePt t="132870" x="8605838" y="1019175"/>
          <p14:tracePt t="132870" x="8623300" y="1003300"/>
          <p14:tracePt t="132870" x="8640763" y="952500"/>
          <p14:tracePt t="132870" x="8666163" y="892175"/>
          <p14:tracePt t="132870" x="8683625" y="808038"/>
          <p14:tracePt t="132870" x="8691563" y="755650"/>
          <p14:tracePt t="132870" x="8691563" y="714375"/>
          <p14:tracePt t="132870" x="8691563" y="688975"/>
          <p14:tracePt t="132870" x="8691563" y="663575"/>
          <p14:tracePt t="132870" x="8691563" y="636588"/>
          <p14:tracePt t="132870" x="8691563" y="628650"/>
          <p14:tracePt t="132870" x="8691563" y="611188"/>
          <p14:tracePt t="132870" x="8691563" y="603250"/>
          <p14:tracePt t="132870" x="8691563" y="595313"/>
          <p14:tracePt t="132870" x="8691563" y="585788"/>
          <p14:tracePt t="132870" x="8699500" y="577850"/>
          <p14:tracePt t="132870" x="8709025" y="577850"/>
          <p14:tracePt t="132870" x="8716963" y="577850"/>
          <p14:tracePt t="132870" x="8699500" y="569913"/>
          <p14:tracePt t="132870" x="8666163" y="552450"/>
          <p14:tracePt t="132870" x="8674100" y="560388"/>
          <p14:tracePt t="132870" x="8683625" y="560388"/>
          <p14:tracePt t="132870" x="8691563" y="569913"/>
          <p14:tracePt t="132870" x="8699500" y="585788"/>
          <p14:tracePt t="132870" x="8716963" y="595313"/>
          <p14:tracePt t="132870" x="8716963" y="603250"/>
          <p14:tracePt t="132870" x="8724900" y="603250"/>
          <p14:tracePt t="132870" x="8724900" y="611188"/>
          <p14:tracePt t="132870" x="8734425" y="611188"/>
          <p14:tracePt t="132870" x="8734425" y="620713"/>
          <p14:tracePt t="132870" x="8724900" y="628650"/>
          <p14:tracePt t="132870" x="8709025" y="636588"/>
          <p14:tracePt t="132870" x="8699500" y="646113"/>
          <p14:tracePt t="132870" x="8683625" y="663575"/>
          <p14:tracePt t="132870" x="8658225" y="679450"/>
          <p14:tracePt t="132870" x="8623300" y="704850"/>
          <p14:tracePt t="132870" x="8572500" y="747713"/>
          <p14:tracePt t="132870" x="8529638" y="773113"/>
          <p14:tracePt t="132870" x="8470900" y="815975"/>
          <p14:tracePt t="132870" x="8428038" y="849313"/>
          <p14:tracePt t="132870" x="8410575" y="874713"/>
          <p14:tracePt t="132870" x="8377238" y="942975"/>
          <p14:tracePt t="132870" x="8369300" y="1011238"/>
          <p14:tracePt t="132870" x="8369300" y="1096963"/>
          <p14:tracePt t="132870" x="8369300" y="1173163"/>
          <p14:tracePt t="132870" x="8394700" y="1274763"/>
          <p14:tracePt t="132870" x="8445500" y="1333500"/>
          <p14:tracePt t="132870" x="8504238" y="1427163"/>
          <p14:tracePt t="132870" x="8564563" y="1487488"/>
          <p14:tracePt t="132870" x="8615363" y="1512888"/>
          <p14:tracePt t="132870" x="8683625" y="1555750"/>
          <p14:tracePt t="132870" x="8709025" y="1563688"/>
          <p14:tracePt t="132870" x="8759825" y="1581150"/>
          <p14:tracePt t="132870" x="8785225" y="1581150"/>
          <p14:tracePt t="132870" x="8818563" y="1581150"/>
          <p14:tracePt t="132870" x="8828088" y="1581150"/>
          <p14:tracePt t="132870" x="8843963" y="1581150"/>
          <p14:tracePt t="132870" x="8853488" y="1581150"/>
          <p14:tracePt t="132870" x="8861425" y="1581150"/>
          <p14:tracePt t="132870" x="8853488" y="1581150"/>
          <p14:tracePt t="132870" x="8843963" y="1581150"/>
          <p14:tracePt t="132870" x="8836025" y="1581150"/>
          <p14:tracePt t="132870" x="8836025" y="1571625"/>
          <p14:tracePt t="132870" x="8828088" y="1563688"/>
          <p14:tracePt t="132870" x="8818563" y="1563688"/>
          <p14:tracePt t="132870" x="8810625" y="1555750"/>
          <p14:tracePt t="132870" x="8810625" y="1538288"/>
          <p14:tracePt t="132870" x="8810625" y="1495425"/>
          <p14:tracePt t="132870" x="8853488" y="1444625"/>
          <p14:tracePt t="132870" x="8937625" y="1350963"/>
          <p14:tracePt t="132870" x="8997950" y="1282700"/>
          <p14:tracePt t="132870" x="9107488" y="1189038"/>
          <p14:tracePt t="132870" x="9175750" y="1138238"/>
          <p14:tracePt t="132870" x="9236075" y="1104900"/>
          <p14:tracePt t="132870" x="9328150" y="1062038"/>
          <p14:tracePt t="132870" x="9328150" y="1054100"/>
          <p14:tracePt t="132870" x="9337675" y="1054100"/>
          <p14:tracePt t="132870" x="9345613" y="1054100"/>
          <p14:tracePt t="132870" x="9337675" y="1062038"/>
          <p14:tracePt t="132870" x="9337675" y="1069975"/>
          <p14:tracePt t="132870" x="9328150" y="1079500"/>
          <p14:tracePt t="132870" x="9320213" y="1079500"/>
          <p14:tracePt t="132870" x="9312275" y="1079500"/>
          <p14:tracePt t="132870" x="9302750" y="1079500"/>
          <p14:tracePt t="132870" x="9294813" y="1079500"/>
          <p14:tracePt t="132870" x="9277350" y="1079500"/>
          <p14:tracePt t="132870" x="9261475" y="1079500"/>
          <p14:tracePt t="132870" x="9244013" y="1079500"/>
          <p14:tracePt t="132870" x="9209088" y="1079500"/>
          <p14:tracePt t="132870" x="9167813" y="1079500"/>
          <p14:tracePt t="132870" x="9124950" y="1087438"/>
          <p14:tracePt t="132870" x="9048750" y="1096963"/>
          <p14:tracePt t="132870" x="8988425" y="1104900"/>
          <p14:tracePt t="132870" x="8886825" y="1122363"/>
          <p14:tracePt t="132870" x="8759825" y="1122363"/>
          <p14:tracePt t="132870" x="8648700" y="1122363"/>
          <p14:tracePt t="132870" x="8521700" y="1122363"/>
          <p14:tracePt t="132870" x="8410575" y="1122363"/>
          <p14:tracePt t="132870" x="8283575" y="1122363"/>
          <p14:tracePt t="132870" x="8207375" y="1122363"/>
          <p14:tracePt t="132870" x="8139113" y="1122363"/>
          <p14:tracePt t="132870" x="8096250" y="1122363"/>
          <p14:tracePt t="132870" x="8070850" y="1130300"/>
          <p14:tracePt t="132870" x="8037513" y="1130300"/>
          <p14:tracePt t="132870" x="8020050" y="1138238"/>
          <p14:tracePt t="132870" x="7969250" y="1147763"/>
          <p14:tracePt t="132870" x="7926388" y="1147763"/>
          <p14:tracePt t="132870" x="7885113" y="1155700"/>
          <p14:tracePt t="132870" x="7859713" y="1163638"/>
          <p14:tracePt t="132870" x="7832725" y="1163638"/>
          <p14:tracePt t="132870" x="7824788" y="1163638"/>
          <p14:tracePt t="132870" x="7816850" y="1163638"/>
          <p14:tracePt t="132870" x="7807325" y="1163638"/>
          <p14:tracePt t="132870" x="7799388" y="1163638"/>
          <p14:tracePt t="132870" x="7791450" y="1163638"/>
          <p14:tracePt t="132870" x="7781925" y="1163638"/>
          <p14:tracePt t="132870" x="7791450" y="1163638"/>
          <p14:tracePt t="132870" x="7799388" y="1163638"/>
          <p14:tracePt t="132870" x="7799388" y="1181100"/>
          <p14:tracePt t="132870" x="7799388" y="1231900"/>
          <p14:tracePt t="132870" x="7799388" y="1292225"/>
          <p14:tracePt t="132870" x="7799388" y="1368425"/>
          <p14:tracePt t="132870" x="7791450" y="1427163"/>
          <p14:tracePt t="132870" x="7781925" y="1470025"/>
          <p14:tracePt t="132870" x="7766050" y="1530350"/>
          <p14:tracePt t="132870" x="7731125" y="1597025"/>
          <p14:tracePt t="132870" x="7697788" y="1657350"/>
          <p14:tracePt t="132870" x="7680325" y="1716088"/>
          <p14:tracePt t="132870" x="7672388" y="1793875"/>
          <p14:tracePt t="132870" x="7672388" y="1827213"/>
          <p14:tracePt t="132870" x="7672388" y="1844675"/>
          <p14:tracePt t="132870" x="7680325" y="1844675"/>
          <p14:tracePt t="132870" x="7688263" y="1844675"/>
          <p14:tracePt t="132870" x="7697788" y="1827213"/>
          <p14:tracePt t="132870" x="7740650" y="1766888"/>
          <p14:tracePt t="132870" x="7748588" y="1733550"/>
          <p14:tracePt t="132870" x="7756525" y="1716088"/>
          <p14:tracePt t="132870" x="7766050" y="1700213"/>
          <p14:tracePt t="132870" x="7766050" y="1682750"/>
          <p14:tracePt t="132870" x="7766050" y="1674813"/>
          <p14:tracePt t="132870" x="7756525" y="1674813"/>
          <p14:tracePt t="132870" x="7748588" y="1674813"/>
          <p14:tracePt t="132870" x="7697788" y="1674813"/>
          <p14:tracePt t="132870" x="7586663" y="1733550"/>
          <p14:tracePt t="132870" x="7426325" y="1809750"/>
          <p14:tracePt t="132870" x="7018338" y="1989138"/>
          <p14:tracePt t="132870" x="6618288" y="2200275"/>
          <p14:tracePt t="132870" x="5837238" y="2506663"/>
          <p14:tracePt t="132870" x="5224463" y="2744788"/>
          <p14:tracePt t="132870" x="4468813" y="3067050"/>
          <p14:tracePt t="132870" x="3925888" y="3238500"/>
          <p14:tracePt t="132870" x="3467100" y="3355975"/>
          <p14:tracePt t="132870" x="2897188" y="3459163"/>
          <p14:tracePt t="132870" x="2574925" y="3475038"/>
          <p14:tracePt t="132870" x="2225675" y="3467100"/>
          <p14:tracePt t="132870" x="1971675" y="3416300"/>
          <p14:tracePt t="132870" x="1606550" y="3348038"/>
          <p14:tracePt t="132870" x="1393825" y="3271838"/>
          <p14:tracePt t="132870" x="1112838" y="3203575"/>
          <p14:tracePt t="132870" x="960438" y="3195638"/>
          <p14:tracePt t="132870" x="831850" y="3195638"/>
          <p14:tracePt t="132870" x="679450" y="3246438"/>
          <p14:tracePt t="132870" x="577850" y="3314700"/>
          <p14:tracePt t="132870" x="492125" y="3408363"/>
          <p14:tracePt t="132870" x="433388" y="3484563"/>
          <p14:tracePt t="132870" x="382588" y="3578225"/>
          <p14:tracePt t="132870" x="347663" y="3646488"/>
          <p14:tracePt t="132870" x="331788" y="3679825"/>
          <p14:tracePt t="132870" x="339725" y="3679825"/>
          <p14:tracePt t="132870" x="347663" y="3679825"/>
          <p14:tracePt t="132870" x="322263" y="3687763"/>
          <p14:tracePt t="132870" x="288925" y="3687763"/>
          <p14:tracePt t="132870" x="212725" y="3687763"/>
          <p14:tracePt t="132870" x="136525" y="3687763"/>
          <p14:tracePt t="132870" x="33338" y="3679825"/>
        </p14:tracePtLst>
      </p14:laserTraceLst>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udio 1">
            <a:hlinkClick r:id="" action="ppaction://media"/>
            <a:extLst>
              <a:ext uri="{FF2B5EF4-FFF2-40B4-BE49-F238E27FC236}">
                <a16:creationId xmlns:a16="http://schemas.microsoft.com/office/drawing/2014/main" id="{F1BC58EC-D166-4E03-9BAB-0AA1CA1BF27E}"/>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3419980266"/>
      </p:ext>
    </p:extLst>
  </p:cSld>
  <p:clrMapOvr>
    <a:masterClrMapping/>
  </p:clrMapOvr>
  <mc:AlternateContent xmlns:mc="http://schemas.openxmlformats.org/markup-compatibility/2006" xmlns:p14="http://schemas.microsoft.com/office/powerpoint/2010/main">
    <mc:Choice Requires="p14">
      <p:transition spd="med" p14:dur="700" advTm="12432">
        <p:fade/>
      </p:transition>
    </mc:Choice>
    <mc:Fallback xmlns="">
      <p:transition spd="med" advTm="1243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3B58C06-71DB-4442-8F64-97DDAA921212}"/>
              </a:ext>
            </a:extLst>
          </p:cNvPr>
          <p:cNvSpPr>
            <a:spLocks noGrp="1"/>
          </p:cNvSpPr>
          <p:nvPr>
            <p:ph sz="quarter" idx="14"/>
          </p:nvPr>
        </p:nvSpPr>
        <p:spPr>
          <a:xfrm>
            <a:off x="449580" y="1596036"/>
            <a:ext cx="11292840" cy="4706793"/>
          </a:xfrm>
        </p:spPr>
        <p:txBody>
          <a:bodyPr/>
          <a:lstStyle/>
          <a:p>
            <a:r>
              <a:rPr lang="en-US" dirty="0"/>
              <a:t>A unified network that merges different types of network nodes, capabilities and data</a:t>
            </a:r>
          </a:p>
          <a:p>
            <a:pPr lvl="1"/>
            <a:r>
              <a:rPr lang="en-US" dirty="0"/>
              <a:t>Communications</a:t>
            </a:r>
          </a:p>
          <a:p>
            <a:pPr lvl="1"/>
            <a:r>
              <a:rPr lang="en-US" dirty="0"/>
              <a:t>Radar and electronic warfare</a:t>
            </a:r>
          </a:p>
          <a:p>
            <a:pPr lvl="1"/>
            <a:r>
              <a:rPr lang="en-US" dirty="0"/>
              <a:t>COMINT and surveillance</a:t>
            </a:r>
          </a:p>
          <a:p>
            <a:pPr lvl="1"/>
            <a:r>
              <a:rPr lang="en-US" dirty="0"/>
              <a:t>Navigation</a:t>
            </a:r>
          </a:p>
          <a:p>
            <a:pPr lvl="1"/>
            <a:r>
              <a:rPr lang="en-US" dirty="0"/>
              <a:t>Battlefield awareness</a:t>
            </a:r>
          </a:p>
          <a:p>
            <a:r>
              <a:rPr lang="en-US" dirty="0"/>
              <a:t>May be an ad-hoc network that is fielded when needed</a:t>
            </a:r>
          </a:p>
          <a:p>
            <a:pPr lvl="1"/>
            <a:r>
              <a:rPr lang="en-US" dirty="0"/>
              <a:t>Automatically discovers and manages network endpoints as needed</a:t>
            </a:r>
          </a:p>
          <a:p>
            <a:r>
              <a:rPr lang="en-US" dirty="0"/>
              <a:t>May exist in a congested or contested environment</a:t>
            </a:r>
          </a:p>
          <a:p>
            <a:pPr lvl="1"/>
            <a:r>
              <a:rPr lang="en-US" dirty="0"/>
              <a:t>Interfering signals</a:t>
            </a:r>
          </a:p>
          <a:p>
            <a:pPr lvl="1"/>
            <a:r>
              <a:rPr lang="en-US" dirty="0"/>
              <a:t>Intentional jamming</a:t>
            </a:r>
          </a:p>
          <a:p>
            <a:pPr lvl="1"/>
            <a:r>
              <a:rPr lang="en-US" dirty="0"/>
              <a:t>Cyber attacks</a:t>
            </a:r>
          </a:p>
          <a:p>
            <a:pPr lvl="1"/>
            <a:r>
              <a:rPr lang="en-US" dirty="0"/>
              <a:t>Network nodes may be at risk of destruction or capture by an adversary</a:t>
            </a:r>
          </a:p>
        </p:txBody>
      </p:sp>
      <p:sp>
        <p:nvSpPr>
          <p:cNvPr id="3" name="Text Placeholder 2">
            <a:extLst>
              <a:ext uri="{FF2B5EF4-FFF2-40B4-BE49-F238E27FC236}">
                <a16:creationId xmlns:a16="http://schemas.microsoft.com/office/drawing/2014/main" id="{FD445680-60EF-4C9A-871F-D17856E03A4F}"/>
              </a:ext>
            </a:extLst>
          </p:cNvPr>
          <p:cNvSpPr>
            <a:spLocks noGrp="1"/>
          </p:cNvSpPr>
          <p:nvPr>
            <p:ph type="body" sz="quarter" idx="13"/>
          </p:nvPr>
        </p:nvSpPr>
        <p:spPr>
          <a:xfrm>
            <a:off x="449202" y="939871"/>
            <a:ext cx="9321816" cy="393954"/>
          </a:xfrm>
        </p:spPr>
        <p:txBody>
          <a:bodyPr/>
          <a:lstStyle/>
          <a:p>
            <a:r>
              <a:rPr lang="en-US" dirty="0"/>
              <a:t>Often fully or partly wireless</a:t>
            </a:r>
          </a:p>
        </p:txBody>
      </p:sp>
      <p:sp>
        <p:nvSpPr>
          <p:cNvPr id="5" name="Title 4">
            <a:extLst>
              <a:ext uri="{FF2B5EF4-FFF2-40B4-BE49-F238E27FC236}">
                <a16:creationId xmlns:a16="http://schemas.microsoft.com/office/drawing/2014/main" id="{7A0CC8B4-452D-4D00-9676-1ACE6037C43A}"/>
              </a:ext>
            </a:extLst>
          </p:cNvPr>
          <p:cNvSpPr>
            <a:spLocks noGrp="1"/>
          </p:cNvSpPr>
          <p:nvPr>
            <p:ph type="title"/>
          </p:nvPr>
        </p:nvSpPr>
        <p:spPr>
          <a:xfrm>
            <a:off x="449202" y="372339"/>
            <a:ext cx="11293597" cy="492443"/>
          </a:xfrm>
        </p:spPr>
        <p:txBody>
          <a:bodyPr/>
          <a:lstStyle/>
          <a:p>
            <a:r>
              <a:rPr lang="en-US" dirty="0"/>
              <a:t>What Is a Mixed-Use Network?</a:t>
            </a:r>
          </a:p>
        </p:txBody>
      </p:sp>
      <p:grpSp>
        <p:nvGrpSpPr>
          <p:cNvPr id="7" name="Graphic 4">
            <a:extLst>
              <a:ext uri="{FF2B5EF4-FFF2-40B4-BE49-F238E27FC236}">
                <a16:creationId xmlns:a16="http://schemas.microsoft.com/office/drawing/2014/main" id="{11298EB3-0BE7-432F-91ED-A14EA18B1FED}"/>
              </a:ext>
            </a:extLst>
          </p:cNvPr>
          <p:cNvGrpSpPr/>
          <p:nvPr/>
        </p:nvGrpSpPr>
        <p:grpSpPr>
          <a:xfrm>
            <a:off x="8087365" y="2108550"/>
            <a:ext cx="1714500" cy="1714500"/>
            <a:chOff x="846632" y="540583"/>
            <a:chExt cx="1714500" cy="1714500"/>
          </a:xfrm>
        </p:grpSpPr>
        <p:sp>
          <p:nvSpPr>
            <p:cNvPr id="8" name="Freeform: Shape 7">
              <a:extLst>
                <a:ext uri="{FF2B5EF4-FFF2-40B4-BE49-F238E27FC236}">
                  <a16:creationId xmlns:a16="http://schemas.microsoft.com/office/drawing/2014/main" id="{D225AE7C-EB40-4130-B2A2-2CB737ABF4DB}"/>
                </a:ext>
              </a:extLst>
            </p:cNvPr>
            <p:cNvSpPr/>
            <p:nvPr/>
          </p:nvSpPr>
          <p:spPr>
            <a:xfrm>
              <a:off x="1361465" y="1092094"/>
              <a:ext cx="676275" cy="819150"/>
            </a:xfrm>
            <a:custGeom>
              <a:avLst/>
              <a:gdLst>
                <a:gd name="connsiteX0" fmla="*/ 30950 w 676275"/>
                <a:gd name="connsiteY0" fmla="*/ 817136 h 819150"/>
                <a:gd name="connsiteX1" fmla="*/ 24377 w 676275"/>
                <a:gd name="connsiteY1" fmla="*/ 816184 h 819150"/>
                <a:gd name="connsiteX2" fmla="*/ 8032 w 676275"/>
                <a:gd name="connsiteY2" fmla="*/ 787049 h 819150"/>
                <a:gd name="connsiteX3" fmla="*/ 8090 w 676275"/>
                <a:gd name="connsiteY3" fmla="*/ 786847 h 819150"/>
                <a:gd name="connsiteX4" fmla="*/ 306032 w 676275"/>
                <a:gd name="connsiteY4" fmla="*/ 32086 h 819150"/>
                <a:gd name="connsiteX5" fmla="*/ 357683 w 676275"/>
                <a:gd name="connsiteY5" fmla="*/ 10010 h 819150"/>
                <a:gd name="connsiteX6" fmla="*/ 379565 w 676275"/>
                <a:gd name="connsiteY6" fmla="*/ 31610 h 819150"/>
                <a:gd name="connsiteX7" fmla="*/ 672173 w 676275"/>
                <a:gd name="connsiteY7" fmla="*/ 772464 h 819150"/>
                <a:gd name="connsiteX8" fmla="*/ 658790 w 676275"/>
                <a:gd name="connsiteY8" fmla="*/ 803373 h 819150"/>
                <a:gd name="connsiteX9" fmla="*/ 627881 w 676275"/>
                <a:gd name="connsiteY9" fmla="*/ 789990 h 819150"/>
                <a:gd name="connsiteX10" fmla="*/ 342417 w 676275"/>
                <a:gd name="connsiteY10" fmla="*/ 68281 h 819150"/>
                <a:gd name="connsiteX11" fmla="*/ 53429 w 676275"/>
                <a:gd name="connsiteY11" fmla="*/ 799991 h 819150"/>
                <a:gd name="connsiteX12" fmla="*/ 30950 w 676275"/>
                <a:gd name="connsiteY12" fmla="*/ 817136 h 81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6275" h="819150">
                  <a:moveTo>
                    <a:pt x="30950" y="817136"/>
                  </a:moveTo>
                  <a:cubicBezTo>
                    <a:pt x="28724" y="817147"/>
                    <a:pt x="26509" y="816826"/>
                    <a:pt x="24377" y="816184"/>
                  </a:cubicBezTo>
                  <a:cubicBezTo>
                    <a:pt x="11818" y="812652"/>
                    <a:pt x="4500" y="799608"/>
                    <a:pt x="8032" y="787049"/>
                  </a:cubicBezTo>
                  <a:cubicBezTo>
                    <a:pt x="8051" y="786982"/>
                    <a:pt x="8070" y="786914"/>
                    <a:pt x="8090" y="786847"/>
                  </a:cubicBezTo>
                  <a:cubicBezTo>
                    <a:pt x="17615" y="754462"/>
                    <a:pt x="303365" y="39325"/>
                    <a:pt x="306032" y="32086"/>
                  </a:cubicBezTo>
                  <a:cubicBezTo>
                    <a:pt x="314199" y="11726"/>
                    <a:pt x="337324" y="1843"/>
                    <a:pt x="357683" y="10010"/>
                  </a:cubicBezTo>
                  <a:cubicBezTo>
                    <a:pt x="367581" y="13980"/>
                    <a:pt x="375466" y="21764"/>
                    <a:pt x="379565" y="31610"/>
                  </a:cubicBezTo>
                  <a:lnTo>
                    <a:pt x="672173" y="772464"/>
                  </a:lnTo>
                  <a:cubicBezTo>
                    <a:pt x="677012" y="784695"/>
                    <a:pt x="671021" y="798533"/>
                    <a:pt x="658790" y="803373"/>
                  </a:cubicBezTo>
                  <a:cubicBezTo>
                    <a:pt x="646559" y="808212"/>
                    <a:pt x="632721" y="802221"/>
                    <a:pt x="627881" y="789990"/>
                  </a:cubicBezTo>
                  <a:lnTo>
                    <a:pt x="342417" y="68281"/>
                  </a:lnTo>
                  <a:cubicBezTo>
                    <a:pt x="244024" y="314597"/>
                    <a:pt x="60477" y="776179"/>
                    <a:pt x="53429" y="799991"/>
                  </a:cubicBezTo>
                  <a:cubicBezTo>
                    <a:pt x="50479" y="809999"/>
                    <a:pt x="41381" y="816938"/>
                    <a:pt x="30950" y="817136"/>
                  </a:cubicBezTo>
                  <a:close/>
                </a:path>
              </a:pathLst>
            </a:custGeom>
            <a:solidFill>
              <a:srgbClr val="524F56"/>
            </a:solidFill>
            <a:ln w="9525" cap="flat">
              <a:noFill/>
              <a:prstDash val="solid"/>
              <a:miter/>
            </a:ln>
          </p:spPr>
          <p:txBody>
            <a:bodyPr rtlCol="0" anchor="ctr"/>
            <a:lstStyle/>
            <a:p>
              <a:endParaRPr lang="en-US" dirty="0"/>
            </a:p>
          </p:txBody>
        </p:sp>
        <p:sp>
          <p:nvSpPr>
            <p:cNvPr id="9" name="Freeform: Shape 8">
              <a:extLst>
                <a:ext uri="{FF2B5EF4-FFF2-40B4-BE49-F238E27FC236}">
                  <a16:creationId xmlns:a16="http://schemas.microsoft.com/office/drawing/2014/main" id="{F1CC7A68-8D20-4D8C-8C9C-4249E29166FF}"/>
                </a:ext>
              </a:extLst>
            </p:cNvPr>
            <p:cNvSpPr/>
            <p:nvPr/>
          </p:nvSpPr>
          <p:spPr>
            <a:xfrm>
              <a:off x="1361536" y="1366935"/>
              <a:ext cx="485775" cy="542925"/>
            </a:xfrm>
            <a:custGeom>
              <a:avLst/>
              <a:gdLst>
                <a:gd name="connsiteX0" fmla="*/ 30879 w 485775"/>
                <a:gd name="connsiteY0" fmla="*/ 542391 h 542925"/>
                <a:gd name="connsiteX1" fmla="*/ 7144 w 485775"/>
                <a:gd name="connsiteY1" fmla="*/ 518501 h 542925"/>
                <a:gd name="connsiteX2" fmla="*/ 13067 w 485775"/>
                <a:gd name="connsiteY2" fmla="*/ 502862 h 542925"/>
                <a:gd name="connsiteX3" fmla="*/ 443597 w 485775"/>
                <a:gd name="connsiteY3" fmla="*/ 15182 h 542925"/>
                <a:gd name="connsiteX4" fmla="*/ 477125 w 485775"/>
                <a:gd name="connsiteY4" fmla="*/ 13086 h 542925"/>
                <a:gd name="connsiteX5" fmla="*/ 479220 w 485775"/>
                <a:gd name="connsiteY5" fmla="*/ 46614 h 542925"/>
                <a:gd name="connsiteX6" fmla="*/ 48690 w 485775"/>
                <a:gd name="connsiteY6" fmla="*/ 534295 h 542925"/>
                <a:gd name="connsiteX7" fmla="*/ 30879 w 485775"/>
                <a:gd name="connsiteY7" fmla="*/ 54239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5775" h="542925">
                  <a:moveTo>
                    <a:pt x="30879" y="542391"/>
                  </a:moveTo>
                  <a:cubicBezTo>
                    <a:pt x="17727" y="542348"/>
                    <a:pt x="7101" y="531652"/>
                    <a:pt x="7144" y="518501"/>
                  </a:cubicBezTo>
                  <a:cubicBezTo>
                    <a:pt x="7163" y="512743"/>
                    <a:pt x="9267" y="507187"/>
                    <a:pt x="13067" y="502862"/>
                  </a:cubicBezTo>
                  <a:lnTo>
                    <a:pt x="443597" y="15182"/>
                  </a:lnTo>
                  <a:cubicBezTo>
                    <a:pt x="452277" y="5345"/>
                    <a:pt x="467288" y="4407"/>
                    <a:pt x="477125" y="13086"/>
                  </a:cubicBezTo>
                  <a:cubicBezTo>
                    <a:pt x="486962" y="21766"/>
                    <a:pt x="487900" y="36777"/>
                    <a:pt x="479220" y="46614"/>
                  </a:cubicBezTo>
                  <a:lnTo>
                    <a:pt x="48690" y="534295"/>
                  </a:lnTo>
                  <a:cubicBezTo>
                    <a:pt x="44202" y="539441"/>
                    <a:pt x="37707" y="542393"/>
                    <a:pt x="30879" y="542391"/>
                  </a:cubicBezTo>
                  <a:close/>
                </a:path>
              </a:pathLst>
            </a:custGeom>
            <a:solidFill>
              <a:srgbClr val="524F56"/>
            </a:solidFill>
            <a:ln w="9525" cap="flat">
              <a:noFill/>
              <a:prstDash val="solid"/>
              <a:miter/>
            </a:ln>
          </p:spPr>
          <p:txBody>
            <a:bodyPr rtlCol="0" anchor="ctr"/>
            <a:lstStyle/>
            <a:p>
              <a:endParaRPr lang="en-US" dirty="0"/>
            </a:p>
          </p:txBody>
        </p:sp>
        <p:sp>
          <p:nvSpPr>
            <p:cNvPr id="10" name="Freeform: Shape 9">
              <a:extLst>
                <a:ext uri="{FF2B5EF4-FFF2-40B4-BE49-F238E27FC236}">
                  <a16:creationId xmlns:a16="http://schemas.microsoft.com/office/drawing/2014/main" id="{6A947D6B-375B-444A-9CF3-BF12C6771B04}"/>
                </a:ext>
              </a:extLst>
            </p:cNvPr>
            <p:cNvSpPr/>
            <p:nvPr/>
          </p:nvSpPr>
          <p:spPr>
            <a:xfrm>
              <a:off x="1550037" y="1373480"/>
              <a:ext cx="485775" cy="523875"/>
            </a:xfrm>
            <a:custGeom>
              <a:avLst/>
              <a:gdLst>
                <a:gd name="connsiteX0" fmla="*/ 460550 w 485775"/>
                <a:gd name="connsiteY0" fmla="*/ 524415 h 523875"/>
                <a:gd name="connsiteX1" fmla="*/ 443024 w 485775"/>
                <a:gd name="connsiteY1" fmla="*/ 516700 h 523875"/>
                <a:gd name="connsiteX2" fmla="*/ 13447 w 485775"/>
                <a:gd name="connsiteY2" fmla="*/ 47118 h 523875"/>
                <a:gd name="connsiteX3" fmla="*/ 14828 w 485775"/>
                <a:gd name="connsiteY3" fmla="*/ 13447 h 523875"/>
                <a:gd name="connsiteX4" fmla="*/ 48499 w 485775"/>
                <a:gd name="connsiteY4" fmla="*/ 14828 h 523875"/>
                <a:gd name="connsiteX5" fmla="*/ 478076 w 485775"/>
                <a:gd name="connsiteY5" fmla="*/ 484410 h 523875"/>
                <a:gd name="connsiteX6" fmla="*/ 476626 w 485775"/>
                <a:gd name="connsiteY6" fmla="*/ 518055 h 523875"/>
                <a:gd name="connsiteX7" fmla="*/ 460550 w 485775"/>
                <a:gd name="connsiteY7" fmla="*/ 524320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5775" h="523875">
                  <a:moveTo>
                    <a:pt x="460550" y="524415"/>
                  </a:moveTo>
                  <a:cubicBezTo>
                    <a:pt x="453879" y="524445"/>
                    <a:pt x="447508" y="521641"/>
                    <a:pt x="443024" y="516700"/>
                  </a:cubicBezTo>
                  <a:lnTo>
                    <a:pt x="13447" y="47118"/>
                  </a:lnTo>
                  <a:cubicBezTo>
                    <a:pt x="4530" y="37438"/>
                    <a:pt x="5149" y="22363"/>
                    <a:pt x="14828" y="13447"/>
                  </a:cubicBezTo>
                  <a:cubicBezTo>
                    <a:pt x="24507" y="4530"/>
                    <a:pt x="39582" y="5149"/>
                    <a:pt x="48499" y="14828"/>
                  </a:cubicBezTo>
                  <a:lnTo>
                    <a:pt x="478076" y="484410"/>
                  </a:lnTo>
                  <a:cubicBezTo>
                    <a:pt x="486967" y="494102"/>
                    <a:pt x="486317" y="509165"/>
                    <a:pt x="476626" y="518055"/>
                  </a:cubicBezTo>
                  <a:cubicBezTo>
                    <a:pt x="472239" y="522080"/>
                    <a:pt x="466504" y="524315"/>
                    <a:pt x="460550" y="524320"/>
                  </a:cubicBezTo>
                  <a:close/>
                </a:path>
              </a:pathLst>
            </a:custGeom>
            <a:solidFill>
              <a:srgbClr val="524F56"/>
            </a:solidFill>
            <a:ln w="9525" cap="flat">
              <a:noFill/>
              <a:prstDash val="solid"/>
              <a:miter/>
            </a:ln>
          </p:spPr>
          <p:txBody>
            <a:bodyPr rtlCol="0" anchor="ctr"/>
            <a:lstStyle/>
            <a:p>
              <a:endParaRPr lang="en-US" dirty="0"/>
            </a:p>
          </p:txBody>
        </p:sp>
        <p:sp>
          <p:nvSpPr>
            <p:cNvPr id="11" name="Freeform: Shape 10">
              <a:extLst>
                <a:ext uri="{FF2B5EF4-FFF2-40B4-BE49-F238E27FC236}">
                  <a16:creationId xmlns:a16="http://schemas.microsoft.com/office/drawing/2014/main" id="{CAF6E7C0-277C-488D-9F33-8704220BD7E9}"/>
                </a:ext>
              </a:extLst>
            </p:cNvPr>
            <p:cNvSpPr/>
            <p:nvPr/>
          </p:nvSpPr>
          <p:spPr>
            <a:xfrm>
              <a:off x="1610061" y="962064"/>
              <a:ext cx="180975" cy="180975"/>
            </a:xfrm>
            <a:custGeom>
              <a:avLst/>
              <a:gdLst>
                <a:gd name="connsiteX0" fmla="*/ 91916 w 180975"/>
                <a:gd name="connsiteY0" fmla="*/ 176689 h 180975"/>
                <a:gd name="connsiteX1" fmla="*/ 7144 w 180975"/>
                <a:gd name="connsiteY1" fmla="*/ 91916 h 180975"/>
                <a:gd name="connsiteX2" fmla="*/ 91916 w 180975"/>
                <a:gd name="connsiteY2" fmla="*/ 7144 h 180975"/>
                <a:gd name="connsiteX3" fmla="*/ 176689 w 180975"/>
                <a:gd name="connsiteY3" fmla="*/ 91916 h 180975"/>
                <a:gd name="connsiteX4" fmla="*/ 91916 w 180975"/>
                <a:gd name="connsiteY4" fmla="*/ 176689 h 180975"/>
                <a:gd name="connsiteX5" fmla="*/ 91916 w 180975"/>
                <a:gd name="connsiteY5" fmla="*/ 54769 h 180975"/>
                <a:gd name="connsiteX6" fmla="*/ 54769 w 180975"/>
                <a:gd name="connsiteY6" fmla="*/ 91916 h 180975"/>
                <a:gd name="connsiteX7" fmla="*/ 91916 w 180975"/>
                <a:gd name="connsiteY7" fmla="*/ 129064 h 180975"/>
                <a:gd name="connsiteX8" fmla="*/ 129064 w 180975"/>
                <a:gd name="connsiteY8" fmla="*/ 91916 h 180975"/>
                <a:gd name="connsiteX9" fmla="*/ 91916 w 180975"/>
                <a:gd name="connsiteY9" fmla="*/ 54769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975" h="180975">
                  <a:moveTo>
                    <a:pt x="91916" y="176689"/>
                  </a:moveTo>
                  <a:cubicBezTo>
                    <a:pt x="45098" y="176689"/>
                    <a:pt x="7144" y="138735"/>
                    <a:pt x="7144" y="91916"/>
                  </a:cubicBezTo>
                  <a:cubicBezTo>
                    <a:pt x="7144" y="45098"/>
                    <a:pt x="45098" y="7144"/>
                    <a:pt x="91916" y="7144"/>
                  </a:cubicBezTo>
                  <a:cubicBezTo>
                    <a:pt x="138735" y="7144"/>
                    <a:pt x="176689" y="45098"/>
                    <a:pt x="176689" y="91916"/>
                  </a:cubicBezTo>
                  <a:cubicBezTo>
                    <a:pt x="176636" y="138713"/>
                    <a:pt x="138713" y="176636"/>
                    <a:pt x="91916" y="176689"/>
                  </a:cubicBezTo>
                  <a:close/>
                  <a:moveTo>
                    <a:pt x="91916" y="54769"/>
                  </a:moveTo>
                  <a:cubicBezTo>
                    <a:pt x="71400" y="54769"/>
                    <a:pt x="54769" y="71400"/>
                    <a:pt x="54769" y="91916"/>
                  </a:cubicBezTo>
                  <a:cubicBezTo>
                    <a:pt x="54769" y="112432"/>
                    <a:pt x="71400" y="129064"/>
                    <a:pt x="91916" y="129064"/>
                  </a:cubicBezTo>
                  <a:cubicBezTo>
                    <a:pt x="112432" y="129064"/>
                    <a:pt x="129064" y="112432"/>
                    <a:pt x="129064" y="91916"/>
                  </a:cubicBezTo>
                  <a:cubicBezTo>
                    <a:pt x="129011" y="71422"/>
                    <a:pt x="112411" y="54821"/>
                    <a:pt x="91916" y="54769"/>
                  </a:cubicBezTo>
                  <a:close/>
                </a:path>
              </a:pathLst>
            </a:custGeom>
            <a:solidFill>
              <a:srgbClr val="524F56"/>
            </a:solidFill>
            <a:ln w="9525" cap="flat">
              <a:no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id="{B4F31CBB-FB1A-4081-B354-DB72FC945CDA}"/>
                </a:ext>
              </a:extLst>
            </p:cNvPr>
            <p:cNvSpPr/>
            <p:nvPr/>
          </p:nvSpPr>
          <p:spPr>
            <a:xfrm>
              <a:off x="1253705" y="779963"/>
              <a:ext cx="142875" cy="514350"/>
            </a:xfrm>
            <a:custGeom>
              <a:avLst/>
              <a:gdLst>
                <a:gd name="connsiteX0" fmla="*/ 112992 w 142875"/>
                <a:gd name="connsiteY0" fmla="*/ 514048 h 514350"/>
                <a:gd name="connsiteX1" fmla="*/ 95466 w 142875"/>
                <a:gd name="connsiteY1" fmla="*/ 506332 h 514350"/>
                <a:gd name="connsiteX2" fmla="*/ 94132 w 142875"/>
                <a:gd name="connsiteY2" fmla="*/ 16557 h 514350"/>
                <a:gd name="connsiteX3" fmla="*/ 127756 w 142875"/>
                <a:gd name="connsiteY3" fmla="*/ 12080 h 514350"/>
                <a:gd name="connsiteX4" fmla="*/ 132232 w 142875"/>
                <a:gd name="connsiteY4" fmla="*/ 45703 h 514350"/>
                <a:gd name="connsiteX5" fmla="*/ 130899 w 142875"/>
                <a:gd name="connsiteY5" fmla="*/ 474328 h 514350"/>
                <a:gd name="connsiteX6" fmla="*/ 129087 w 142875"/>
                <a:gd name="connsiteY6" fmla="*/ 507955 h 514350"/>
                <a:gd name="connsiteX7" fmla="*/ 112992 w 142875"/>
                <a:gd name="connsiteY7" fmla="*/ 514048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75" h="514350">
                  <a:moveTo>
                    <a:pt x="112992" y="514048"/>
                  </a:moveTo>
                  <a:cubicBezTo>
                    <a:pt x="106320" y="514077"/>
                    <a:pt x="99950" y="511273"/>
                    <a:pt x="95466" y="506332"/>
                  </a:cubicBezTo>
                  <a:cubicBezTo>
                    <a:pt x="-21787" y="378221"/>
                    <a:pt x="-22358" y="167719"/>
                    <a:pt x="94132" y="16557"/>
                  </a:cubicBezTo>
                  <a:cubicBezTo>
                    <a:pt x="102181" y="6036"/>
                    <a:pt x="117234" y="4031"/>
                    <a:pt x="127756" y="12080"/>
                  </a:cubicBezTo>
                  <a:cubicBezTo>
                    <a:pt x="138277" y="20129"/>
                    <a:pt x="140281" y="35182"/>
                    <a:pt x="132232" y="45703"/>
                  </a:cubicBezTo>
                  <a:cubicBezTo>
                    <a:pt x="29648" y="179053"/>
                    <a:pt x="29172" y="362886"/>
                    <a:pt x="130899" y="474328"/>
                  </a:cubicBezTo>
                  <a:cubicBezTo>
                    <a:pt x="139684" y="484115"/>
                    <a:pt x="138873" y="499170"/>
                    <a:pt x="129087" y="507955"/>
                  </a:cubicBezTo>
                  <a:cubicBezTo>
                    <a:pt x="124669" y="511922"/>
                    <a:pt x="118929" y="514094"/>
                    <a:pt x="112992" y="514048"/>
                  </a:cubicBezTo>
                  <a:close/>
                </a:path>
              </a:pathLst>
            </a:custGeom>
            <a:solidFill>
              <a:srgbClr val="524F56"/>
            </a:solidFill>
            <a:ln w="9525" cap="flat">
              <a:noFill/>
              <a:prstDash val="solid"/>
              <a:miter/>
            </a:ln>
          </p:spPr>
          <p:txBody>
            <a:bodyPr rtlCol="0" anchor="ctr"/>
            <a:lstStyle/>
            <a:p>
              <a:endParaRPr lang="en-US" dirty="0"/>
            </a:p>
          </p:txBody>
        </p:sp>
        <p:sp>
          <p:nvSpPr>
            <p:cNvPr id="13" name="Freeform: Shape 12">
              <a:extLst>
                <a:ext uri="{FF2B5EF4-FFF2-40B4-BE49-F238E27FC236}">
                  <a16:creationId xmlns:a16="http://schemas.microsoft.com/office/drawing/2014/main" id="{1D61E00C-5A24-4090-94E6-27AAC265E3B0}"/>
                </a:ext>
              </a:extLst>
            </p:cNvPr>
            <p:cNvSpPr/>
            <p:nvPr/>
          </p:nvSpPr>
          <p:spPr>
            <a:xfrm>
              <a:off x="1407176" y="874260"/>
              <a:ext cx="104775" cy="333375"/>
            </a:xfrm>
            <a:custGeom>
              <a:avLst/>
              <a:gdLst>
                <a:gd name="connsiteX0" fmla="*/ 79536 w 104775"/>
                <a:gd name="connsiteY0" fmla="*/ 326405 h 333375"/>
                <a:gd name="connsiteX1" fmla="*/ 61914 w 104775"/>
                <a:gd name="connsiteY1" fmla="*/ 318690 h 333375"/>
                <a:gd name="connsiteX2" fmla="*/ 60676 w 104775"/>
                <a:gd name="connsiteY2" fmla="*/ 16557 h 333375"/>
                <a:gd name="connsiteX3" fmla="*/ 94299 w 104775"/>
                <a:gd name="connsiteY3" fmla="*/ 12080 h 333375"/>
                <a:gd name="connsiteX4" fmla="*/ 98776 w 104775"/>
                <a:gd name="connsiteY4" fmla="*/ 45703 h 333375"/>
                <a:gd name="connsiteX5" fmla="*/ 97157 w 104775"/>
                <a:gd name="connsiteY5" fmla="*/ 286495 h 333375"/>
                <a:gd name="connsiteX6" fmla="*/ 95633 w 104775"/>
                <a:gd name="connsiteY6" fmla="*/ 320214 h 333375"/>
                <a:gd name="connsiteX7" fmla="*/ 79536 w 104775"/>
                <a:gd name="connsiteY7" fmla="*/ 326405 h 33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75" h="333375">
                  <a:moveTo>
                    <a:pt x="79536" y="326405"/>
                  </a:moveTo>
                  <a:cubicBezTo>
                    <a:pt x="72838" y="326426"/>
                    <a:pt x="66442" y="323625"/>
                    <a:pt x="61914" y="318690"/>
                  </a:cubicBezTo>
                  <a:cubicBezTo>
                    <a:pt x="-10666" y="239251"/>
                    <a:pt x="-11142" y="109140"/>
                    <a:pt x="60676" y="16557"/>
                  </a:cubicBezTo>
                  <a:cubicBezTo>
                    <a:pt x="68725" y="6036"/>
                    <a:pt x="83778" y="4031"/>
                    <a:pt x="94299" y="12080"/>
                  </a:cubicBezTo>
                  <a:cubicBezTo>
                    <a:pt x="104820" y="20129"/>
                    <a:pt x="106825" y="35182"/>
                    <a:pt x="98776" y="45703"/>
                  </a:cubicBezTo>
                  <a:cubicBezTo>
                    <a:pt x="40483" y="120475"/>
                    <a:pt x="39531" y="224011"/>
                    <a:pt x="97157" y="286495"/>
                  </a:cubicBezTo>
                  <a:cubicBezTo>
                    <a:pt x="106024" y="296236"/>
                    <a:pt x="105343" y="311313"/>
                    <a:pt x="95633" y="320214"/>
                  </a:cubicBezTo>
                  <a:cubicBezTo>
                    <a:pt x="91210" y="324185"/>
                    <a:pt x="85480" y="326389"/>
                    <a:pt x="79536" y="326405"/>
                  </a:cubicBezTo>
                  <a:close/>
                </a:path>
              </a:pathLst>
            </a:custGeom>
            <a:solidFill>
              <a:srgbClr val="524F56"/>
            </a:solidFill>
            <a:ln w="9525" cap="flat">
              <a:noFill/>
              <a:prstDash val="solid"/>
              <a:miter/>
            </a:ln>
          </p:spPr>
          <p:txBody>
            <a:bodyPr rtlCol="0" anchor="ctr"/>
            <a:lstStyle/>
            <a:p>
              <a:endParaRPr lang="en-US" dirty="0"/>
            </a:p>
          </p:txBody>
        </p:sp>
        <p:sp>
          <p:nvSpPr>
            <p:cNvPr id="14" name="Freeform: Shape 13">
              <a:extLst>
                <a:ext uri="{FF2B5EF4-FFF2-40B4-BE49-F238E27FC236}">
                  <a16:creationId xmlns:a16="http://schemas.microsoft.com/office/drawing/2014/main" id="{423450CA-D19C-4470-94FB-B8B832BD4A80}"/>
                </a:ext>
              </a:extLst>
            </p:cNvPr>
            <p:cNvSpPr/>
            <p:nvPr/>
          </p:nvSpPr>
          <p:spPr>
            <a:xfrm>
              <a:off x="1986298" y="780871"/>
              <a:ext cx="142875" cy="514350"/>
            </a:xfrm>
            <a:custGeom>
              <a:avLst/>
              <a:gdLst>
                <a:gd name="connsiteX0" fmla="*/ 30956 w 142875"/>
                <a:gd name="connsiteY0" fmla="*/ 513140 h 514350"/>
                <a:gd name="connsiteX1" fmla="*/ 7144 w 142875"/>
                <a:gd name="connsiteY1" fmla="*/ 489327 h 514350"/>
                <a:gd name="connsiteX2" fmla="*/ 11906 w 142875"/>
                <a:gd name="connsiteY2" fmla="*/ 475040 h 514350"/>
                <a:gd name="connsiteX3" fmla="*/ 13240 w 142875"/>
                <a:gd name="connsiteY3" fmla="*/ 46415 h 514350"/>
                <a:gd name="connsiteX4" fmla="*/ 15895 w 142875"/>
                <a:gd name="connsiteY4" fmla="*/ 12843 h 514350"/>
                <a:gd name="connsiteX5" fmla="*/ 48292 w 142875"/>
                <a:gd name="connsiteY5" fmla="*/ 14220 h 514350"/>
                <a:gd name="connsiteX6" fmla="*/ 49625 w 142875"/>
                <a:gd name="connsiteY6" fmla="*/ 503996 h 514350"/>
                <a:gd name="connsiteX7" fmla="*/ 30956 w 142875"/>
                <a:gd name="connsiteY7" fmla="*/ 513140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75" h="514350">
                  <a:moveTo>
                    <a:pt x="30956" y="513140"/>
                  </a:moveTo>
                  <a:cubicBezTo>
                    <a:pt x="17805" y="513140"/>
                    <a:pt x="7144" y="502478"/>
                    <a:pt x="7144" y="489327"/>
                  </a:cubicBezTo>
                  <a:cubicBezTo>
                    <a:pt x="7144" y="484175"/>
                    <a:pt x="8815" y="479161"/>
                    <a:pt x="11906" y="475040"/>
                  </a:cubicBezTo>
                  <a:cubicBezTo>
                    <a:pt x="114490" y="341690"/>
                    <a:pt x="114967" y="157857"/>
                    <a:pt x="13240" y="46415"/>
                  </a:cubicBezTo>
                  <a:cubicBezTo>
                    <a:pt x="4702" y="36411"/>
                    <a:pt x="5891" y="21381"/>
                    <a:pt x="15895" y="12843"/>
                  </a:cubicBezTo>
                  <a:cubicBezTo>
                    <a:pt x="25386" y="4743"/>
                    <a:pt x="39521" y="5344"/>
                    <a:pt x="48292" y="14220"/>
                  </a:cubicBezTo>
                  <a:cubicBezTo>
                    <a:pt x="165544" y="142331"/>
                    <a:pt x="166116" y="352834"/>
                    <a:pt x="49625" y="503996"/>
                  </a:cubicBezTo>
                  <a:cubicBezTo>
                    <a:pt x="45150" y="509765"/>
                    <a:pt x="38258" y="513141"/>
                    <a:pt x="30956" y="513140"/>
                  </a:cubicBezTo>
                  <a:close/>
                </a:path>
              </a:pathLst>
            </a:custGeom>
            <a:solidFill>
              <a:srgbClr val="524F56"/>
            </a:solidFill>
            <a:ln w="9525" cap="flat">
              <a:no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0ADFA3F6-24FF-4715-AC96-C6DA320FA6AC}"/>
                </a:ext>
              </a:extLst>
            </p:cNvPr>
            <p:cNvSpPr/>
            <p:nvPr/>
          </p:nvSpPr>
          <p:spPr>
            <a:xfrm>
              <a:off x="1867243" y="875370"/>
              <a:ext cx="104775" cy="323850"/>
            </a:xfrm>
            <a:custGeom>
              <a:avLst/>
              <a:gdLst>
                <a:gd name="connsiteX0" fmla="*/ 30949 w 104775"/>
                <a:gd name="connsiteY0" fmla="*/ 325295 h 323850"/>
                <a:gd name="connsiteX1" fmla="*/ 16376 w 104775"/>
                <a:gd name="connsiteY1" fmla="*/ 320342 h 323850"/>
                <a:gd name="connsiteX2" fmla="*/ 12090 w 104775"/>
                <a:gd name="connsiteY2" fmla="*/ 286910 h 323850"/>
                <a:gd name="connsiteX3" fmla="*/ 13328 w 104775"/>
                <a:gd name="connsiteY3" fmla="*/ 46118 h 323850"/>
                <a:gd name="connsiteX4" fmla="*/ 16825 w 104775"/>
                <a:gd name="connsiteY4" fmla="*/ 12488 h 323850"/>
                <a:gd name="connsiteX5" fmla="*/ 48571 w 104775"/>
                <a:gd name="connsiteY5" fmla="*/ 13923 h 323850"/>
                <a:gd name="connsiteX6" fmla="*/ 49809 w 104775"/>
                <a:gd name="connsiteY6" fmla="*/ 316056 h 323850"/>
                <a:gd name="connsiteX7" fmla="*/ 30949 w 104775"/>
                <a:gd name="connsiteY7" fmla="*/ 325295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775" h="323850">
                  <a:moveTo>
                    <a:pt x="30949" y="325295"/>
                  </a:moveTo>
                  <a:cubicBezTo>
                    <a:pt x="25675" y="325318"/>
                    <a:pt x="20545" y="323574"/>
                    <a:pt x="16376" y="320342"/>
                  </a:cubicBezTo>
                  <a:cubicBezTo>
                    <a:pt x="5998" y="312272"/>
                    <a:pt x="4084" y="297337"/>
                    <a:pt x="12090" y="286910"/>
                  </a:cubicBezTo>
                  <a:cubicBezTo>
                    <a:pt x="70002" y="212138"/>
                    <a:pt x="70573" y="108602"/>
                    <a:pt x="13328" y="46118"/>
                  </a:cubicBezTo>
                  <a:cubicBezTo>
                    <a:pt x="5007" y="35866"/>
                    <a:pt x="6573" y="20809"/>
                    <a:pt x="16825" y="12488"/>
                  </a:cubicBezTo>
                  <a:cubicBezTo>
                    <a:pt x="26240" y="4847"/>
                    <a:pt x="39884" y="5464"/>
                    <a:pt x="48571" y="13923"/>
                  </a:cubicBezTo>
                  <a:cubicBezTo>
                    <a:pt x="121151" y="93362"/>
                    <a:pt x="121627" y="223473"/>
                    <a:pt x="49809" y="316056"/>
                  </a:cubicBezTo>
                  <a:cubicBezTo>
                    <a:pt x="45303" y="321903"/>
                    <a:pt x="38331" y="325318"/>
                    <a:pt x="30949" y="325295"/>
                  </a:cubicBezTo>
                  <a:close/>
                </a:path>
              </a:pathLst>
            </a:custGeom>
            <a:solidFill>
              <a:srgbClr val="524F56"/>
            </a:solidFill>
            <a:ln w="9525" cap="flat">
              <a:noFill/>
              <a:prstDash val="solid"/>
              <a:miter/>
            </a:ln>
          </p:spPr>
          <p:txBody>
            <a:bodyPr rtlCol="0" anchor="ctr"/>
            <a:lstStyle/>
            <a:p>
              <a:endParaRPr lang="en-US" dirty="0"/>
            </a:p>
          </p:txBody>
        </p:sp>
      </p:grpSp>
      <p:grpSp>
        <p:nvGrpSpPr>
          <p:cNvPr id="16" name="Graphic 29">
            <a:extLst>
              <a:ext uri="{FF2B5EF4-FFF2-40B4-BE49-F238E27FC236}">
                <a16:creationId xmlns:a16="http://schemas.microsoft.com/office/drawing/2014/main" id="{2E2826E3-3210-4C22-9008-351F8449CB73}"/>
              </a:ext>
            </a:extLst>
          </p:cNvPr>
          <p:cNvGrpSpPr/>
          <p:nvPr/>
        </p:nvGrpSpPr>
        <p:grpSpPr>
          <a:xfrm>
            <a:off x="8913768" y="3092182"/>
            <a:ext cx="1714500" cy="1714500"/>
            <a:chOff x="2667000" y="2362200"/>
            <a:chExt cx="1714500" cy="1714500"/>
          </a:xfrm>
        </p:grpSpPr>
        <p:sp>
          <p:nvSpPr>
            <p:cNvPr id="17" name="Freeform: Shape 16">
              <a:extLst>
                <a:ext uri="{FF2B5EF4-FFF2-40B4-BE49-F238E27FC236}">
                  <a16:creationId xmlns:a16="http://schemas.microsoft.com/office/drawing/2014/main" id="{AE25B387-3537-43EF-86E1-896280D6E39E}"/>
                </a:ext>
              </a:extLst>
            </p:cNvPr>
            <p:cNvSpPr/>
            <p:nvPr/>
          </p:nvSpPr>
          <p:spPr>
            <a:xfrm>
              <a:off x="3137696" y="2751754"/>
              <a:ext cx="666750" cy="657225"/>
            </a:xfrm>
            <a:custGeom>
              <a:avLst/>
              <a:gdLst>
                <a:gd name="connsiteX0" fmla="*/ 544859 w 666750"/>
                <a:gd name="connsiteY0" fmla="*/ 653148 h 657225"/>
                <a:gd name="connsiteX1" fmla="*/ 427987 w 666750"/>
                <a:gd name="connsiteY1" fmla="*/ 629621 h 657225"/>
                <a:gd name="connsiteX2" fmla="*/ 166907 w 666750"/>
                <a:gd name="connsiteY2" fmla="*/ 455219 h 657225"/>
                <a:gd name="connsiteX3" fmla="*/ 19841 w 666750"/>
                <a:gd name="connsiteY3" fmla="*/ 230619 h 657225"/>
                <a:gd name="connsiteX4" fmla="*/ 64704 w 666750"/>
                <a:gd name="connsiteY4" fmla="*/ 12497 h 657225"/>
                <a:gd name="connsiteX5" fmla="*/ 91183 w 666750"/>
                <a:gd name="connsiteY5" fmla="*/ 12497 h 657225"/>
                <a:gd name="connsiteX6" fmla="*/ 661731 w 666750"/>
                <a:gd name="connsiteY6" fmla="*/ 583044 h 657225"/>
                <a:gd name="connsiteX7" fmla="*/ 661731 w 666750"/>
                <a:gd name="connsiteY7" fmla="*/ 609524 h 657225"/>
                <a:gd name="connsiteX8" fmla="*/ 544859 w 666750"/>
                <a:gd name="connsiteY8" fmla="*/ 653148 h 657225"/>
                <a:gd name="connsiteX9" fmla="*/ 78706 w 666750"/>
                <a:gd name="connsiteY9" fmla="*/ 53073 h 657225"/>
                <a:gd name="connsiteX10" fmla="*/ 193006 w 666750"/>
                <a:gd name="connsiteY10" fmla="*/ 428930 h 657225"/>
                <a:gd name="connsiteX11" fmla="*/ 620392 w 666750"/>
                <a:gd name="connsiteY11" fmla="*/ 595236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0" h="657225">
                  <a:moveTo>
                    <a:pt x="544859" y="653148"/>
                  </a:moveTo>
                  <a:cubicBezTo>
                    <a:pt x="504823" y="652230"/>
                    <a:pt x="465261" y="644266"/>
                    <a:pt x="427987" y="629621"/>
                  </a:cubicBezTo>
                  <a:cubicBezTo>
                    <a:pt x="340548" y="597236"/>
                    <a:pt x="245393" y="533705"/>
                    <a:pt x="166907" y="455219"/>
                  </a:cubicBezTo>
                  <a:cubicBezTo>
                    <a:pt x="94231" y="382638"/>
                    <a:pt x="42034" y="302819"/>
                    <a:pt x="19841" y="230619"/>
                  </a:cubicBezTo>
                  <a:cubicBezTo>
                    <a:pt x="-6829" y="143846"/>
                    <a:pt x="8697" y="68694"/>
                    <a:pt x="64704" y="12497"/>
                  </a:cubicBezTo>
                  <a:cubicBezTo>
                    <a:pt x="72088" y="5359"/>
                    <a:pt x="83800" y="5359"/>
                    <a:pt x="91183" y="12497"/>
                  </a:cubicBezTo>
                  <a:lnTo>
                    <a:pt x="661731" y="583044"/>
                  </a:lnTo>
                  <a:cubicBezTo>
                    <a:pt x="668868" y="590428"/>
                    <a:pt x="668868" y="602140"/>
                    <a:pt x="661731" y="609524"/>
                  </a:cubicBezTo>
                  <a:cubicBezTo>
                    <a:pt x="632775" y="638480"/>
                    <a:pt x="592770" y="653148"/>
                    <a:pt x="544859" y="653148"/>
                  </a:cubicBezTo>
                  <a:close/>
                  <a:moveTo>
                    <a:pt x="78706" y="53073"/>
                  </a:moveTo>
                  <a:cubicBezTo>
                    <a:pt x="-7019" y="159753"/>
                    <a:pt x="84706" y="320345"/>
                    <a:pt x="193006" y="428930"/>
                  </a:cubicBezTo>
                  <a:cubicBezTo>
                    <a:pt x="329404" y="565423"/>
                    <a:pt x="526857" y="659054"/>
                    <a:pt x="620392" y="595236"/>
                  </a:cubicBezTo>
                  <a:close/>
                </a:path>
              </a:pathLst>
            </a:custGeom>
            <a:solidFill>
              <a:srgbClr val="524F56"/>
            </a:solidFill>
            <a:ln w="9525"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59C30B8F-DF43-4544-9820-61825E3D4137}"/>
                </a:ext>
              </a:extLst>
            </p:cNvPr>
            <p:cNvSpPr/>
            <p:nvPr/>
          </p:nvSpPr>
          <p:spPr>
            <a:xfrm>
              <a:off x="3047374" y="3216402"/>
              <a:ext cx="323850" cy="504825"/>
            </a:xfrm>
            <a:custGeom>
              <a:avLst/>
              <a:gdLst>
                <a:gd name="connsiteX0" fmla="*/ 305426 w 323850"/>
                <a:gd name="connsiteY0" fmla="*/ 500920 h 504825"/>
                <a:gd name="connsiteX1" fmla="*/ 26343 w 323850"/>
                <a:gd name="connsiteY1" fmla="*/ 500920 h 504825"/>
                <a:gd name="connsiteX2" fmla="*/ 7144 w 323850"/>
                <a:gd name="connsiteY2" fmla="*/ 482020 h 504825"/>
                <a:gd name="connsiteX3" fmla="*/ 7293 w 323850"/>
                <a:gd name="connsiteY3" fmla="*/ 479489 h 504825"/>
                <a:gd name="connsiteX4" fmla="*/ 61586 w 323850"/>
                <a:gd name="connsiteY4" fmla="*/ 99441 h 504825"/>
                <a:gd name="connsiteX5" fmla="*/ 160169 w 323850"/>
                <a:gd name="connsiteY5" fmla="*/ 7144 h 504825"/>
                <a:gd name="connsiteX6" fmla="*/ 257801 w 323850"/>
                <a:gd name="connsiteY6" fmla="*/ 96393 h 504825"/>
                <a:gd name="connsiteX7" fmla="*/ 323904 w 323850"/>
                <a:gd name="connsiteY7" fmla="*/ 479298 h 504825"/>
                <a:gd name="connsiteX8" fmla="*/ 307931 w 323850"/>
                <a:gd name="connsiteY8" fmla="*/ 500993 h 504825"/>
                <a:gd name="connsiteX9" fmla="*/ 305426 w 323850"/>
                <a:gd name="connsiteY9" fmla="*/ 501206 h 504825"/>
                <a:gd name="connsiteX10" fmla="*/ 48251 w 323850"/>
                <a:gd name="connsiteY10" fmla="*/ 463391 h 504825"/>
                <a:gd name="connsiteX11" fmla="*/ 283518 w 323850"/>
                <a:gd name="connsiteY11" fmla="*/ 463391 h 504825"/>
                <a:gd name="connsiteX12" fmla="*/ 221510 w 323850"/>
                <a:gd name="connsiteY12" fmla="*/ 102394 h 504825"/>
                <a:gd name="connsiteX13" fmla="*/ 160932 w 323850"/>
                <a:gd name="connsiteY13" fmla="*/ 44672 h 504825"/>
                <a:gd name="connsiteX14" fmla="*/ 99114 w 323850"/>
                <a:gd name="connsiteY14" fmla="*/ 1049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850" h="504825">
                  <a:moveTo>
                    <a:pt x="305426" y="500920"/>
                  </a:moveTo>
                  <a:lnTo>
                    <a:pt x="26343" y="500920"/>
                  </a:lnTo>
                  <a:cubicBezTo>
                    <a:pt x="15823" y="501002"/>
                    <a:pt x="7227" y="492541"/>
                    <a:pt x="7144" y="482020"/>
                  </a:cubicBezTo>
                  <a:cubicBezTo>
                    <a:pt x="7138" y="481174"/>
                    <a:pt x="7187" y="480328"/>
                    <a:pt x="7293" y="479489"/>
                  </a:cubicBezTo>
                  <a:lnTo>
                    <a:pt x="61586" y="99441"/>
                  </a:lnTo>
                  <a:cubicBezTo>
                    <a:pt x="69777" y="45910"/>
                    <a:pt x="111211" y="7144"/>
                    <a:pt x="160169" y="7144"/>
                  </a:cubicBezTo>
                  <a:cubicBezTo>
                    <a:pt x="209128" y="7144"/>
                    <a:pt x="250181" y="44672"/>
                    <a:pt x="257801" y="96393"/>
                  </a:cubicBezTo>
                  <a:lnTo>
                    <a:pt x="323904" y="479298"/>
                  </a:lnTo>
                  <a:cubicBezTo>
                    <a:pt x="325484" y="489700"/>
                    <a:pt x="318333" y="499413"/>
                    <a:pt x="307931" y="500993"/>
                  </a:cubicBezTo>
                  <a:cubicBezTo>
                    <a:pt x="307102" y="501119"/>
                    <a:pt x="306265" y="501190"/>
                    <a:pt x="305426" y="501206"/>
                  </a:cubicBezTo>
                  <a:close/>
                  <a:moveTo>
                    <a:pt x="48251" y="463391"/>
                  </a:moveTo>
                  <a:lnTo>
                    <a:pt x="283518" y="463391"/>
                  </a:lnTo>
                  <a:lnTo>
                    <a:pt x="221510" y="102394"/>
                  </a:lnTo>
                  <a:cubicBezTo>
                    <a:pt x="216272" y="68771"/>
                    <a:pt x="190840" y="44672"/>
                    <a:pt x="160932" y="44672"/>
                  </a:cubicBezTo>
                  <a:cubicBezTo>
                    <a:pt x="131023" y="44672"/>
                    <a:pt x="104448" y="69723"/>
                    <a:pt x="99114" y="104965"/>
                  </a:cubicBezTo>
                  <a:close/>
                </a:path>
              </a:pathLst>
            </a:custGeom>
            <a:solidFill>
              <a:srgbClr val="524F56"/>
            </a:solidFill>
            <a:ln w="9525" cap="flat">
              <a:no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FC421333-3660-4FC6-A578-799DEC3F3518}"/>
                </a:ext>
              </a:extLst>
            </p:cNvPr>
            <p:cNvSpPr/>
            <p:nvPr/>
          </p:nvSpPr>
          <p:spPr>
            <a:xfrm>
              <a:off x="2962751" y="3680936"/>
              <a:ext cx="495300" cy="142875"/>
            </a:xfrm>
            <a:custGeom>
              <a:avLst/>
              <a:gdLst>
                <a:gd name="connsiteX0" fmla="*/ 475774 w 495300"/>
                <a:gd name="connsiteY0" fmla="*/ 140208 h 142875"/>
                <a:gd name="connsiteX1" fmla="*/ 26194 w 495300"/>
                <a:gd name="connsiteY1" fmla="*/ 140208 h 142875"/>
                <a:gd name="connsiteX2" fmla="*/ 7144 w 495300"/>
                <a:gd name="connsiteY2" fmla="*/ 121158 h 142875"/>
                <a:gd name="connsiteX3" fmla="*/ 7144 w 495300"/>
                <a:gd name="connsiteY3" fmla="*/ 95441 h 142875"/>
                <a:gd name="connsiteX4" fmla="*/ 95441 w 495300"/>
                <a:gd name="connsiteY4" fmla="*/ 7144 h 142875"/>
                <a:gd name="connsiteX5" fmla="*/ 406241 w 495300"/>
                <a:gd name="connsiteY5" fmla="*/ 7144 h 142875"/>
                <a:gd name="connsiteX6" fmla="*/ 494824 w 495300"/>
                <a:gd name="connsiteY6" fmla="*/ 95345 h 142875"/>
                <a:gd name="connsiteX7" fmla="*/ 494824 w 495300"/>
                <a:gd name="connsiteY7" fmla="*/ 95726 h 142875"/>
                <a:gd name="connsiteX8" fmla="*/ 494824 w 495300"/>
                <a:gd name="connsiteY8" fmla="*/ 121444 h 142875"/>
                <a:gd name="connsiteX9" fmla="*/ 475774 w 495300"/>
                <a:gd name="connsiteY9" fmla="*/ 140208 h 142875"/>
                <a:gd name="connsiteX10" fmla="*/ 44958 w 495300"/>
                <a:gd name="connsiteY10" fmla="*/ 102680 h 142875"/>
                <a:gd name="connsiteX11" fmla="*/ 456724 w 495300"/>
                <a:gd name="connsiteY11" fmla="*/ 102680 h 142875"/>
                <a:gd name="connsiteX12" fmla="*/ 456724 w 495300"/>
                <a:gd name="connsiteY12" fmla="*/ 95726 h 142875"/>
                <a:gd name="connsiteX13" fmla="*/ 405956 w 495300"/>
                <a:gd name="connsiteY13" fmla="*/ 44958 h 142875"/>
                <a:gd name="connsiteX14" fmla="*/ 95726 w 495300"/>
                <a:gd name="connsiteY14" fmla="*/ 44958 h 142875"/>
                <a:gd name="connsiteX15" fmla="*/ 44958 w 495300"/>
                <a:gd name="connsiteY15" fmla="*/ 95726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142875">
                  <a:moveTo>
                    <a:pt x="475774" y="140208"/>
                  </a:moveTo>
                  <a:lnTo>
                    <a:pt x="26194" y="140208"/>
                  </a:lnTo>
                  <a:cubicBezTo>
                    <a:pt x="15673" y="140208"/>
                    <a:pt x="7144" y="131679"/>
                    <a:pt x="7144" y="121158"/>
                  </a:cubicBezTo>
                  <a:lnTo>
                    <a:pt x="7144" y="95441"/>
                  </a:lnTo>
                  <a:cubicBezTo>
                    <a:pt x="7196" y="46698"/>
                    <a:pt x="46697" y="7196"/>
                    <a:pt x="95441" y="7144"/>
                  </a:cubicBezTo>
                  <a:lnTo>
                    <a:pt x="406241" y="7144"/>
                  </a:lnTo>
                  <a:cubicBezTo>
                    <a:pt x="455059" y="7039"/>
                    <a:pt x="494718" y="46528"/>
                    <a:pt x="494824" y="95345"/>
                  </a:cubicBezTo>
                  <a:cubicBezTo>
                    <a:pt x="494824" y="95472"/>
                    <a:pt x="494824" y="95599"/>
                    <a:pt x="494824" y="95726"/>
                  </a:cubicBezTo>
                  <a:lnTo>
                    <a:pt x="494824" y="121444"/>
                  </a:lnTo>
                  <a:cubicBezTo>
                    <a:pt x="494668" y="131853"/>
                    <a:pt x="486184" y="140209"/>
                    <a:pt x="475774" y="140208"/>
                  </a:cubicBezTo>
                  <a:close/>
                  <a:moveTo>
                    <a:pt x="44958" y="102680"/>
                  </a:moveTo>
                  <a:lnTo>
                    <a:pt x="456724" y="102680"/>
                  </a:lnTo>
                  <a:lnTo>
                    <a:pt x="456724" y="95726"/>
                  </a:lnTo>
                  <a:cubicBezTo>
                    <a:pt x="456724" y="67688"/>
                    <a:pt x="433994" y="44958"/>
                    <a:pt x="405956" y="44958"/>
                  </a:cubicBezTo>
                  <a:lnTo>
                    <a:pt x="95726" y="44958"/>
                  </a:lnTo>
                  <a:cubicBezTo>
                    <a:pt x="67688" y="44958"/>
                    <a:pt x="44958" y="67688"/>
                    <a:pt x="44958" y="95726"/>
                  </a:cubicBezTo>
                  <a:close/>
                </a:path>
              </a:pathLst>
            </a:custGeom>
            <a:solidFill>
              <a:srgbClr val="524F56"/>
            </a:solidFill>
            <a:ln w="9525" cap="flat">
              <a:no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37B88EFF-3037-464A-A259-3627449A101F}"/>
                </a:ext>
              </a:extLst>
            </p:cNvPr>
            <p:cNvSpPr/>
            <p:nvPr/>
          </p:nvSpPr>
          <p:spPr>
            <a:xfrm>
              <a:off x="3205862" y="3152370"/>
              <a:ext cx="114300" cy="114300"/>
            </a:xfrm>
            <a:custGeom>
              <a:avLst/>
              <a:gdLst>
                <a:gd name="connsiteX0" fmla="*/ 25018 w 114300"/>
                <a:gd name="connsiteY0" fmla="*/ 108704 h 114300"/>
                <a:gd name="connsiteX1" fmla="*/ 7181 w 114300"/>
                <a:gd name="connsiteY1" fmla="*/ 88514 h 114300"/>
                <a:gd name="connsiteX2" fmla="*/ 12350 w 114300"/>
                <a:gd name="connsiteY2" fmla="*/ 76605 h 114300"/>
                <a:gd name="connsiteX3" fmla="*/ 79977 w 114300"/>
                <a:gd name="connsiteY3" fmla="*/ 14692 h 114300"/>
                <a:gd name="connsiteX4" fmla="*/ 106665 w 114300"/>
                <a:gd name="connsiteY4" fmla="*/ 11009 h 114300"/>
                <a:gd name="connsiteX5" fmla="*/ 110348 w 114300"/>
                <a:gd name="connsiteY5" fmla="*/ 37697 h 114300"/>
                <a:gd name="connsiteX6" fmla="*/ 105314 w 114300"/>
                <a:gd name="connsiteY6" fmla="*/ 42315 h 114300"/>
                <a:gd name="connsiteX7" fmla="*/ 37686 w 114300"/>
                <a:gd name="connsiteY7" fmla="*/ 104227 h 114300"/>
                <a:gd name="connsiteX8" fmla="*/ 25018 w 114300"/>
                <a:gd name="connsiteY8" fmla="*/ 108704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114300">
                  <a:moveTo>
                    <a:pt x="25018" y="108704"/>
                  </a:moveTo>
                  <a:cubicBezTo>
                    <a:pt x="14517" y="108055"/>
                    <a:pt x="6531" y="99015"/>
                    <a:pt x="7181" y="88514"/>
                  </a:cubicBezTo>
                  <a:cubicBezTo>
                    <a:pt x="7456" y="84062"/>
                    <a:pt x="9286" y="79847"/>
                    <a:pt x="12350" y="76605"/>
                  </a:cubicBezTo>
                  <a:lnTo>
                    <a:pt x="79977" y="14692"/>
                  </a:lnTo>
                  <a:cubicBezTo>
                    <a:pt x="86330" y="6306"/>
                    <a:pt x="98279" y="4657"/>
                    <a:pt x="106665" y="11009"/>
                  </a:cubicBezTo>
                  <a:cubicBezTo>
                    <a:pt x="115052" y="17362"/>
                    <a:pt x="116701" y="29310"/>
                    <a:pt x="110348" y="37697"/>
                  </a:cubicBezTo>
                  <a:cubicBezTo>
                    <a:pt x="108962" y="39527"/>
                    <a:pt x="107257" y="41092"/>
                    <a:pt x="105314" y="42315"/>
                  </a:cubicBezTo>
                  <a:lnTo>
                    <a:pt x="37686" y="104227"/>
                  </a:lnTo>
                  <a:cubicBezTo>
                    <a:pt x="34148" y="107209"/>
                    <a:pt x="29644" y="108800"/>
                    <a:pt x="25018" y="108704"/>
                  </a:cubicBezTo>
                  <a:close/>
                </a:path>
              </a:pathLst>
            </a:custGeom>
            <a:solidFill>
              <a:srgbClr val="524F56"/>
            </a:solidFill>
            <a:ln w="9525" cap="flat">
              <a:no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8B7539D3-2208-44D0-97C6-B7A61EA3893B}"/>
                </a:ext>
              </a:extLst>
            </p:cNvPr>
            <p:cNvSpPr/>
            <p:nvPr/>
          </p:nvSpPr>
          <p:spPr>
            <a:xfrm>
              <a:off x="3277809" y="3229046"/>
              <a:ext cx="133350" cy="123825"/>
            </a:xfrm>
            <a:custGeom>
              <a:avLst/>
              <a:gdLst>
                <a:gd name="connsiteX0" fmla="*/ 25461 w 133350"/>
                <a:gd name="connsiteY0" fmla="*/ 121563 h 123825"/>
                <a:gd name="connsiteX1" fmla="*/ 7158 w 133350"/>
                <a:gd name="connsiteY1" fmla="*/ 101794 h 123825"/>
                <a:gd name="connsiteX2" fmla="*/ 12793 w 133350"/>
                <a:gd name="connsiteY2" fmla="*/ 88987 h 123825"/>
                <a:gd name="connsiteX3" fmla="*/ 93756 w 133350"/>
                <a:gd name="connsiteY3" fmla="*/ 14692 h 123825"/>
                <a:gd name="connsiteX4" fmla="*/ 120443 w 133350"/>
                <a:gd name="connsiteY4" fmla="*/ 11009 h 123825"/>
                <a:gd name="connsiteX5" fmla="*/ 124127 w 133350"/>
                <a:gd name="connsiteY5" fmla="*/ 37697 h 123825"/>
                <a:gd name="connsiteX6" fmla="*/ 119092 w 133350"/>
                <a:gd name="connsiteY6" fmla="*/ 42315 h 123825"/>
                <a:gd name="connsiteX7" fmla="*/ 38130 w 133350"/>
                <a:gd name="connsiteY7" fmla="*/ 116610 h 123825"/>
                <a:gd name="connsiteX8" fmla="*/ 25461 w 133350"/>
                <a:gd name="connsiteY8" fmla="*/ 121563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50" h="123825">
                  <a:moveTo>
                    <a:pt x="25461" y="121563"/>
                  </a:moveTo>
                  <a:cubicBezTo>
                    <a:pt x="14948" y="121158"/>
                    <a:pt x="6753" y="112308"/>
                    <a:pt x="7158" y="101794"/>
                  </a:cubicBezTo>
                  <a:cubicBezTo>
                    <a:pt x="7344" y="96965"/>
                    <a:pt x="9358" y="92387"/>
                    <a:pt x="12793" y="88987"/>
                  </a:cubicBezTo>
                  <a:lnTo>
                    <a:pt x="93756" y="14692"/>
                  </a:lnTo>
                  <a:cubicBezTo>
                    <a:pt x="100108" y="6306"/>
                    <a:pt x="112057" y="4657"/>
                    <a:pt x="120443" y="11009"/>
                  </a:cubicBezTo>
                  <a:cubicBezTo>
                    <a:pt x="128830" y="17362"/>
                    <a:pt x="130479" y="29310"/>
                    <a:pt x="124127" y="37697"/>
                  </a:cubicBezTo>
                  <a:cubicBezTo>
                    <a:pt x="122740" y="39527"/>
                    <a:pt x="121035" y="41092"/>
                    <a:pt x="119092" y="42315"/>
                  </a:cubicBezTo>
                  <a:lnTo>
                    <a:pt x="38130" y="116610"/>
                  </a:lnTo>
                  <a:cubicBezTo>
                    <a:pt x="34660" y="119764"/>
                    <a:pt x="30150" y="121527"/>
                    <a:pt x="25461" y="121563"/>
                  </a:cubicBezTo>
                  <a:close/>
                </a:path>
              </a:pathLst>
            </a:custGeom>
            <a:solidFill>
              <a:srgbClr val="524F56"/>
            </a:solidFill>
            <a:ln w="9525" cap="flat">
              <a:no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599563CA-4D09-4C3E-8E8F-2863E1ABA7EC}"/>
                </a:ext>
              </a:extLst>
            </p:cNvPr>
            <p:cNvSpPr/>
            <p:nvPr/>
          </p:nvSpPr>
          <p:spPr>
            <a:xfrm>
              <a:off x="3699034" y="2866482"/>
              <a:ext cx="57150" cy="447675"/>
            </a:xfrm>
            <a:custGeom>
              <a:avLst/>
              <a:gdLst>
                <a:gd name="connsiteX0" fmla="*/ 39529 w 57150"/>
                <a:gd name="connsiteY0" fmla="*/ 446980 h 447675"/>
                <a:gd name="connsiteX1" fmla="*/ 20479 w 57150"/>
                <a:gd name="connsiteY1" fmla="*/ 428787 h 447675"/>
                <a:gd name="connsiteX2" fmla="*/ 7144 w 57150"/>
                <a:gd name="connsiteY2" fmla="*/ 23022 h 447675"/>
                <a:gd name="connsiteX3" fmla="*/ 29102 w 57150"/>
                <a:gd name="connsiteY3" fmla="*/ 7413 h 447675"/>
                <a:gd name="connsiteX4" fmla="*/ 44482 w 57150"/>
                <a:gd name="connsiteY4" fmla="*/ 21879 h 447675"/>
                <a:gd name="connsiteX5" fmla="*/ 57817 w 57150"/>
                <a:gd name="connsiteY5" fmla="*/ 427644 h 447675"/>
                <a:gd name="connsiteX6" fmla="*/ 39719 w 57150"/>
                <a:gd name="connsiteY6" fmla="*/ 446694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447675">
                  <a:moveTo>
                    <a:pt x="39529" y="446980"/>
                  </a:moveTo>
                  <a:cubicBezTo>
                    <a:pt x="29334" y="446991"/>
                    <a:pt x="20938" y="438972"/>
                    <a:pt x="20479" y="428787"/>
                  </a:cubicBezTo>
                  <a:lnTo>
                    <a:pt x="7144" y="23022"/>
                  </a:lnTo>
                  <a:cubicBezTo>
                    <a:pt x="8897" y="12649"/>
                    <a:pt x="18728" y="5660"/>
                    <a:pt x="29102" y="7413"/>
                  </a:cubicBezTo>
                  <a:cubicBezTo>
                    <a:pt x="36676" y="8693"/>
                    <a:pt x="42741" y="14397"/>
                    <a:pt x="44482" y="21879"/>
                  </a:cubicBezTo>
                  <a:lnTo>
                    <a:pt x="57817" y="427644"/>
                  </a:lnTo>
                  <a:cubicBezTo>
                    <a:pt x="57829" y="437804"/>
                    <a:pt x="49867" y="446186"/>
                    <a:pt x="39719" y="446694"/>
                  </a:cubicBezTo>
                  <a:close/>
                </a:path>
              </a:pathLst>
            </a:custGeom>
            <a:solidFill>
              <a:srgbClr val="524F56"/>
            </a:solidFill>
            <a:ln w="9525"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6A43A220-562C-4D02-8BB8-AA23648F7897}"/>
                </a:ext>
              </a:extLst>
            </p:cNvPr>
            <p:cNvSpPr/>
            <p:nvPr/>
          </p:nvSpPr>
          <p:spPr>
            <a:xfrm>
              <a:off x="3235827" y="2800802"/>
              <a:ext cx="447675" cy="57150"/>
            </a:xfrm>
            <a:custGeom>
              <a:avLst/>
              <a:gdLst>
                <a:gd name="connsiteX0" fmla="*/ 432250 w 447675"/>
                <a:gd name="connsiteY0" fmla="*/ 52602 h 57150"/>
                <a:gd name="connsiteX1" fmla="*/ 432250 w 447675"/>
                <a:gd name="connsiteY1" fmla="*/ 52602 h 57150"/>
                <a:gd name="connsiteX2" fmla="*/ 29343 w 447675"/>
                <a:gd name="connsiteY2" fmla="*/ 44982 h 57150"/>
                <a:gd name="connsiteX3" fmla="*/ 7408 w 447675"/>
                <a:gd name="connsiteY3" fmla="*/ 29340 h 57150"/>
                <a:gd name="connsiteX4" fmla="*/ 23051 w 447675"/>
                <a:gd name="connsiteY4" fmla="*/ 7405 h 57150"/>
                <a:gd name="connsiteX5" fmla="*/ 30105 w 447675"/>
                <a:gd name="connsiteY5" fmla="*/ 7549 h 57150"/>
                <a:gd name="connsiteX6" fmla="*/ 433012 w 447675"/>
                <a:gd name="connsiteY6" fmla="*/ 15264 h 57150"/>
                <a:gd name="connsiteX7" fmla="*/ 448181 w 447675"/>
                <a:gd name="connsiteY7" fmla="*/ 37529 h 57150"/>
                <a:gd name="connsiteX8" fmla="*/ 433012 w 447675"/>
                <a:gd name="connsiteY8" fmla="*/ 52697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7675" h="57150">
                  <a:moveTo>
                    <a:pt x="432250" y="52602"/>
                  </a:moveTo>
                  <a:lnTo>
                    <a:pt x="432250" y="52602"/>
                  </a:lnTo>
                  <a:lnTo>
                    <a:pt x="29343" y="44982"/>
                  </a:lnTo>
                  <a:cubicBezTo>
                    <a:pt x="18966" y="46720"/>
                    <a:pt x="9146" y="39716"/>
                    <a:pt x="7408" y="29340"/>
                  </a:cubicBezTo>
                  <a:cubicBezTo>
                    <a:pt x="5671" y="18963"/>
                    <a:pt x="12674" y="9143"/>
                    <a:pt x="23051" y="7405"/>
                  </a:cubicBezTo>
                  <a:cubicBezTo>
                    <a:pt x="25390" y="7014"/>
                    <a:pt x="27783" y="7062"/>
                    <a:pt x="30105" y="7549"/>
                  </a:cubicBezTo>
                  <a:lnTo>
                    <a:pt x="433012" y="15264"/>
                  </a:lnTo>
                  <a:cubicBezTo>
                    <a:pt x="443349" y="17224"/>
                    <a:pt x="450140" y="27192"/>
                    <a:pt x="448181" y="37529"/>
                  </a:cubicBezTo>
                  <a:cubicBezTo>
                    <a:pt x="446722" y="45222"/>
                    <a:pt x="440705" y="51239"/>
                    <a:pt x="433012" y="52697"/>
                  </a:cubicBezTo>
                  <a:close/>
                </a:path>
              </a:pathLst>
            </a:custGeom>
            <a:solidFill>
              <a:srgbClr val="524F56"/>
            </a:solidFill>
            <a:ln w="9525"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AA9F388B-6F32-439A-95AC-3AF5F4516D9A}"/>
                </a:ext>
              </a:extLst>
            </p:cNvPr>
            <p:cNvSpPr/>
            <p:nvPr/>
          </p:nvSpPr>
          <p:spPr>
            <a:xfrm>
              <a:off x="3650075" y="2751867"/>
              <a:ext cx="161925" cy="161925"/>
            </a:xfrm>
            <a:custGeom>
              <a:avLst/>
              <a:gdLst>
                <a:gd name="connsiteX0" fmla="*/ 73438 w 161925"/>
                <a:gd name="connsiteY0" fmla="*/ 155544 h 161925"/>
                <a:gd name="connsiteX1" fmla="*/ 58103 w 161925"/>
                <a:gd name="connsiteY1" fmla="*/ 149352 h 161925"/>
                <a:gd name="connsiteX2" fmla="*/ 57436 w 161925"/>
                <a:gd name="connsiteY2" fmla="*/ 148686 h 161925"/>
                <a:gd name="connsiteX3" fmla="*/ 12669 w 161925"/>
                <a:gd name="connsiteY3" fmla="*/ 99156 h 161925"/>
                <a:gd name="connsiteX4" fmla="*/ 7144 w 161925"/>
                <a:gd name="connsiteY4" fmla="*/ 85154 h 161925"/>
                <a:gd name="connsiteX5" fmla="*/ 13335 w 161925"/>
                <a:gd name="connsiteY5" fmla="*/ 70485 h 161925"/>
                <a:gd name="connsiteX6" fmla="*/ 75819 w 161925"/>
                <a:gd name="connsiteY6" fmla="*/ 12859 h 161925"/>
                <a:gd name="connsiteX7" fmla="*/ 89916 w 161925"/>
                <a:gd name="connsiteY7" fmla="*/ 7144 h 161925"/>
                <a:gd name="connsiteX8" fmla="*/ 89916 w 161925"/>
                <a:gd name="connsiteY8" fmla="*/ 7144 h 161925"/>
                <a:gd name="connsiteX9" fmla="*/ 104585 w 161925"/>
                <a:gd name="connsiteY9" fmla="*/ 13335 h 161925"/>
                <a:gd name="connsiteX10" fmla="*/ 150400 w 161925"/>
                <a:gd name="connsiteY10" fmla="*/ 63437 h 161925"/>
                <a:gd name="connsiteX11" fmla="*/ 156115 w 161925"/>
                <a:gd name="connsiteY11" fmla="*/ 77534 h 161925"/>
                <a:gd name="connsiteX12" fmla="*/ 149924 w 161925"/>
                <a:gd name="connsiteY12" fmla="*/ 92202 h 161925"/>
                <a:gd name="connsiteX13" fmla="*/ 87440 w 161925"/>
                <a:gd name="connsiteY13" fmla="*/ 149352 h 161925"/>
                <a:gd name="connsiteX14" fmla="*/ 73438 w 161925"/>
                <a:gd name="connsiteY14" fmla="*/ 155544 h 161925"/>
                <a:gd name="connsiteX15" fmla="*/ 62865 w 161925"/>
                <a:gd name="connsiteY15" fmla="*/ 122016 h 161925"/>
                <a:gd name="connsiteX16" fmla="*/ 61913 w 161925"/>
                <a:gd name="connsiteY16" fmla="*/ 122873 h 161925"/>
                <a:gd name="connsiteX17" fmla="*/ 51435 w 161925"/>
                <a:gd name="connsiteY17" fmla="*/ 86583 h 161925"/>
                <a:gd name="connsiteX18" fmla="*/ 74295 w 161925"/>
                <a:gd name="connsiteY18" fmla="*/ 111824 h 161925"/>
                <a:gd name="connsiteX19" fmla="*/ 112300 w 161925"/>
                <a:gd name="connsiteY19" fmla="*/ 77058 h 161925"/>
                <a:gd name="connsiteX20" fmla="*/ 89250 w 161925"/>
                <a:gd name="connsiteY20" fmla="*/ 52102 h 161925"/>
                <a:gd name="connsiteX21" fmla="*/ 122968 w 161925"/>
                <a:gd name="connsiteY21" fmla="*/ 88773 h 161925"/>
                <a:gd name="connsiteX22" fmla="*/ 123825 w 161925"/>
                <a:gd name="connsiteY22" fmla="*/ 89726 h 161925"/>
                <a:gd name="connsiteX23" fmla="*/ 39815 w 161925"/>
                <a:gd name="connsiteY23" fmla="*/ 73724 h 161925"/>
                <a:gd name="connsiteX24" fmla="*/ 40863 w 161925"/>
                <a:gd name="connsiteY24" fmla="*/ 74867 h 161925"/>
                <a:gd name="connsiteX25" fmla="*/ 101727 w 161925"/>
                <a:gd name="connsiteY25" fmla="*/ 40196 h 161925"/>
                <a:gd name="connsiteX26" fmla="*/ 100870 w 161925"/>
                <a:gd name="connsiteY26" fmla="*/ 4105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1925" h="161925">
                  <a:moveTo>
                    <a:pt x="73438" y="155544"/>
                  </a:moveTo>
                  <a:cubicBezTo>
                    <a:pt x="67708" y="155594"/>
                    <a:pt x="62192" y="153367"/>
                    <a:pt x="58103" y="149352"/>
                  </a:cubicBezTo>
                  <a:lnTo>
                    <a:pt x="57436" y="148686"/>
                  </a:lnTo>
                  <a:lnTo>
                    <a:pt x="12669" y="99156"/>
                  </a:lnTo>
                  <a:cubicBezTo>
                    <a:pt x="9091" y="95375"/>
                    <a:pt x="7112" y="90359"/>
                    <a:pt x="7144" y="85154"/>
                  </a:cubicBezTo>
                  <a:cubicBezTo>
                    <a:pt x="7156" y="79632"/>
                    <a:pt x="9387" y="74346"/>
                    <a:pt x="13335" y="70485"/>
                  </a:cubicBezTo>
                  <a:lnTo>
                    <a:pt x="75819" y="12859"/>
                  </a:lnTo>
                  <a:cubicBezTo>
                    <a:pt x="79577" y="9163"/>
                    <a:pt x="84646" y="7108"/>
                    <a:pt x="89916" y="7144"/>
                  </a:cubicBezTo>
                  <a:lnTo>
                    <a:pt x="89916" y="7144"/>
                  </a:lnTo>
                  <a:cubicBezTo>
                    <a:pt x="95439" y="7156"/>
                    <a:pt x="100724" y="9387"/>
                    <a:pt x="104585" y="13335"/>
                  </a:cubicBezTo>
                  <a:lnTo>
                    <a:pt x="150400" y="63437"/>
                  </a:lnTo>
                  <a:cubicBezTo>
                    <a:pt x="154096" y="67194"/>
                    <a:pt x="156151" y="72264"/>
                    <a:pt x="156115" y="77534"/>
                  </a:cubicBezTo>
                  <a:cubicBezTo>
                    <a:pt x="156093" y="83054"/>
                    <a:pt x="153864" y="88336"/>
                    <a:pt x="149924" y="92202"/>
                  </a:cubicBezTo>
                  <a:lnTo>
                    <a:pt x="87440" y="149352"/>
                  </a:lnTo>
                  <a:cubicBezTo>
                    <a:pt x="83772" y="153183"/>
                    <a:pt x="78739" y="155408"/>
                    <a:pt x="73438" y="155544"/>
                  </a:cubicBezTo>
                  <a:close/>
                  <a:moveTo>
                    <a:pt x="62865" y="122016"/>
                  </a:moveTo>
                  <a:lnTo>
                    <a:pt x="61913" y="122873"/>
                  </a:lnTo>
                  <a:close/>
                  <a:moveTo>
                    <a:pt x="51435" y="86583"/>
                  </a:moveTo>
                  <a:lnTo>
                    <a:pt x="74295" y="111824"/>
                  </a:lnTo>
                  <a:lnTo>
                    <a:pt x="112300" y="77058"/>
                  </a:lnTo>
                  <a:lnTo>
                    <a:pt x="89250" y="52102"/>
                  </a:lnTo>
                  <a:close/>
                  <a:moveTo>
                    <a:pt x="122968" y="88773"/>
                  </a:moveTo>
                  <a:lnTo>
                    <a:pt x="123825" y="89726"/>
                  </a:lnTo>
                  <a:close/>
                  <a:moveTo>
                    <a:pt x="39815" y="73724"/>
                  </a:moveTo>
                  <a:lnTo>
                    <a:pt x="40863" y="74867"/>
                  </a:lnTo>
                  <a:close/>
                  <a:moveTo>
                    <a:pt x="101727" y="40196"/>
                  </a:moveTo>
                  <a:lnTo>
                    <a:pt x="100870" y="41053"/>
                  </a:lnTo>
                  <a:close/>
                </a:path>
              </a:pathLst>
            </a:custGeom>
            <a:solidFill>
              <a:srgbClr val="524F56"/>
            </a:solidFill>
            <a:ln w="9525"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A8D363A3-8B00-479E-B5C8-3C942CE6106E}"/>
                </a:ext>
              </a:extLst>
            </p:cNvPr>
            <p:cNvSpPr/>
            <p:nvPr/>
          </p:nvSpPr>
          <p:spPr>
            <a:xfrm>
              <a:off x="3478775" y="2837673"/>
              <a:ext cx="247650" cy="247650"/>
            </a:xfrm>
            <a:custGeom>
              <a:avLst/>
              <a:gdLst>
                <a:gd name="connsiteX0" fmla="*/ 25473 w 247650"/>
                <a:gd name="connsiteY0" fmla="*/ 242426 h 247650"/>
                <a:gd name="connsiteX1" fmla="*/ 7158 w 247650"/>
                <a:gd name="connsiteY1" fmla="*/ 222669 h 247650"/>
                <a:gd name="connsiteX2" fmla="*/ 12328 w 247650"/>
                <a:gd name="connsiteY2" fmla="*/ 210327 h 247650"/>
                <a:gd name="connsiteX3" fmla="*/ 209496 w 247650"/>
                <a:gd name="connsiteY3" fmla="*/ 15065 h 247650"/>
                <a:gd name="connsiteX4" fmla="*/ 236086 w 247650"/>
                <a:gd name="connsiteY4" fmla="*/ 10735 h 247650"/>
                <a:gd name="connsiteX5" fmla="*/ 240416 w 247650"/>
                <a:gd name="connsiteY5" fmla="*/ 37326 h 247650"/>
                <a:gd name="connsiteX6" fmla="*/ 235975 w 247650"/>
                <a:gd name="connsiteY6" fmla="*/ 41735 h 247650"/>
                <a:gd name="connsiteX7" fmla="*/ 38617 w 247650"/>
                <a:gd name="connsiteY7" fmla="*/ 236997 h 247650"/>
                <a:gd name="connsiteX8" fmla="*/ 25473 w 247650"/>
                <a:gd name="connsiteY8" fmla="*/ 24242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650" h="247650">
                  <a:moveTo>
                    <a:pt x="25473" y="242426"/>
                  </a:moveTo>
                  <a:cubicBezTo>
                    <a:pt x="14959" y="242028"/>
                    <a:pt x="6759" y="233182"/>
                    <a:pt x="7158" y="222669"/>
                  </a:cubicBezTo>
                  <a:cubicBezTo>
                    <a:pt x="7332" y="218065"/>
                    <a:pt x="9169" y="213680"/>
                    <a:pt x="12328" y="210327"/>
                  </a:cubicBezTo>
                  <a:lnTo>
                    <a:pt x="209496" y="15065"/>
                  </a:lnTo>
                  <a:cubicBezTo>
                    <a:pt x="215643" y="6526"/>
                    <a:pt x="227548" y="4588"/>
                    <a:pt x="236086" y="10735"/>
                  </a:cubicBezTo>
                  <a:cubicBezTo>
                    <a:pt x="244625" y="16882"/>
                    <a:pt x="246563" y="28787"/>
                    <a:pt x="240416" y="37326"/>
                  </a:cubicBezTo>
                  <a:cubicBezTo>
                    <a:pt x="239189" y="39030"/>
                    <a:pt x="237688" y="40520"/>
                    <a:pt x="235975" y="41735"/>
                  </a:cubicBezTo>
                  <a:lnTo>
                    <a:pt x="38617" y="236997"/>
                  </a:lnTo>
                  <a:cubicBezTo>
                    <a:pt x="35101" y="240436"/>
                    <a:pt x="30391" y="242381"/>
                    <a:pt x="25473" y="242426"/>
                  </a:cubicBezTo>
                  <a:close/>
                </a:path>
              </a:pathLst>
            </a:custGeom>
            <a:solidFill>
              <a:srgbClr val="524F56"/>
            </a:solidFill>
            <a:ln w="9525"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0A213670-F825-42AF-9C3E-A1E54EDFC3FE}"/>
                </a:ext>
              </a:extLst>
            </p:cNvPr>
            <p:cNvSpPr/>
            <p:nvPr/>
          </p:nvSpPr>
          <p:spPr>
            <a:xfrm>
              <a:off x="3796384" y="2514458"/>
              <a:ext cx="257175" cy="276225"/>
            </a:xfrm>
            <a:custGeom>
              <a:avLst/>
              <a:gdLst>
                <a:gd name="connsiteX0" fmla="*/ 242216 w 257175"/>
                <a:gd name="connsiteY0" fmla="*/ 270366 h 276225"/>
                <a:gd name="connsiteX1" fmla="*/ 228404 w 257175"/>
                <a:gd name="connsiteY1" fmla="*/ 258936 h 276225"/>
                <a:gd name="connsiteX2" fmla="*/ 18188 w 257175"/>
                <a:gd name="connsiteY2" fmla="*/ 35003 h 276225"/>
                <a:gd name="connsiteX3" fmla="*/ 7482 w 257175"/>
                <a:gd name="connsiteY3" fmla="*/ 18185 h 276225"/>
                <a:gd name="connsiteX4" fmla="*/ 22379 w 257175"/>
                <a:gd name="connsiteY4" fmla="*/ 7190 h 276225"/>
                <a:gd name="connsiteX5" fmla="*/ 256027 w 257175"/>
                <a:gd name="connsiteY5" fmla="*/ 253792 h 276225"/>
                <a:gd name="connsiteX6" fmla="*/ 244788 w 257175"/>
                <a:gd name="connsiteY6" fmla="*/ 270175 h 276225"/>
                <a:gd name="connsiteX7" fmla="*/ 242216 w 257175"/>
                <a:gd name="connsiteY7" fmla="*/ 270366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175" h="276225">
                  <a:moveTo>
                    <a:pt x="242216" y="270366"/>
                  </a:moveTo>
                  <a:cubicBezTo>
                    <a:pt x="235457" y="270389"/>
                    <a:pt x="229646" y="265580"/>
                    <a:pt x="228404" y="258936"/>
                  </a:cubicBezTo>
                  <a:cubicBezTo>
                    <a:pt x="207640" y="146446"/>
                    <a:pt x="117248" y="50243"/>
                    <a:pt x="18188" y="35003"/>
                  </a:cubicBezTo>
                  <a:cubicBezTo>
                    <a:pt x="10587" y="33315"/>
                    <a:pt x="5794" y="25786"/>
                    <a:pt x="7482" y="18185"/>
                  </a:cubicBezTo>
                  <a:cubicBezTo>
                    <a:pt x="9007" y="11316"/>
                    <a:pt x="15365" y="6623"/>
                    <a:pt x="22379" y="7190"/>
                  </a:cubicBezTo>
                  <a:cubicBezTo>
                    <a:pt x="132773" y="24240"/>
                    <a:pt x="233167" y="130253"/>
                    <a:pt x="256027" y="253792"/>
                  </a:cubicBezTo>
                  <a:cubicBezTo>
                    <a:pt x="257419" y="261414"/>
                    <a:pt x="252400" y="268731"/>
                    <a:pt x="244788" y="270175"/>
                  </a:cubicBezTo>
                  <a:cubicBezTo>
                    <a:pt x="243940" y="270333"/>
                    <a:pt x="243077" y="270397"/>
                    <a:pt x="242216" y="270366"/>
                  </a:cubicBezTo>
                  <a:close/>
                </a:path>
              </a:pathLst>
            </a:custGeom>
            <a:solidFill>
              <a:srgbClr val="524F56"/>
            </a:solidFill>
            <a:ln w="9525" cap="flat">
              <a:no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3E7F7946-B339-4479-AEC1-20641B5C66E8}"/>
                </a:ext>
              </a:extLst>
            </p:cNvPr>
            <p:cNvSpPr/>
            <p:nvPr/>
          </p:nvSpPr>
          <p:spPr>
            <a:xfrm>
              <a:off x="3779463" y="2598305"/>
              <a:ext cx="190500" cy="190500"/>
            </a:xfrm>
            <a:custGeom>
              <a:avLst/>
              <a:gdLst>
                <a:gd name="connsiteX0" fmla="*/ 170555 w 190500"/>
                <a:gd name="connsiteY0" fmla="*/ 192520 h 190500"/>
                <a:gd name="connsiteX1" fmla="*/ 156743 w 190500"/>
                <a:gd name="connsiteY1" fmla="*/ 181090 h 190500"/>
                <a:gd name="connsiteX2" fmla="*/ 19774 w 190500"/>
                <a:gd name="connsiteY2" fmla="*/ 35262 h 190500"/>
                <a:gd name="connsiteX3" fmla="*/ 7222 w 190500"/>
                <a:gd name="connsiteY3" fmla="*/ 19774 h 190500"/>
                <a:gd name="connsiteX4" fmla="*/ 22710 w 190500"/>
                <a:gd name="connsiteY4" fmla="*/ 7222 h 190500"/>
                <a:gd name="connsiteX5" fmla="*/ 24155 w 190500"/>
                <a:gd name="connsiteY5" fmla="*/ 7449 h 190500"/>
                <a:gd name="connsiteX6" fmla="*/ 184366 w 190500"/>
                <a:gd name="connsiteY6" fmla="*/ 175946 h 190500"/>
                <a:gd name="connsiteX7" fmla="*/ 173412 w 190500"/>
                <a:gd name="connsiteY7" fmla="*/ 192520 h 190500"/>
                <a:gd name="connsiteX8" fmla="*/ 170555 w 190500"/>
                <a:gd name="connsiteY8" fmla="*/ 19252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 h="190500">
                  <a:moveTo>
                    <a:pt x="170555" y="192520"/>
                  </a:moveTo>
                  <a:cubicBezTo>
                    <a:pt x="163795" y="192543"/>
                    <a:pt x="157985" y="187734"/>
                    <a:pt x="156743" y="181090"/>
                  </a:cubicBezTo>
                  <a:cubicBezTo>
                    <a:pt x="141503" y="98127"/>
                    <a:pt x="74733" y="44025"/>
                    <a:pt x="19774" y="35262"/>
                  </a:cubicBezTo>
                  <a:cubicBezTo>
                    <a:pt x="12031" y="34451"/>
                    <a:pt x="6411" y="27517"/>
                    <a:pt x="7222" y="19774"/>
                  </a:cubicBezTo>
                  <a:cubicBezTo>
                    <a:pt x="8032" y="12031"/>
                    <a:pt x="14967" y="6411"/>
                    <a:pt x="22710" y="7222"/>
                  </a:cubicBezTo>
                  <a:cubicBezTo>
                    <a:pt x="23195" y="7272"/>
                    <a:pt x="23678" y="7348"/>
                    <a:pt x="24155" y="7449"/>
                  </a:cubicBezTo>
                  <a:cubicBezTo>
                    <a:pt x="100355" y="19546"/>
                    <a:pt x="168935" y="92031"/>
                    <a:pt x="184366" y="175946"/>
                  </a:cubicBezTo>
                  <a:cubicBezTo>
                    <a:pt x="185889" y="183542"/>
                    <a:pt x="180997" y="190944"/>
                    <a:pt x="173412" y="192520"/>
                  </a:cubicBezTo>
                  <a:cubicBezTo>
                    <a:pt x="172463" y="192637"/>
                    <a:pt x="171503" y="192637"/>
                    <a:pt x="170555" y="192520"/>
                  </a:cubicBezTo>
                  <a:close/>
                </a:path>
              </a:pathLst>
            </a:custGeom>
            <a:solidFill>
              <a:srgbClr val="524F56"/>
            </a:solidFill>
            <a:ln w="9525" cap="flat">
              <a:no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B6483C08-4D30-4197-A5DA-2143B11BDE09}"/>
                </a:ext>
              </a:extLst>
            </p:cNvPr>
            <p:cNvSpPr/>
            <p:nvPr/>
          </p:nvSpPr>
          <p:spPr>
            <a:xfrm>
              <a:off x="3765979" y="2675366"/>
              <a:ext cx="123825" cy="133350"/>
            </a:xfrm>
            <a:custGeom>
              <a:avLst/>
              <a:gdLst>
                <a:gd name="connsiteX0" fmla="*/ 108791 w 123825"/>
                <a:gd name="connsiteY0" fmla="*/ 128508 h 133350"/>
                <a:gd name="connsiteX1" fmla="*/ 94980 w 123825"/>
                <a:gd name="connsiteY1" fmla="*/ 116887 h 133350"/>
                <a:gd name="connsiteX2" fmla="*/ 18780 w 123825"/>
                <a:gd name="connsiteY2" fmla="*/ 34972 h 133350"/>
                <a:gd name="connsiteX3" fmla="*/ 7350 w 123825"/>
                <a:gd name="connsiteY3" fmla="*/ 18780 h 133350"/>
                <a:gd name="connsiteX4" fmla="*/ 23542 w 123825"/>
                <a:gd name="connsiteY4" fmla="*/ 7350 h 133350"/>
                <a:gd name="connsiteX5" fmla="*/ 122602 w 123825"/>
                <a:gd name="connsiteY5" fmla="*/ 112125 h 133350"/>
                <a:gd name="connsiteX6" fmla="*/ 111198 w 123825"/>
                <a:gd name="connsiteY6" fmla="*/ 128313 h 133350"/>
                <a:gd name="connsiteX7" fmla="*/ 111172 w 123825"/>
                <a:gd name="connsiteY7" fmla="*/ 128317 h 133350"/>
                <a:gd name="connsiteX8" fmla="*/ 108791 w 123825"/>
                <a:gd name="connsiteY8" fmla="*/ 12850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133350">
                  <a:moveTo>
                    <a:pt x="108791" y="128508"/>
                  </a:moveTo>
                  <a:cubicBezTo>
                    <a:pt x="101957" y="128554"/>
                    <a:pt x="96103" y="123628"/>
                    <a:pt x="94980" y="116887"/>
                  </a:cubicBezTo>
                  <a:cubicBezTo>
                    <a:pt x="88341" y="76754"/>
                    <a:pt x="58329" y="44491"/>
                    <a:pt x="18780" y="34972"/>
                  </a:cubicBezTo>
                  <a:cubicBezTo>
                    <a:pt x="11152" y="33657"/>
                    <a:pt x="6035" y="26408"/>
                    <a:pt x="7350" y="18780"/>
                  </a:cubicBezTo>
                  <a:cubicBezTo>
                    <a:pt x="8665" y="11152"/>
                    <a:pt x="15915" y="6035"/>
                    <a:pt x="23542" y="7350"/>
                  </a:cubicBezTo>
                  <a:cubicBezTo>
                    <a:pt x="71834" y="15541"/>
                    <a:pt x="113554" y="59642"/>
                    <a:pt x="122602" y="112125"/>
                  </a:cubicBezTo>
                  <a:cubicBezTo>
                    <a:pt x="123923" y="119744"/>
                    <a:pt x="118818" y="126992"/>
                    <a:pt x="111198" y="128313"/>
                  </a:cubicBezTo>
                  <a:cubicBezTo>
                    <a:pt x="111190" y="128314"/>
                    <a:pt x="111181" y="128316"/>
                    <a:pt x="111172" y="128317"/>
                  </a:cubicBezTo>
                  <a:cubicBezTo>
                    <a:pt x="110389" y="128475"/>
                    <a:pt x="109590" y="128539"/>
                    <a:pt x="108791" y="128508"/>
                  </a:cubicBezTo>
                  <a:close/>
                </a:path>
              </a:pathLst>
            </a:custGeom>
            <a:solidFill>
              <a:srgbClr val="524F56"/>
            </a:solidFill>
            <a:ln w="9525" cap="flat">
              <a:noFill/>
              <a:prstDash val="solid"/>
              <a:miter/>
            </a:ln>
          </p:spPr>
          <p:txBody>
            <a:bodyPr rtlCol="0" anchor="ctr"/>
            <a:lstStyle/>
            <a:p>
              <a:endParaRPr lang="en-US" dirty="0"/>
            </a:p>
          </p:txBody>
        </p:sp>
      </p:grpSp>
      <p:grpSp>
        <p:nvGrpSpPr>
          <p:cNvPr id="36" name="Graphic 28">
            <a:extLst>
              <a:ext uri="{FF2B5EF4-FFF2-40B4-BE49-F238E27FC236}">
                <a16:creationId xmlns:a16="http://schemas.microsoft.com/office/drawing/2014/main" id="{E86E3F19-8813-4951-9FDF-E317C1202938}"/>
              </a:ext>
            </a:extLst>
          </p:cNvPr>
          <p:cNvGrpSpPr/>
          <p:nvPr/>
        </p:nvGrpSpPr>
        <p:grpSpPr>
          <a:xfrm>
            <a:off x="9314489" y="4533530"/>
            <a:ext cx="1714500" cy="1714500"/>
            <a:chOff x="846632" y="2362200"/>
            <a:chExt cx="1714500" cy="1714500"/>
          </a:xfrm>
        </p:grpSpPr>
        <p:sp>
          <p:nvSpPr>
            <p:cNvPr id="37" name="Freeform: Shape 36">
              <a:extLst>
                <a:ext uri="{FF2B5EF4-FFF2-40B4-BE49-F238E27FC236}">
                  <a16:creationId xmlns:a16="http://schemas.microsoft.com/office/drawing/2014/main" id="{BDD14020-C5E0-491F-891D-8CA55628A92B}"/>
                </a:ext>
              </a:extLst>
            </p:cNvPr>
            <p:cNvSpPr/>
            <p:nvPr/>
          </p:nvSpPr>
          <p:spPr>
            <a:xfrm>
              <a:off x="1188103" y="2671096"/>
              <a:ext cx="1038225" cy="1038225"/>
            </a:xfrm>
            <a:custGeom>
              <a:avLst/>
              <a:gdLst>
                <a:gd name="connsiteX0" fmla="*/ 521494 w 1038225"/>
                <a:gd name="connsiteY0" fmla="*/ 1035844 h 1038225"/>
                <a:gd name="connsiteX1" fmla="*/ 7144 w 1038225"/>
                <a:gd name="connsiteY1" fmla="*/ 521494 h 1038225"/>
                <a:gd name="connsiteX2" fmla="*/ 521494 w 1038225"/>
                <a:gd name="connsiteY2" fmla="*/ 7144 h 1038225"/>
                <a:gd name="connsiteX3" fmla="*/ 1035844 w 1038225"/>
                <a:gd name="connsiteY3" fmla="*/ 521494 h 1038225"/>
                <a:gd name="connsiteX4" fmla="*/ 521494 w 1038225"/>
                <a:gd name="connsiteY4" fmla="*/ 1035844 h 1038225"/>
                <a:gd name="connsiteX5" fmla="*/ 521494 w 1038225"/>
                <a:gd name="connsiteY5" fmla="*/ 50864 h 1038225"/>
                <a:gd name="connsiteX6" fmla="*/ 50387 w 1038225"/>
                <a:gd name="connsiteY6" fmla="*/ 521398 h 1038225"/>
                <a:gd name="connsiteX7" fmla="*/ 520922 w 1038225"/>
                <a:gd name="connsiteY7" fmla="*/ 992505 h 1038225"/>
                <a:gd name="connsiteX8" fmla="*/ 992029 w 1038225"/>
                <a:gd name="connsiteY8" fmla="*/ 521970 h 1038225"/>
                <a:gd name="connsiteX9" fmla="*/ 992029 w 1038225"/>
                <a:gd name="connsiteY9" fmla="*/ 521684 h 1038225"/>
                <a:gd name="connsiteX10" fmla="*/ 521494 w 1038225"/>
                <a:gd name="connsiteY10" fmla="*/ 50863 h 1038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38225" h="1038225">
                  <a:moveTo>
                    <a:pt x="521494" y="1035844"/>
                  </a:moveTo>
                  <a:cubicBezTo>
                    <a:pt x="237426" y="1035844"/>
                    <a:pt x="7144" y="805561"/>
                    <a:pt x="7144" y="521494"/>
                  </a:cubicBezTo>
                  <a:cubicBezTo>
                    <a:pt x="7144" y="237426"/>
                    <a:pt x="237426" y="7144"/>
                    <a:pt x="521494" y="7144"/>
                  </a:cubicBezTo>
                  <a:cubicBezTo>
                    <a:pt x="805561" y="7144"/>
                    <a:pt x="1035844" y="237426"/>
                    <a:pt x="1035844" y="521494"/>
                  </a:cubicBezTo>
                  <a:cubicBezTo>
                    <a:pt x="1035844" y="805561"/>
                    <a:pt x="805562" y="1035844"/>
                    <a:pt x="521494" y="1035844"/>
                  </a:cubicBezTo>
                  <a:close/>
                  <a:moveTo>
                    <a:pt x="521494" y="50864"/>
                  </a:moveTo>
                  <a:cubicBezTo>
                    <a:pt x="261467" y="50706"/>
                    <a:pt x="50545" y="261371"/>
                    <a:pt x="50387" y="521398"/>
                  </a:cubicBezTo>
                  <a:cubicBezTo>
                    <a:pt x="50230" y="781426"/>
                    <a:pt x="260895" y="992347"/>
                    <a:pt x="520922" y="992505"/>
                  </a:cubicBezTo>
                  <a:cubicBezTo>
                    <a:pt x="780949" y="992663"/>
                    <a:pt x="991871" y="781997"/>
                    <a:pt x="992029" y="521970"/>
                  </a:cubicBezTo>
                  <a:cubicBezTo>
                    <a:pt x="992029" y="521875"/>
                    <a:pt x="992029" y="521779"/>
                    <a:pt x="992029" y="521684"/>
                  </a:cubicBezTo>
                  <a:cubicBezTo>
                    <a:pt x="991714" y="261899"/>
                    <a:pt x="781279" y="51336"/>
                    <a:pt x="521494" y="50863"/>
                  </a:cubicBezTo>
                  <a:close/>
                </a:path>
              </a:pathLst>
            </a:custGeom>
            <a:solidFill>
              <a:srgbClr val="524F56"/>
            </a:solid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F5C6A313-EF85-4298-9E97-B8EA480E799E}"/>
                </a:ext>
              </a:extLst>
            </p:cNvPr>
            <p:cNvSpPr/>
            <p:nvPr/>
          </p:nvSpPr>
          <p:spPr>
            <a:xfrm>
              <a:off x="1406416" y="2671096"/>
              <a:ext cx="600075" cy="1038225"/>
            </a:xfrm>
            <a:custGeom>
              <a:avLst/>
              <a:gdLst>
                <a:gd name="connsiteX0" fmla="*/ 303181 w 600075"/>
                <a:gd name="connsiteY0" fmla="*/ 1035844 h 1038225"/>
                <a:gd name="connsiteX1" fmla="*/ 7144 w 600075"/>
                <a:gd name="connsiteY1" fmla="*/ 521494 h 1038225"/>
                <a:gd name="connsiteX2" fmla="*/ 303181 w 600075"/>
                <a:gd name="connsiteY2" fmla="*/ 7144 h 1038225"/>
                <a:gd name="connsiteX3" fmla="*/ 599123 w 600075"/>
                <a:gd name="connsiteY3" fmla="*/ 521494 h 1038225"/>
                <a:gd name="connsiteX4" fmla="*/ 303181 w 600075"/>
                <a:gd name="connsiteY4" fmla="*/ 1035844 h 1038225"/>
                <a:gd name="connsiteX5" fmla="*/ 303181 w 600075"/>
                <a:gd name="connsiteY5" fmla="*/ 50864 h 1038225"/>
                <a:gd name="connsiteX6" fmla="*/ 50482 w 600075"/>
                <a:gd name="connsiteY6" fmla="*/ 521684 h 1038225"/>
                <a:gd name="connsiteX7" fmla="*/ 303181 w 600075"/>
                <a:gd name="connsiteY7" fmla="*/ 992410 h 1038225"/>
                <a:gd name="connsiteX8" fmla="*/ 555784 w 600075"/>
                <a:gd name="connsiteY8" fmla="*/ 521684 h 1038225"/>
                <a:gd name="connsiteX9" fmla="*/ 303181 w 600075"/>
                <a:gd name="connsiteY9" fmla="*/ 50864 h 1038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0075" h="1038225">
                  <a:moveTo>
                    <a:pt x="303181" y="1035844"/>
                  </a:moveTo>
                  <a:cubicBezTo>
                    <a:pt x="137160" y="1035844"/>
                    <a:pt x="7144" y="810006"/>
                    <a:pt x="7144" y="521494"/>
                  </a:cubicBezTo>
                  <a:cubicBezTo>
                    <a:pt x="7144" y="232981"/>
                    <a:pt x="137160" y="7144"/>
                    <a:pt x="303181" y="7144"/>
                  </a:cubicBezTo>
                  <a:cubicBezTo>
                    <a:pt x="469201" y="7144"/>
                    <a:pt x="599123" y="232886"/>
                    <a:pt x="599123" y="521494"/>
                  </a:cubicBezTo>
                  <a:cubicBezTo>
                    <a:pt x="599123" y="810101"/>
                    <a:pt x="468916" y="1035844"/>
                    <a:pt x="303181" y="1035844"/>
                  </a:cubicBezTo>
                  <a:close/>
                  <a:moveTo>
                    <a:pt x="303181" y="50864"/>
                  </a:moveTo>
                  <a:cubicBezTo>
                    <a:pt x="164116" y="50864"/>
                    <a:pt x="50482" y="262604"/>
                    <a:pt x="50482" y="521684"/>
                  </a:cubicBezTo>
                  <a:cubicBezTo>
                    <a:pt x="50482" y="780764"/>
                    <a:pt x="164116" y="992410"/>
                    <a:pt x="303181" y="992410"/>
                  </a:cubicBezTo>
                  <a:cubicBezTo>
                    <a:pt x="442246" y="992410"/>
                    <a:pt x="555784" y="781240"/>
                    <a:pt x="555784" y="521684"/>
                  </a:cubicBezTo>
                  <a:cubicBezTo>
                    <a:pt x="555784" y="262128"/>
                    <a:pt x="442532" y="50864"/>
                    <a:pt x="303181" y="50864"/>
                  </a:cubicBezTo>
                  <a:close/>
                </a:path>
              </a:pathLst>
            </a:custGeom>
            <a:solidFill>
              <a:srgbClr val="524F56"/>
            </a:solid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408D70FD-1984-43CC-B69B-5DEC9D129201}"/>
                </a:ext>
              </a:extLst>
            </p:cNvPr>
            <p:cNvSpPr/>
            <p:nvPr/>
          </p:nvSpPr>
          <p:spPr>
            <a:xfrm>
              <a:off x="1680832" y="2693194"/>
              <a:ext cx="57150" cy="1000125"/>
            </a:xfrm>
            <a:custGeom>
              <a:avLst/>
              <a:gdLst>
                <a:gd name="connsiteX0" fmla="*/ 7144 w 57150"/>
                <a:gd name="connsiteY0" fmla="*/ 7144 h 1000125"/>
                <a:gd name="connsiteX1" fmla="*/ 50483 w 57150"/>
                <a:gd name="connsiteY1" fmla="*/ 7144 h 1000125"/>
                <a:gd name="connsiteX2" fmla="*/ 50483 w 57150"/>
                <a:gd name="connsiteY2" fmla="*/ 992981 h 1000125"/>
                <a:gd name="connsiteX3" fmla="*/ 7144 w 57150"/>
                <a:gd name="connsiteY3" fmla="*/ 992981 h 1000125"/>
              </a:gdLst>
              <a:ahLst/>
              <a:cxnLst>
                <a:cxn ang="0">
                  <a:pos x="connsiteX0" y="connsiteY0"/>
                </a:cxn>
                <a:cxn ang="0">
                  <a:pos x="connsiteX1" y="connsiteY1"/>
                </a:cxn>
                <a:cxn ang="0">
                  <a:pos x="connsiteX2" y="connsiteY2"/>
                </a:cxn>
                <a:cxn ang="0">
                  <a:pos x="connsiteX3" y="connsiteY3"/>
                </a:cxn>
              </a:cxnLst>
              <a:rect l="l" t="t" r="r" b="b"/>
              <a:pathLst>
                <a:path w="57150" h="1000125">
                  <a:moveTo>
                    <a:pt x="7144" y="7144"/>
                  </a:moveTo>
                  <a:lnTo>
                    <a:pt x="50483" y="7144"/>
                  </a:lnTo>
                  <a:lnTo>
                    <a:pt x="50483" y="992981"/>
                  </a:lnTo>
                  <a:lnTo>
                    <a:pt x="7144" y="992981"/>
                  </a:lnTo>
                  <a:close/>
                </a:path>
              </a:pathLst>
            </a:custGeom>
            <a:solidFill>
              <a:srgbClr val="524F56"/>
            </a:solidFill>
            <a:ln w="9525"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47D4BBDD-BFDB-4CD6-986E-17302E41056A}"/>
                </a:ext>
              </a:extLst>
            </p:cNvPr>
            <p:cNvSpPr/>
            <p:nvPr/>
          </p:nvSpPr>
          <p:spPr>
            <a:xfrm>
              <a:off x="1270018" y="3409664"/>
              <a:ext cx="876300" cy="57150"/>
            </a:xfrm>
            <a:custGeom>
              <a:avLst/>
              <a:gdLst>
                <a:gd name="connsiteX0" fmla="*/ 7144 w 876300"/>
                <a:gd name="connsiteY0" fmla="*/ 7144 h 57150"/>
                <a:gd name="connsiteX1" fmla="*/ 872014 w 876300"/>
                <a:gd name="connsiteY1" fmla="*/ 7144 h 57150"/>
                <a:gd name="connsiteX2" fmla="*/ 872014 w 876300"/>
                <a:gd name="connsiteY2" fmla="*/ 50483 h 57150"/>
                <a:gd name="connsiteX3" fmla="*/ 7144 w 876300"/>
                <a:gd name="connsiteY3" fmla="*/ 50483 h 57150"/>
              </a:gdLst>
              <a:ahLst/>
              <a:cxnLst>
                <a:cxn ang="0">
                  <a:pos x="connsiteX0" y="connsiteY0"/>
                </a:cxn>
                <a:cxn ang="0">
                  <a:pos x="connsiteX1" y="connsiteY1"/>
                </a:cxn>
                <a:cxn ang="0">
                  <a:pos x="connsiteX2" y="connsiteY2"/>
                </a:cxn>
                <a:cxn ang="0">
                  <a:pos x="connsiteX3" y="connsiteY3"/>
                </a:cxn>
              </a:cxnLst>
              <a:rect l="l" t="t" r="r" b="b"/>
              <a:pathLst>
                <a:path w="876300" h="57150">
                  <a:moveTo>
                    <a:pt x="7144" y="7144"/>
                  </a:moveTo>
                  <a:lnTo>
                    <a:pt x="872014" y="7144"/>
                  </a:lnTo>
                  <a:lnTo>
                    <a:pt x="872014" y="50483"/>
                  </a:lnTo>
                  <a:lnTo>
                    <a:pt x="7144" y="50483"/>
                  </a:lnTo>
                  <a:close/>
                </a:path>
              </a:pathLst>
            </a:custGeom>
            <a:solidFill>
              <a:srgbClr val="524F56"/>
            </a:solid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4BD343BD-2B75-48CD-BEE2-01B0EDC53F17}"/>
                </a:ext>
              </a:extLst>
            </p:cNvPr>
            <p:cNvSpPr/>
            <p:nvPr/>
          </p:nvSpPr>
          <p:spPr>
            <a:xfrm>
              <a:off x="1210011" y="3142107"/>
              <a:ext cx="990600" cy="57150"/>
            </a:xfrm>
            <a:custGeom>
              <a:avLst/>
              <a:gdLst>
                <a:gd name="connsiteX0" fmla="*/ 7144 w 990600"/>
                <a:gd name="connsiteY0" fmla="*/ 7144 h 57150"/>
                <a:gd name="connsiteX1" fmla="*/ 992029 w 990600"/>
                <a:gd name="connsiteY1" fmla="*/ 7144 h 57150"/>
                <a:gd name="connsiteX2" fmla="*/ 992029 w 990600"/>
                <a:gd name="connsiteY2" fmla="*/ 50483 h 57150"/>
                <a:gd name="connsiteX3" fmla="*/ 7144 w 990600"/>
                <a:gd name="connsiteY3" fmla="*/ 50483 h 57150"/>
              </a:gdLst>
              <a:ahLst/>
              <a:cxnLst>
                <a:cxn ang="0">
                  <a:pos x="connsiteX0" y="connsiteY0"/>
                </a:cxn>
                <a:cxn ang="0">
                  <a:pos x="connsiteX1" y="connsiteY1"/>
                </a:cxn>
                <a:cxn ang="0">
                  <a:pos x="connsiteX2" y="connsiteY2"/>
                </a:cxn>
                <a:cxn ang="0">
                  <a:pos x="connsiteX3" y="connsiteY3"/>
                </a:cxn>
              </a:cxnLst>
              <a:rect l="l" t="t" r="r" b="b"/>
              <a:pathLst>
                <a:path w="990600" h="57150">
                  <a:moveTo>
                    <a:pt x="7144" y="7144"/>
                  </a:moveTo>
                  <a:lnTo>
                    <a:pt x="992029" y="7144"/>
                  </a:lnTo>
                  <a:lnTo>
                    <a:pt x="992029" y="50483"/>
                  </a:lnTo>
                  <a:lnTo>
                    <a:pt x="7144" y="50483"/>
                  </a:lnTo>
                  <a:close/>
                </a:path>
              </a:pathLst>
            </a:custGeom>
            <a:solidFill>
              <a:srgbClr val="524F56"/>
            </a:solidFill>
            <a:ln w="9525"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7AE4C540-8F4C-4FD9-908B-F2BA61603C49}"/>
                </a:ext>
              </a:extLst>
            </p:cNvPr>
            <p:cNvSpPr/>
            <p:nvPr/>
          </p:nvSpPr>
          <p:spPr>
            <a:xfrm>
              <a:off x="1309071" y="2874359"/>
              <a:ext cx="800100" cy="57150"/>
            </a:xfrm>
            <a:custGeom>
              <a:avLst/>
              <a:gdLst>
                <a:gd name="connsiteX0" fmla="*/ 7144 w 800100"/>
                <a:gd name="connsiteY0" fmla="*/ 7144 h 57150"/>
                <a:gd name="connsiteX1" fmla="*/ 799624 w 800100"/>
                <a:gd name="connsiteY1" fmla="*/ 7144 h 57150"/>
                <a:gd name="connsiteX2" fmla="*/ 799624 w 800100"/>
                <a:gd name="connsiteY2" fmla="*/ 50482 h 57150"/>
                <a:gd name="connsiteX3" fmla="*/ 7144 w 800100"/>
                <a:gd name="connsiteY3" fmla="*/ 50482 h 57150"/>
              </a:gdLst>
              <a:ahLst/>
              <a:cxnLst>
                <a:cxn ang="0">
                  <a:pos x="connsiteX0" y="connsiteY0"/>
                </a:cxn>
                <a:cxn ang="0">
                  <a:pos x="connsiteX1" y="connsiteY1"/>
                </a:cxn>
                <a:cxn ang="0">
                  <a:pos x="connsiteX2" y="connsiteY2"/>
                </a:cxn>
                <a:cxn ang="0">
                  <a:pos x="connsiteX3" y="connsiteY3"/>
                </a:cxn>
              </a:cxnLst>
              <a:rect l="l" t="t" r="r" b="b"/>
              <a:pathLst>
                <a:path w="800100" h="57150">
                  <a:moveTo>
                    <a:pt x="7144" y="7144"/>
                  </a:moveTo>
                  <a:lnTo>
                    <a:pt x="799624" y="7144"/>
                  </a:lnTo>
                  <a:lnTo>
                    <a:pt x="799624" y="50482"/>
                  </a:lnTo>
                  <a:lnTo>
                    <a:pt x="7144" y="50482"/>
                  </a:lnTo>
                  <a:close/>
                </a:path>
              </a:pathLst>
            </a:custGeom>
            <a:solidFill>
              <a:srgbClr val="524F56"/>
            </a:solidFill>
            <a:ln w="9525" cap="flat">
              <a:noFill/>
              <a:prstDash val="solid"/>
              <a:miter/>
            </a:ln>
          </p:spPr>
          <p:txBody>
            <a:bodyPr rtlCol="0" anchor="ctr"/>
            <a:lstStyle/>
            <a:p>
              <a:endParaRPr lang="en-US" dirty="0"/>
            </a:p>
          </p:txBody>
        </p:sp>
      </p:grpSp>
      <p:grpSp>
        <p:nvGrpSpPr>
          <p:cNvPr id="43" name="Graphic 16">
            <a:extLst>
              <a:ext uri="{FF2B5EF4-FFF2-40B4-BE49-F238E27FC236}">
                <a16:creationId xmlns:a16="http://schemas.microsoft.com/office/drawing/2014/main" id="{C08068D4-6D6F-4000-AC79-AE2589714452}"/>
              </a:ext>
            </a:extLst>
          </p:cNvPr>
          <p:cNvGrpSpPr/>
          <p:nvPr/>
        </p:nvGrpSpPr>
        <p:grpSpPr>
          <a:xfrm>
            <a:off x="9844253" y="1737648"/>
            <a:ext cx="1714500" cy="1714500"/>
            <a:chOff x="2667000" y="540583"/>
            <a:chExt cx="1714500" cy="1714500"/>
          </a:xfrm>
        </p:grpSpPr>
        <p:sp>
          <p:nvSpPr>
            <p:cNvPr id="44" name="Freeform: Shape 43">
              <a:extLst>
                <a:ext uri="{FF2B5EF4-FFF2-40B4-BE49-F238E27FC236}">
                  <a16:creationId xmlns:a16="http://schemas.microsoft.com/office/drawing/2014/main" id="{08AB3874-DBA3-4D59-B3CF-2B4AA83EB4FF}"/>
                </a:ext>
              </a:extLst>
            </p:cNvPr>
            <p:cNvSpPr/>
            <p:nvPr/>
          </p:nvSpPr>
          <p:spPr>
            <a:xfrm>
              <a:off x="3330037" y="972994"/>
              <a:ext cx="847725" cy="847725"/>
            </a:xfrm>
            <a:custGeom>
              <a:avLst/>
              <a:gdLst>
                <a:gd name="connsiteX0" fmla="*/ 372426 w 847725"/>
                <a:gd name="connsiteY0" fmla="*/ 842415 h 847725"/>
                <a:gd name="connsiteX1" fmla="*/ 368902 w 847725"/>
                <a:gd name="connsiteY1" fmla="*/ 842415 h 847725"/>
                <a:gd name="connsiteX2" fmla="*/ 349852 w 847725"/>
                <a:gd name="connsiteY2" fmla="*/ 831557 h 847725"/>
                <a:gd name="connsiteX3" fmla="*/ 344232 w 847725"/>
                <a:gd name="connsiteY3" fmla="*/ 819365 h 847725"/>
                <a:gd name="connsiteX4" fmla="*/ 332707 w 847725"/>
                <a:gd name="connsiteY4" fmla="*/ 735354 h 847725"/>
                <a:gd name="connsiteX5" fmla="*/ 325754 w 847725"/>
                <a:gd name="connsiteY5" fmla="*/ 681252 h 847725"/>
                <a:gd name="connsiteX6" fmla="*/ 299369 w 847725"/>
                <a:gd name="connsiteY6" fmla="*/ 701541 h 847725"/>
                <a:gd name="connsiteX7" fmla="*/ 269842 w 847725"/>
                <a:gd name="connsiteY7" fmla="*/ 723353 h 847725"/>
                <a:gd name="connsiteX8" fmla="*/ 215454 w 847725"/>
                <a:gd name="connsiteY8" fmla="*/ 719352 h 847725"/>
                <a:gd name="connsiteX9" fmla="*/ 130110 w 847725"/>
                <a:gd name="connsiteY9" fmla="*/ 634389 h 847725"/>
                <a:gd name="connsiteX10" fmla="*/ 127062 w 847725"/>
                <a:gd name="connsiteY10" fmla="*/ 578954 h 847725"/>
                <a:gd name="connsiteX11" fmla="*/ 146112 w 847725"/>
                <a:gd name="connsiteY11" fmla="*/ 554284 h 847725"/>
                <a:gd name="connsiteX12" fmla="*/ 169067 w 847725"/>
                <a:gd name="connsiteY12" fmla="*/ 524471 h 847725"/>
                <a:gd name="connsiteX13" fmla="*/ 109250 w 847725"/>
                <a:gd name="connsiteY13" fmla="*/ 516470 h 847725"/>
                <a:gd name="connsiteX14" fmla="*/ 29812 w 847725"/>
                <a:gd name="connsiteY14" fmla="*/ 505421 h 847725"/>
                <a:gd name="connsiteX15" fmla="*/ 7768 w 847725"/>
                <a:gd name="connsiteY15" fmla="*/ 471551 h 847725"/>
                <a:gd name="connsiteX16" fmla="*/ 7904 w 847725"/>
                <a:gd name="connsiteY16" fmla="*/ 470940 h 847725"/>
                <a:gd name="connsiteX17" fmla="*/ 13238 w 847725"/>
                <a:gd name="connsiteY17" fmla="*/ 458844 h 847725"/>
                <a:gd name="connsiteX18" fmla="*/ 36765 w 847725"/>
                <a:gd name="connsiteY18" fmla="*/ 428840 h 847725"/>
                <a:gd name="connsiteX19" fmla="*/ 66959 w 847725"/>
                <a:gd name="connsiteY19" fmla="*/ 389216 h 847725"/>
                <a:gd name="connsiteX20" fmla="*/ 71722 w 847725"/>
                <a:gd name="connsiteY20" fmla="*/ 382548 h 847725"/>
                <a:gd name="connsiteX21" fmla="*/ 114584 w 847725"/>
                <a:gd name="connsiteY21" fmla="*/ 362260 h 847725"/>
                <a:gd name="connsiteX22" fmla="*/ 273271 w 847725"/>
                <a:gd name="connsiteY22" fmla="*/ 363594 h 847725"/>
                <a:gd name="connsiteX23" fmla="*/ 278414 w 847725"/>
                <a:gd name="connsiteY23" fmla="*/ 360927 h 847725"/>
                <a:gd name="connsiteX24" fmla="*/ 341089 w 847725"/>
                <a:gd name="connsiteY24" fmla="*/ 288156 h 847725"/>
                <a:gd name="connsiteX25" fmla="*/ 466533 w 847725"/>
                <a:gd name="connsiteY25" fmla="*/ 146233 h 847725"/>
                <a:gd name="connsiteX26" fmla="*/ 702086 w 847725"/>
                <a:gd name="connsiteY26" fmla="*/ 22408 h 847725"/>
                <a:gd name="connsiteX27" fmla="*/ 814577 w 847725"/>
                <a:gd name="connsiteY27" fmla="*/ 7263 h 847725"/>
                <a:gd name="connsiteX28" fmla="*/ 841913 w 847725"/>
                <a:gd name="connsiteY28" fmla="*/ 29552 h 847725"/>
                <a:gd name="connsiteX29" fmla="*/ 841913 w 847725"/>
                <a:gd name="connsiteY29" fmla="*/ 34029 h 847725"/>
                <a:gd name="connsiteX30" fmla="*/ 836294 w 847725"/>
                <a:gd name="connsiteY30" fmla="*/ 91179 h 847725"/>
                <a:gd name="connsiteX31" fmla="*/ 751521 w 847725"/>
                <a:gd name="connsiteY31" fmla="*/ 324541 h 847725"/>
                <a:gd name="connsiteX32" fmla="*/ 628268 w 847725"/>
                <a:gd name="connsiteY32" fmla="*/ 451509 h 847725"/>
                <a:gd name="connsiteX33" fmla="*/ 548639 w 847725"/>
                <a:gd name="connsiteY33" fmla="*/ 519232 h 847725"/>
                <a:gd name="connsiteX34" fmla="*/ 486821 w 847725"/>
                <a:gd name="connsiteY34" fmla="*/ 571620 h 847725"/>
                <a:gd name="connsiteX35" fmla="*/ 486821 w 847725"/>
                <a:gd name="connsiteY35" fmla="*/ 572667 h 847725"/>
                <a:gd name="connsiteX36" fmla="*/ 486821 w 847725"/>
                <a:gd name="connsiteY36" fmla="*/ 637342 h 847725"/>
                <a:gd name="connsiteX37" fmla="*/ 486821 w 847725"/>
                <a:gd name="connsiteY37" fmla="*/ 737450 h 847725"/>
                <a:gd name="connsiteX38" fmla="*/ 473963 w 847725"/>
                <a:gd name="connsiteY38" fmla="*/ 771359 h 847725"/>
                <a:gd name="connsiteX39" fmla="*/ 471962 w 847725"/>
                <a:gd name="connsiteY39" fmla="*/ 773169 h 847725"/>
                <a:gd name="connsiteX40" fmla="*/ 389476 w 847725"/>
                <a:gd name="connsiteY40" fmla="*/ 836510 h 847725"/>
                <a:gd name="connsiteX41" fmla="*/ 372426 w 847725"/>
                <a:gd name="connsiteY41" fmla="*/ 842415 h 847725"/>
                <a:gd name="connsiteX42" fmla="*/ 381951 w 847725"/>
                <a:gd name="connsiteY42" fmla="*/ 810697 h 847725"/>
                <a:gd name="connsiteX43" fmla="*/ 381951 w 847725"/>
                <a:gd name="connsiteY43" fmla="*/ 810697 h 847725"/>
                <a:gd name="connsiteX44" fmla="*/ 366616 w 847725"/>
                <a:gd name="connsiteY44" fmla="*/ 805077 h 847725"/>
                <a:gd name="connsiteX45" fmla="*/ 366616 w 847725"/>
                <a:gd name="connsiteY45" fmla="*/ 805077 h 847725"/>
                <a:gd name="connsiteX46" fmla="*/ 330897 w 847725"/>
                <a:gd name="connsiteY46" fmla="*/ 639152 h 847725"/>
                <a:gd name="connsiteX47" fmla="*/ 345566 w 847725"/>
                <a:gd name="connsiteY47" fmla="*/ 642771 h 847725"/>
                <a:gd name="connsiteX48" fmla="*/ 363092 w 847725"/>
                <a:gd name="connsiteY48" fmla="*/ 669632 h 847725"/>
                <a:gd name="connsiteX49" fmla="*/ 371093 w 847725"/>
                <a:gd name="connsiteY49" fmla="*/ 730401 h 847725"/>
                <a:gd name="connsiteX50" fmla="*/ 379379 w 847725"/>
                <a:gd name="connsiteY50" fmla="*/ 795552 h 847725"/>
                <a:gd name="connsiteX51" fmla="*/ 446054 w 847725"/>
                <a:gd name="connsiteY51" fmla="*/ 744308 h 847725"/>
                <a:gd name="connsiteX52" fmla="*/ 448150 w 847725"/>
                <a:gd name="connsiteY52" fmla="*/ 737736 h 847725"/>
                <a:gd name="connsiteX53" fmla="*/ 448150 w 847725"/>
                <a:gd name="connsiteY53" fmla="*/ 637628 h 847725"/>
                <a:gd name="connsiteX54" fmla="*/ 448150 w 847725"/>
                <a:gd name="connsiteY54" fmla="*/ 571905 h 847725"/>
                <a:gd name="connsiteX55" fmla="*/ 448150 w 847725"/>
                <a:gd name="connsiteY55" fmla="*/ 570762 h 847725"/>
                <a:gd name="connsiteX56" fmla="*/ 461294 w 847725"/>
                <a:gd name="connsiteY56" fmla="*/ 542187 h 847725"/>
                <a:gd name="connsiteX57" fmla="*/ 524159 w 847725"/>
                <a:gd name="connsiteY57" fmla="*/ 488943 h 847725"/>
                <a:gd name="connsiteX58" fmla="*/ 603407 w 847725"/>
                <a:gd name="connsiteY58" fmla="*/ 421506 h 847725"/>
                <a:gd name="connsiteX59" fmla="*/ 719898 w 847725"/>
                <a:gd name="connsiteY59" fmla="*/ 302252 h 847725"/>
                <a:gd name="connsiteX60" fmla="*/ 798098 w 847725"/>
                <a:gd name="connsiteY60" fmla="*/ 86416 h 847725"/>
                <a:gd name="connsiteX61" fmla="*/ 798098 w 847725"/>
                <a:gd name="connsiteY61" fmla="*/ 86416 h 847725"/>
                <a:gd name="connsiteX62" fmla="*/ 802004 w 847725"/>
                <a:gd name="connsiteY62" fmla="*/ 48316 h 847725"/>
                <a:gd name="connsiteX63" fmla="*/ 710659 w 847725"/>
                <a:gd name="connsiteY63" fmla="*/ 60984 h 847725"/>
                <a:gd name="connsiteX64" fmla="*/ 495489 w 847725"/>
                <a:gd name="connsiteY64" fmla="*/ 173475 h 847725"/>
                <a:gd name="connsiteX65" fmla="*/ 371664 w 847725"/>
                <a:gd name="connsiteY65" fmla="*/ 313873 h 847725"/>
                <a:gd name="connsiteX66" fmla="*/ 308323 w 847725"/>
                <a:gd name="connsiteY66" fmla="*/ 387406 h 847725"/>
                <a:gd name="connsiteX67" fmla="*/ 276700 w 847725"/>
                <a:gd name="connsiteY67" fmla="*/ 402932 h 847725"/>
                <a:gd name="connsiteX68" fmla="*/ 275366 w 847725"/>
                <a:gd name="connsiteY68" fmla="*/ 402932 h 847725"/>
                <a:gd name="connsiteX69" fmla="*/ 113441 w 847725"/>
                <a:gd name="connsiteY69" fmla="*/ 401598 h 847725"/>
                <a:gd name="connsiteX70" fmla="*/ 112203 w 847725"/>
                <a:gd name="connsiteY70" fmla="*/ 401598 h 847725"/>
                <a:gd name="connsiteX71" fmla="*/ 104393 w 847725"/>
                <a:gd name="connsiteY71" fmla="*/ 405313 h 847725"/>
                <a:gd name="connsiteX72" fmla="*/ 99344 w 847725"/>
                <a:gd name="connsiteY72" fmla="*/ 412362 h 847725"/>
                <a:gd name="connsiteX73" fmla="*/ 67150 w 847725"/>
                <a:gd name="connsiteY73" fmla="*/ 454652 h 847725"/>
                <a:gd name="connsiteX74" fmla="*/ 54767 w 847725"/>
                <a:gd name="connsiteY74" fmla="*/ 469893 h 847725"/>
                <a:gd name="connsiteX75" fmla="*/ 114489 w 847725"/>
                <a:gd name="connsiteY75" fmla="*/ 477608 h 847725"/>
                <a:gd name="connsiteX76" fmla="*/ 178021 w 847725"/>
                <a:gd name="connsiteY76" fmla="*/ 486180 h 847725"/>
                <a:gd name="connsiteX77" fmla="*/ 207548 w 847725"/>
                <a:gd name="connsiteY77" fmla="*/ 504183 h 847725"/>
                <a:gd name="connsiteX78" fmla="*/ 205834 w 847725"/>
                <a:gd name="connsiteY78" fmla="*/ 539139 h 847725"/>
                <a:gd name="connsiteX79" fmla="*/ 177259 w 847725"/>
                <a:gd name="connsiteY79" fmla="*/ 578668 h 847725"/>
                <a:gd name="connsiteX80" fmla="*/ 161733 w 847725"/>
                <a:gd name="connsiteY80" fmla="*/ 598575 h 847725"/>
                <a:gd name="connsiteX81" fmla="*/ 162305 w 847725"/>
                <a:gd name="connsiteY81" fmla="*/ 610863 h 847725"/>
                <a:gd name="connsiteX82" fmla="*/ 163067 w 847725"/>
                <a:gd name="connsiteY82" fmla="*/ 611910 h 847725"/>
                <a:gd name="connsiteX83" fmla="*/ 238409 w 847725"/>
                <a:gd name="connsiteY83" fmla="*/ 687444 h 847725"/>
                <a:gd name="connsiteX84" fmla="*/ 239552 w 847725"/>
                <a:gd name="connsiteY84" fmla="*/ 688301 h 847725"/>
                <a:gd name="connsiteX85" fmla="*/ 251649 w 847725"/>
                <a:gd name="connsiteY85" fmla="*/ 689158 h 847725"/>
                <a:gd name="connsiteX86" fmla="*/ 275747 w 847725"/>
                <a:gd name="connsiteY86" fmla="*/ 671061 h 847725"/>
                <a:gd name="connsiteX87" fmla="*/ 315181 w 847725"/>
                <a:gd name="connsiteY87" fmla="*/ 642486 h 847725"/>
                <a:gd name="connsiteX88" fmla="*/ 330897 w 847725"/>
                <a:gd name="connsiteY88" fmla="*/ 639152 h 847725"/>
                <a:gd name="connsiteX89" fmla="*/ 459866 w 847725"/>
                <a:gd name="connsiteY89" fmla="*/ 758214 h 847725"/>
                <a:gd name="connsiteX90" fmla="*/ 459866 w 847725"/>
                <a:gd name="connsiteY90" fmla="*/ 758214 h 847725"/>
                <a:gd name="connsiteX91" fmla="*/ 44290 w 847725"/>
                <a:gd name="connsiteY91" fmla="*/ 481989 h 847725"/>
                <a:gd name="connsiteX92" fmla="*/ 44290 w 847725"/>
                <a:gd name="connsiteY92" fmla="*/ 481989 h 847725"/>
                <a:gd name="connsiteX93" fmla="*/ 38194 w 847725"/>
                <a:gd name="connsiteY93" fmla="*/ 466559 h 847725"/>
                <a:gd name="connsiteX94" fmla="*/ 38194 w 847725"/>
                <a:gd name="connsiteY94" fmla="*/ 466559 h 84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847725" h="847725">
                  <a:moveTo>
                    <a:pt x="372426" y="842415"/>
                  </a:moveTo>
                  <a:lnTo>
                    <a:pt x="368902" y="842415"/>
                  </a:lnTo>
                  <a:cubicBezTo>
                    <a:pt x="361360" y="841473"/>
                    <a:pt x="354505" y="837566"/>
                    <a:pt x="349852" y="831557"/>
                  </a:cubicBezTo>
                  <a:cubicBezTo>
                    <a:pt x="347093" y="827963"/>
                    <a:pt x="345173" y="823797"/>
                    <a:pt x="344232" y="819365"/>
                  </a:cubicBezTo>
                  <a:cubicBezTo>
                    <a:pt x="341184" y="805554"/>
                    <a:pt x="336898" y="769835"/>
                    <a:pt x="332707" y="735354"/>
                  </a:cubicBezTo>
                  <a:cubicBezTo>
                    <a:pt x="330135" y="713733"/>
                    <a:pt x="327468" y="691539"/>
                    <a:pt x="325754" y="681252"/>
                  </a:cubicBezTo>
                  <a:cubicBezTo>
                    <a:pt x="319658" y="685539"/>
                    <a:pt x="307275" y="695254"/>
                    <a:pt x="299369" y="701541"/>
                  </a:cubicBezTo>
                  <a:cubicBezTo>
                    <a:pt x="290038" y="709479"/>
                    <a:pt x="280173" y="716767"/>
                    <a:pt x="269842" y="723353"/>
                  </a:cubicBezTo>
                  <a:cubicBezTo>
                    <a:pt x="252556" y="733070"/>
                    <a:pt x="231132" y="731494"/>
                    <a:pt x="215454" y="719352"/>
                  </a:cubicBezTo>
                  <a:cubicBezTo>
                    <a:pt x="181859" y="696719"/>
                    <a:pt x="152893" y="667882"/>
                    <a:pt x="130110" y="634389"/>
                  </a:cubicBezTo>
                  <a:cubicBezTo>
                    <a:pt x="117808" y="618290"/>
                    <a:pt x="116599" y="596305"/>
                    <a:pt x="127062" y="578954"/>
                  </a:cubicBezTo>
                  <a:cubicBezTo>
                    <a:pt x="132879" y="570332"/>
                    <a:pt x="139242" y="562092"/>
                    <a:pt x="146112" y="554284"/>
                  </a:cubicBezTo>
                  <a:cubicBezTo>
                    <a:pt x="153637" y="544759"/>
                    <a:pt x="166115" y="529424"/>
                    <a:pt x="169067" y="524471"/>
                  </a:cubicBezTo>
                  <a:cubicBezTo>
                    <a:pt x="159542" y="522566"/>
                    <a:pt x="134015" y="519518"/>
                    <a:pt x="109250" y="516470"/>
                  </a:cubicBezTo>
                  <a:cubicBezTo>
                    <a:pt x="75246" y="512374"/>
                    <a:pt x="42575" y="508469"/>
                    <a:pt x="29812" y="505421"/>
                  </a:cubicBezTo>
                  <a:cubicBezTo>
                    <a:pt x="14372" y="502155"/>
                    <a:pt x="4503" y="486991"/>
                    <a:pt x="7768" y="471551"/>
                  </a:cubicBezTo>
                  <a:cubicBezTo>
                    <a:pt x="7811" y="471347"/>
                    <a:pt x="7857" y="471143"/>
                    <a:pt x="7904" y="470940"/>
                  </a:cubicBezTo>
                  <a:cubicBezTo>
                    <a:pt x="8748" y="466558"/>
                    <a:pt x="10572" y="462422"/>
                    <a:pt x="13238" y="458844"/>
                  </a:cubicBezTo>
                  <a:cubicBezTo>
                    <a:pt x="20096" y="449319"/>
                    <a:pt x="27431" y="439794"/>
                    <a:pt x="36765" y="428840"/>
                  </a:cubicBezTo>
                  <a:cubicBezTo>
                    <a:pt x="46100" y="417886"/>
                    <a:pt x="56863" y="403313"/>
                    <a:pt x="66959" y="389216"/>
                  </a:cubicBezTo>
                  <a:lnTo>
                    <a:pt x="71722" y="382548"/>
                  </a:lnTo>
                  <a:cubicBezTo>
                    <a:pt x="81387" y="368647"/>
                    <a:pt x="97706" y="360923"/>
                    <a:pt x="114584" y="362260"/>
                  </a:cubicBezTo>
                  <a:cubicBezTo>
                    <a:pt x="149065" y="363403"/>
                    <a:pt x="236219" y="363975"/>
                    <a:pt x="273271" y="363594"/>
                  </a:cubicBezTo>
                  <a:cubicBezTo>
                    <a:pt x="275253" y="363361"/>
                    <a:pt x="277082" y="362412"/>
                    <a:pt x="278414" y="360927"/>
                  </a:cubicBezTo>
                  <a:cubicBezTo>
                    <a:pt x="299274" y="337114"/>
                    <a:pt x="320515" y="312254"/>
                    <a:pt x="341089" y="288156"/>
                  </a:cubicBezTo>
                  <a:cubicBezTo>
                    <a:pt x="381380" y="240531"/>
                    <a:pt x="423004" y="192144"/>
                    <a:pt x="466533" y="146233"/>
                  </a:cubicBezTo>
                  <a:cubicBezTo>
                    <a:pt x="525112" y="84321"/>
                    <a:pt x="604455" y="42601"/>
                    <a:pt x="702086" y="22408"/>
                  </a:cubicBezTo>
                  <a:cubicBezTo>
                    <a:pt x="733328" y="15931"/>
                    <a:pt x="813815" y="7358"/>
                    <a:pt x="814577" y="7263"/>
                  </a:cubicBezTo>
                  <a:cubicBezTo>
                    <a:pt x="828261" y="5932"/>
                    <a:pt x="840462" y="15879"/>
                    <a:pt x="841913" y="29552"/>
                  </a:cubicBezTo>
                  <a:cubicBezTo>
                    <a:pt x="842104" y="31038"/>
                    <a:pt x="842104" y="32542"/>
                    <a:pt x="841913" y="34029"/>
                  </a:cubicBezTo>
                  <a:cubicBezTo>
                    <a:pt x="840770" y="47935"/>
                    <a:pt x="837818" y="78701"/>
                    <a:pt x="836294" y="91179"/>
                  </a:cubicBezTo>
                  <a:cubicBezTo>
                    <a:pt x="827210" y="174650"/>
                    <a:pt x="798130" y="254701"/>
                    <a:pt x="751521" y="324541"/>
                  </a:cubicBezTo>
                  <a:cubicBezTo>
                    <a:pt x="718565" y="372166"/>
                    <a:pt x="676178" y="410266"/>
                    <a:pt x="628268" y="451509"/>
                  </a:cubicBezTo>
                  <a:cubicBezTo>
                    <a:pt x="602074" y="474274"/>
                    <a:pt x="574928" y="497134"/>
                    <a:pt x="548639" y="519232"/>
                  </a:cubicBezTo>
                  <a:cubicBezTo>
                    <a:pt x="527969" y="536568"/>
                    <a:pt x="507300" y="553998"/>
                    <a:pt x="486821" y="571620"/>
                  </a:cubicBezTo>
                  <a:cubicBezTo>
                    <a:pt x="486752" y="571965"/>
                    <a:pt x="486752" y="572321"/>
                    <a:pt x="486821" y="572667"/>
                  </a:cubicBezTo>
                  <a:cubicBezTo>
                    <a:pt x="486821" y="588003"/>
                    <a:pt x="486821" y="611910"/>
                    <a:pt x="486821" y="637342"/>
                  </a:cubicBezTo>
                  <a:cubicBezTo>
                    <a:pt x="486821" y="673918"/>
                    <a:pt x="487393" y="715257"/>
                    <a:pt x="486821" y="737450"/>
                  </a:cubicBezTo>
                  <a:cubicBezTo>
                    <a:pt x="486986" y="749974"/>
                    <a:pt x="482390" y="762093"/>
                    <a:pt x="473963" y="771359"/>
                  </a:cubicBezTo>
                  <a:lnTo>
                    <a:pt x="471962" y="773169"/>
                  </a:lnTo>
                  <a:cubicBezTo>
                    <a:pt x="456341" y="786218"/>
                    <a:pt x="429386" y="806982"/>
                    <a:pt x="389476" y="836510"/>
                  </a:cubicBezTo>
                  <a:cubicBezTo>
                    <a:pt x="384580" y="840268"/>
                    <a:pt x="378598" y="842340"/>
                    <a:pt x="372426" y="842415"/>
                  </a:cubicBezTo>
                  <a:close/>
                  <a:moveTo>
                    <a:pt x="381951" y="810697"/>
                  </a:moveTo>
                  <a:lnTo>
                    <a:pt x="381951" y="810697"/>
                  </a:lnTo>
                  <a:close/>
                  <a:moveTo>
                    <a:pt x="366616" y="805077"/>
                  </a:moveTo>
                  <a:lnTo>
                    <a:pt x="366616" y="805077"/>
                  </a:lnTo>
                  <a:close/>
                  <a:moveTo>
                    <a:pt x="330897" y="639152"/>
                  </a:moveTo>
                  <a:cubicBezTo>
                    <a:pt x="336012" y="639116"/>
                    <a:pt x="341054" y="640360"/>
                    <a:pt x="345566" y="642771"/>
                  </a:cubicBezTo>
                  <a:cubicBezTo>
                    <a:pt x="355075" y="648710"/>
                    <a:pt x="361486" y="658536"/>
                    <a:pt x="363092" y="669632"/>
                  </a:cubicBezTo>
                  <a:cubicBezTo>
                    <a:pt x="364997" y="679157"/>
                    <a:pt x="367854" y="702874"/>
                    <a:pt x="371093" y="730401"/>
                  </a:cubicBezTo>
                  <a:cubicBezTo>
                    <a:pt x="373760" y="752404"/>
                    <a:pt x="376903" y="778026"/>
                    <a:pt x="379379" y="795552"/>
                  </a:cubicBezTo>
                  <a:cubicBezTo>
                    <a:pt x="410558" y="772438"/>
                    <a:pt x="432783" y="755357"/>
                    <a:pt x="446054" y="744308"/>
                  </a:cubicBezTo>
                  <a:cubicBezTo>
                    <a:pt x="447496" y="742427"/>
                    <a:pt x="448237" y="740103"/>
                    <a:pt x="448150" y="737736"/>
                  </a:cubicBezTo>
                  <a:cubicBezTo>
                    <a:pt x="448150" y="715257"/>
                    <a:pt x="448150" y="674013"/>
                    <a:pt x="448150" y="637628"/>
                  </a:cubicBezTo>
                  <a:cubicBezTo>
                    <a:pt x="448150" y="611625"/>
                    <a:pt x="448150" y="587241"/>
                    <a:pt x="448150" y="571905"/>
                  </a:cubicBezTo>
                  <a:lnTo>
                    <a:pt x="448150" y="570762"/>
                  </a:lnTo>
                  <a:cubicBezTo>
                    <a:pt x="448704" y="559904"/>
                    <a:pt x="453410" y="549674"/>
                    <a:pt x="461294" y="542187"/>
                  </a:cubicBezTo>
                  <a:cubicBezTo>
                    <a:pt x="482630" y="523899"/>
                    <a:pt x="503395" y="506373"/>
                    <a:pt x="524159" y="488943"/>
                  </a:cubicBezTo>
                  <a:cubicBezTo>
                    <a:pt x="550353" y="466940"/>
                    <a:pt x="577309" y="444270"/>
                    <a:pt x="603407" y="421506"/>
                  </a:cubicBezTo>
                  <a:cubicBezTo>
                    <a:pt x="649318" y="382263"/>
                    <a:pt x="689704" y="346258"/>
                    <a:pt x="719898" y="302252"/>
                  </a:cubicBezTo>
                  <a:cubicBezTo>
                    <a:pt x="762911" y="237627"/>
                    <a:pt x="789734" y="163595"/>
                    <a:pt x="798098" y="86416"/>
                  </a:cubicBezTo>
                  <a:lnTo>
                    <a:pt x="798098" y="86416"/>
                  </a:lnTo>
                  <a:cubicBezTo>
                    <a:pt x="798956" y="78891"/>
                    <a:pt x="800670" y="62413"/>
                    <a:pt x="802004" y="48316"/>
                  </a:cubicBezTo>
                  <a:cubicBezTo>
                    <a:pt x="774191" y="51459"/>
                    <a:pt x="730185" y="56888"/>
                    <a:pt x="710659" y="60984"/>
                  </a:cubicBezTo>
                  <a:cubicBezTo>
                    <a:pt x="620933" y="80034"/>
                    <a:pt x="548734" y="117467"/>
                    <a:pt x="495489" y="173475"/>
                  </a:cubicBezTo>
                  <a:cubicBezTo>
                    <a:pt x="452627" y="218718"/>
                    <a:pt x="411288" y="267105"/>
                    <a:pt x="371664" y="313873"/>
                  </a:cubicBezTo>
                  <a:cubicBezTo>
                    <a:pt x="350995" y="338067"/>
                    <a:pt x="329659" y="363117"/>
                    <a:pt x="308323" y="387406"/>
                  </a:cubicBezTo>
                  <a:cubicBezTo>
                    <a:pt x="300154" y="396433"/>
                    <a:pt x="288838" y="401989"/>
                    <a:pt x="276700" y="402932"/>
                  </a:cubicBezTo>
                  <a:lnTo>
                    <a:pt x="275366" y="402932"/>
                  </a:lnTo>
                  <a:cubicBezTo>
                    <a:pt x="238219" y="402932"/>
                    <a:pt x="148398" y="402932"/>
                    <a:pt x="113441" y="401598"/>
                  </a:cubicBezTo>
                  <a:lnTo>
                    <a:pt x="112203" y="401598"/>
                  </a:lnTo>
                  <a:cubicBezTo>
                    <a:pt x="109112" y="401294"/>
                    <a:pt x="106107" y="402723"/>
                    <a:pt x="104393" y="405313"/>
                  </a:cubicBezTo>
                  <a:lnTo>
                    <a:pt x="99344" y="412362"/>
                  </a:lnTo>
                  <a:cubicBezTo>
                    <a:pt x="89248" y="426458"/>
                    <a:pt x="78770" y="440937"/>
                    <a:pt x="67150" y="454652"/>
                  </a:cubicBezTo>
                  <a:cubicBezTo>
                    <a:pt x="62578" y="459891"/>
                    <a:pt x="58768" y="464749"/>
                    <a:pt x="54767" y="469893"/>
                  </a:cubicBezTo>
                  <a:cubicBezTo>
                    <a:pt x="70579" y="472274"/>
                    <a:pt x="93534" y="475036"/>
                    <a:pt x="114489" y="477608"/>
                  </a:cubicBezTo>
                  <a:cubicBezTo>
                    <a:pt x="143064" y="481037"/>
                    <a:pt x="167543" y="483990"/>
                    <a:pt x="178021" y="486180"/>
                  </a:cubicBezTo>
                  <a:cubicBezTo>
                    <a:pt x="190101" y="487343"/>
                    <a:pt x="200982" y="493977"/>
                    <a:pt x="207548" y="504183"/>
                  </a:cubicBezTo>
                  <a:cubicBezTo>
                    <a:pt x="212360" y="515482"/>
                    <a:pt x="211728" y="528364"/>
                    <a:pt x="205834" y="539139"/>
                  </a:cubicBezTo>
                  <a:cubicBezTo>
                    <a:pt x="197830" y="553351"/>
                    <a:pt x="188244" y="566611"/>
                    <a:pt x="177259" y="578668"/>
                  </a:cubicBezTo>
                  <a:cubicBezTo>
                    <a:pt x="171353" y="586002"/>
                    <a:pt x="163352" y="596004"/>
                    <a:pt x="161733" y="598575"/>
                  </a:cubicBezTo>
                  <a:cubicBezTo>
                    <a:pt x="159276" y="602372"/>
                    <a:pt x="159506" y="607310"/>
                    <a:pt x="162305" y="610863"/>
                  </a:cubicBezTo>
                  <a:lnTo>
                    <a:pt x="163067" y="611910"/>
                  </a:lnTo>
                  <a:cubicBezTo>
                    <a:pt x="183108" y="641684"/>
                    <a:pt x="208687" y="667327"/>
                    <a:pt x="238409" y="687444"/>
                  </a:cubicBezTo>
                  <a:lnTo>
                    <a:pt x="239552" y="688301"/>
                  </a:lnTo>
                  <a:cubicBezTo>
                    <a:pt x="243025" y="691047"/>
                    <a:pt x="247824" y="691387"/>
                    <a:pt x="251649" y="689158"/>
                  </a:cubicBezTo>
                  <a:cubicBezTo>
                    <a:pt x="255459" y="687063"/>
                    <a:pt x="267175" y="677823"/>
                    <a:pt x="275747" y="671061"/>
                  </a:cubicBezTo>
                  <a:cubicBezTo>
                    <a:pt x="287760" y="660064"/>
                    <a:pt x="300990" y="650476"/>
                    <a:pt x="315181" y="642486"/>
                  </a:cubicBezTo>
                  <a:cubicBezTo>
                    <a:pt x="320189" y="640480"/>
                    <a:pt x="325506" y="639352"/>
                    <a:pt x="330897" y="639152"/>
                  </a:cubicBezTo>
                  <a:close/>
                  <a:moveTo>
                    <a:pt x="459866" y="758214"/>
                  </a:moveTo>
                  <a:lnTo>
                    <a:pt x="459866" y="758214"/>
                  </a:lnTo>
                  <a:close/>
                  <a:moveTo>
                    <a:pt x="44290" y="481989"/>
                  </a:moveTo>
                  <a:lnTo>
                    <a:pt x="44290" y="481989"/>
                  </a:lnTo>
                  <a:close/>
                  <a:moveTo>
                    <a:pt x="38194" y="466559"/>
                  </a:moveTo>
                  <a:lnTo>
                    <a:pt x="38194" y="466559"/>
                  </a:lnTo>
                  <a:close/>
                </a:path>
              </a:pathLst>
            </a:custGeom>
            <a:solidFill>
              <a:srgbClr val="524F56"/>
            </a:solidFill>
            <a:ln w="9525"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517FE059-AE5B-4C41-B441-70043D69BD6F}"/>
                </a:ext>
              </a:extLst>
            </p:cNvPr>
            <p:cNvSpPr/>
            <p:nvPr/>
          </p:nvSpPr>
          <p:spPr>
            <a:xfrm>
              <a:off x="2834220" y="989497"/>
              <a:ext cx="704850" cy="790575"/>
            </a:xfrm>
            <a:custGeom>
              <a:avLst/>
              <a:gdLst>
                <a:gd name="connsiteX0" fmla="*/ 396565 w 704850"/>
                <a:gd name="connsiteY0" fmla="*/ 787050 h 790575"/>
                <a:gd name="connsiteX1" fmla="*/ 7144 w 704850"/>
                <a:gd name="connsiteY1" fmla="*/ 396565 h 790575"/>
                <a:gd name="connsiteX2" fmla="*/ 397629 w 704850"/>
                <a:gd name="connsiteY2" fmla="*/ 7144 h 790575"/>
                <a:gd name="connsiteX3" fmla="*/ 663265 w 704850"/>
                <a:gd name="connsiteY3" fmla="*/ 112109 h 790575"/>
                <a:gd name="connsiteX4" fmla="*/ 694983 w 704850"/>
                <a:gd name="connsiteY4" fmla="*/ 145542 h 790575"/>
                <a:gd name="connsiteX5" fmla="*/ 692602 w 704850"/>
                <a:gd name="connsiteY5" fmla="*/ 173069 h 790575"/>
                <a:gd name="connsiteX6" fmla="*/ 665075 w 704850"/>
                <a:gd name="connsiteY6" fmla="*/ 170688 h 790575"/>
                <a:gd name="connsiteX7" fmla="*/ 636500 w 704850"/>
                <a:gd name="connsiteY7" fmla="*/ 140684 h 790575"/>
                <a:gd name="connsiteX8" fmla="*/ 140544 w 704850"/>
                <a:gd name="connsiteY8" fmla="*/ 157725 h 790575"/>
                <a:gd name="connsiteX9" fmla="*/ 157585 w 704850"/>
                <a:gd name="connsiteY9" fmla="*/ 653681 h 790575"/>
                <a:gd name="connsiteX10" fmla="*/ 653264 w 704850"/>
                <a:gd name="connsiteY10" fmla="*/ 636936 h 790575"/>
                <a:gd name="connsiteX11" fmla="*/ 680886 w 704850"/>
                <a:gd name="connsiteY11" fmla="*/ 635984 h 790575"/>
                <a:gd name="connsiteX12" fmla="*/ 681839 w 704850"/>
                <a:gd name="connsiteY12" fmla="*/ 663606 h 790575"/>
                <a:gd name="connsiteX13" fmla="*/ 410091 w 704850"/>
                <a:gd name="connsiteY13" fmla="*/ 787431 h 790575"/>
                <a:gd name="connsiteX14" fmla="*/ 396565 w 704850"/>
                <a:gd name="connsiteY14" fmla="*/ 787050 h 79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04850" h="790575">
                  <a:moveTo>
                    <a:pt x="396565" y="787050"/>
                  </a:moveTo>
                  <a:cubicBezTo>
                    <a:pt x="181200" y="786757"/>
                    <a:pt x="6850" y="611930"/>
                    <a:pt x="7144" y="396565"/>
                  </a:cubicBezTo>
                  <a:cubicBezTo>
                    <a:pt x="7438" y="181200"/>
                    <a:pt x="182264" y="6850"/>
                    <a:pt x="397629" y="7144"/>
                  </a:cubicBezTo>
                  <a:cubicBezTo>
                    <a:pt x="496263" y="7279"/>
                    <a:pt x="591181" y="44785"/>
                    <a:pt x="663265" y="112109"/>
                  </a:cubicBezTo>
                  <a:cubicBezTo>
                    <a:pt x="674464" y="122642"/>
                    <a:pt x="685054" y="133804"/>
                    <a:pt x="694983" y="145542"/>
                  </a:cubicBezTo>
                  <a:cubicBezTo>
                    <a:pt x="701927" y="153801"/>
                    <a:pt x="700861" y="166125"/>
                    <a:pt x="692602" y="173069"/>
                  </a:cubicBezTo>
                  <a:cubicBezTo>
                    <a:pt x="684343" y="180013"/>
                    <a:pt x="672019" y="178947"/>
                    <a:pt x="665075" y="170688"/>
                  </a:cubicBezTo>
                  <a:cubicBezTo>
                    <a:pt x="656121" y="160158"/>
                    <a:pt x="646581" y="150141"/>
                    <a:pt x="636500" y="140684"/>
                  </a:cubicBezTo>
                  <a:cubicBezTo>
                    <a:pt x="494840" y="8435"/>
                    <a:pt x="272792" y="16064"/>
                    <a:pt x="140544" y="157725"/>
                  </a:cubicBezTo>
                  <a:cubicBezTo>
                    <a:pt x="8295" y="299385"/>
                    <a:pt x="15924" y="521432"/>
                    <a:pt x="157585" y="653681"/>
                  </a:cubicBezTo>
                  <a:cubicBezTo>
                    <a:pt x="299129" y="785822"/>
                    <a:pt x="520960" y="778328"/>
                    <a:pt x="653264" y="636936"/>
                  </a:cubicBezTo>
                  <a:cubicBezTo>
                    <a:pt x="660629" y="629046"/>
                    <a:pt x="672996" y="628619"/>
                    <a:pt x="680886" y="635984"/>
                  </a:cubicBezTo>
                  <a:cubicBezTo>
                    <a:pt x="688777" y="643349"/>
                    <a:pt x="689204" y="655716"/>
                    <a:pt x="681839" y="663606"/>
                  </a:cubicBezTo>
                  <a:cubicBezTo>
                    <a:pt x="611439" y="739532"/>
                    <a:pt x="513579" y="784123"/>
                    <a:pt x="410091" y="787431"/>
                  </a:cubicBezTo>
                  <a:cubicBezTo>
                    <a:pt x="405614" y="786955"/>
                    <a:pt x="401042" y="787050"/>
                    <a:pt x="396565" y="787050"/>
                  </a:cubicBezTo>
                  <a:close/>
                </a:path>
              </a:pathLst>
            </a:custGeom>
            <a:solidFill>
              <a:srgbClr val="524F56"/>
            </a:solidFill>
            <a:ln w="9525" cap="flat">
              <a:noFill/>
              <a:prstDash val="solid"/>
              <a:miter/>
            </a:ln>
          </p:spPr>
          <p:txBody>
            <a:bodyPr rtlCol="0" anchor="ctr"/>
            <a:lstStyle/>
            <a:p>
              <a:endParaRPr lang="en-US" dirty="0"/>
            </a:p>
          </p:txBody>
        </p:sp>
      </p:grpSp>
      <p:grpSp>
        <p:nvGrpSpPr>
          <p:cNvPr id="46" name="Graphic 18">
            <a:extLst>
              <a:ext uri="{FF2B5EF4-FFF2-40B4-BE49-F238E27FC236}">
                <a16:creationId xmlns:a16="http://schemas.microsoft.com/office/drawing/2014/main" id="{64D696BF-C5BC-45A3-85FB-6C00691CEA1A}"/>
              </a:ext>
            </a:extLst>
          </p:cNvPr>
          <p:cNvGrpSpPr/>
          <p:nvPr/>
        </p:nvGrpSpPr>
        <p:grpSpPr>
          <a:xfrm>
            <a:off x="10477500" y="2996821"/>
            <a:ext cx="1714500" cy="1714500"/>
            <a:chOff x="6019800" y="540583"/>
            <a:chExt cx="1714500" cy="1714500"/>
          </a:xfrm>
        </p:grpSpPr>
        <p:sp>
          <p:nvSpPr>
            <p:cNvPr id="47" name="Freeform: Shape 46">
              <a:extLst>
                <a:ext uri="{FF2B5EF4-FFF2-40B4-BE49-F238E27FC236}">
                  <a16:creationId xmlns:a16="http://schemas.microsoft.com/office/drawing/2014/main" id="{F13B5988-5617-4660-96A9-1D735F377F07}"/>
                </a:ext>
              </a:extLst>
            </p:cNvPr>
            <p:cNvSpPr/>
            <p:nvPr/>
          </p:nvSpPr>
          <p:spPr>
            <a:xfrm>
              <a:off x="6457619" y="1449128"/>
              <a:ext cx="381000" cy="400050"/>
            </a:xfrm>
            <a:custGeom>
              <a:avLst/>
              <a:gdLst>
                <a:gd name="connsiteX0" fmla="*/ 355804 w 381000"/>
                <a:gd name="connsiteY0" fmla="*/ 393714 h 400050"/>
                <a:gd name="connsiteX1" fmla="*/ 354185 w 381000"/>
                <a:gd name="connsiteY1" fmla="*/ 393714 h 400050"/>
                <a:gd name="connsiteX2" fmla="*/ 7284 w 381000"/>
                <a:gd name="connsiteY2" fmla="*/ 33668 h 400050"/>
                <a:gd name="connsiteX3" fmla="*/ 28525 w 381000"/>
                <a:gd name="connsiteY3" fmla="*/ 7284 h 400050"/>
                <a:gd name="connsiteX4" fmla="*/ 54909 w 381000"/>
                <a:gd name="connsiteY4" fmla="*/ 28525 h 400050"/>
                <a:gd name="connsiteX5" fmla="*/ 357614 w 381000"/>
                <a:gd name="connsiteY5" fmla="*/ 346279 h 400050"/>
                <a:gd name="connsiteX6" fmla="*/ 380617 w 381000"/>
                <a:gd name="connsiteY6" fmla="*/ 370901 h 400050"/>
                <a:gd name="connsiteX7" fmla="*/ 355995 w 381000"/>
                <a:gd name="connsiteY7" fmla="*/ 393904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0" h="400050">
                  <a:moveTo>
                    <a:pt x="355804" y="393714"/>
                  </a:moveTo>
                  <a:lnTo>
                    <a:pt x="354185" y="393714"/>
                  </a:lnTo>
                  <a:cubicBezTo>
                    <a:pt x="177306" y="381902"/>
                    <a:pt x="28144" y="227121"/>
                    <a:pt x="7284" y="33668"/>
                  </a:cubicBezTo>
                  <a:cubicBezTo>
                    <a:pt x="5864" y="20517"/>
                    <a:pt x="15374" y="8705"/>
                    <a:pt x="28525" y="7284"/>
                  </a:cubicBezTo>
                  <a:cubicBezTo>
                    <a:pt x="41676" y="5864"/>
                    <a:pt x="53489" y="15374"/>
                    <a:pt x="54909" y="28525"/>
                  </a:cubicBezTo>
                  <a:cubicBezTo>
                    <a:pt x="73292" y="199308"/>
                    <a:pt x="203404" y="335897"/>
                    <a:pt x="357614" y="346279"/>
                  </a:cubicBezTo>
                  <a:cubicBezTo>
                    <a:pt x="370765" y="346726"/>
                    <a:pt x="381064" y="357750"/>
                    <a:pt x="380617" y="370901"/>
                  </a:cubicBezTo>
                  <a:cubicBezTo>
                    <a:pt x="380170" y="384052"/>
                    <a:pt x="369146" y="394351"/>
                    <a:pt x="355995" y="393904"/>
                  </a:cubicBezTo>
                  <a:close/>
                </a:path>
              </a:pathLst>
            </a:custGeom>
            <a:solidFill>
              <a:srgbClr val="524F56"/>
            </a:solidFill>
            <a:ln w="9525"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D3197C92-4A29-4D5C-A721-2015F599C5C8}"/>
                </a:ext>
              </a:extLst>
            </p:cNvPr>
            <p:cNvSpPr/>
            <p:nvPr/>
          </p:nvSpPr>
          <p:spPr>
            <a:xfrm>
              <a:off x="6612791" y="1433612"/>
              <a:ext cx="228600" cy="257175"/>
            </a:xfrm>
            <a:custGeom>
              <a:avLst/>
              <a:gdLst>
                <a:gd name="connsiteX0" fmla="*/ 202156 w 228600"/>
                <a:gd name="connsiteY0" fmla="*/ 252638 h 257175"/>
                <a:gd name="connsiteX1" fmla="*/ 197774 w 228600"/>
                <a:gd name="connsiteY1" fmla="*/ 252638 h 257175"/>
                <a:gd name="connsiteX2" fmla="*/ 7274 w 228600"/>
                <a:gd name="connsiteY2" fmla="*/ 33563 h 257175"/>
                <a:gd name="connsiteX3" fmla="*/ 28610 w 228600"/>
                <a:gd name="connsiteY3" fmla="*/ 7274 h 257175"/>
                <a:gd name="connsiteX4" fmla="*/ 54899 w 228600"/>
                <a:gd name="connsiteY4" fmla="*/ 28610 h 257175"/>
                <a:gd name="connsiteX5" fmla="*/ 207299 w 228600"/>
                <a:gd name="connsiteY5" fmla="*/ 205489 h 257175"/>
                <a:gd name="connsiteX6" fmla="*/ 228921 w 228600"/>
                <a:gd name="connsiteY6" fmla="*/ 231493 h 257175"/>
                <a:gd name="connsiteX7" fmla="*/ 202917 w 228600"/>
                <a:gd name="connsiteY7" fmla="*/ 253114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600" h="257175">
                  <a:moveTo>
                    <a:pt x="202156" y="252638"/>
                  </a:moveTo>
                  <a:cubicBezTo>
                    <a:pt x="200699" y="252780"/>
                    <a:pt x="199231" y="252780"/>
                    <a:pt x="197774" y="252638"/>
                  </a:cubicBezTo>
                  <a:cubicBezTo>
                    <a:pt x="97095" y="233588"/>
                    <a:pt x="18609" y="143672"/>
                    <a:pt x="7274" y="33563"/>
                  </a:cubicBezTo>
                  <a:cubicBezTo>
                    <a:pt x="5906" y="20412"/>
                    <a:pt x="15459" y="8642"/>
                    <a:pt x="28610" y="7274"/>
                  </a:cubicBezTo>
                  <a:cubicBezTo>
                    <a:pt x="41761" y="5906"/>
                    <a:pt x="53531" y="15459"/>
                    <a:pt x="54899" y="28610"/>
                  </a:cubicBezTo>
                  <a:cubicBezTo>
                    <a:pt x="64424" y="117669"/>
                    <a:pt x="126908" y="190535"/>
                    <a:pt x="207299" y="205489"/>
                  </a:cubicBezTo>
                  <a:cubicBezTo>
                    <a:pt x="220450" y="206699"/>
                    <a:pt x="230131" y="218341"/>
                    <a:pt x="228921" y="231493"/>
                  </a:cubicBezTo>
                  <a:cubicBezTo>
                    <a:pt x="227711" y="244644"/>
                    <a:pt x="216069" y="254324"/>
                    <a:pt x="202917" y="253114"/>
                  </a:cubicBezTo>
                  <a:close/>
                </a:path>
              </a:pathLst>
            </a:custGeom>
            <a:solidFill>
              <a:srgbClr val="524F56"/>
            </a:solidFill>
            <a:ln w="9525" cap="flat">
              <a:no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B64A2148-513A-4B15-BE9B-7E8BAC5C0835}"/>
                </a:ext>
              </a:extLst>
            </p:cNvPr>
            <p:cNvSpPr/>
            <p:nvPr/>
          </p:nvSpPr>
          <p:spPr>
            <a:xfrm>
              <a:off x="6750192" y="1306679"/>
              <a:ext cx="200025" cy="247650"/>
            </a:xfrm>
            <a:custGeom>
              <a:avLst/>
              <a:gdLst>
                <a:gd name="connsiteX0" fmla="*/ 169054 w 200025"/>
                <a:gd name="connsiteY0" fmla="*/ 245935 h 247650"/>
                <a:gd name="connsiteX1" fmla="*/ 150956 w 200025"/>
                <a:gd name="connsiteY1" fmla="*/ 237553 h 247650"/>
                <a:gd name="connsiteX2" fmla="*/ 13987 w 200025"/>
                <a:gd name="connsiteY2" fmla="*/ 77247 h 247650"/>
                <a:gd name="connsiteX3" fmla="*/ 13987 w 200025"/>
                <a:gd name="connsiteY3" fmla="*/ 42386 h 247650"/>
                <a:gd name="connsiteX4" fmla="*/ 15796 w 200025"/>
                <a:gd name="connsiteY4" fmla="*/ 40576 h 247650"/>
                <a:gd name="connsiteX5" fmla="*/ 47991 w 200025"/>
                <a:gd name="connsiteY5" fmla="*/ 12953 h 247650"/>
                <a:gd name="connsiteX6" fmla="*/ 81709 w 200025"/>
                <a:gd name="connsiteY6" fmla="*/ 15430 h 247650"/>
                <a:gd name="connsiteX7" fmla="*/ 79233 w 200025"/>
                <a:gd name="connsiteY7" fmla="*/ 49148 h 247650"/>
                <a:gd name="connsiteX8" fmla="*/ 63707 w 200025"/>
                <a:gd name="connsiteY8" fmla="*/ 62579 h 247650"/>
                <a:gd name="connsiteX9" fmla="*/ 187532 w 200025"/>
                <a:gd name="connsiteY9" fmla="*/ 207073 h 247650"/>
                <a:gd name="connsiteX10" fmla="*/ 184826 w 200025"/>
                <a:gd name="connsiteY10" fmla="*/ 240640 h 247650"/>
                <a:gd name="connsiteX11" fmla="*/ 169435 w 200025"/>
                <a:gd name="connsiteY11" fmla="*/ 24631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0025" h="247650">
                  <a:moveTo>
                    <a:pt x="169054" y="245935"/>
                  </a:moveTo>
                  <a:cubicBezTo>
                    <a:pt x="162079" y="245949"/>
                    <a:pt x="155455" y="242882"/>
                    <a:pt x="150956" y="237553"/>
                  </a:cubicBezTo>
                  <a:lnTo>
                    <a:pt x="13987" y="77247"/>
                  </a:lnTo>
                  <a:cubicBezTo>
                    <a:pt x="4863" y="67418"/>
                    <a:pt x="4863" y="52215"/>
                    <a:pt x="13987" y="42386"/>
                  </a:cubicBezTo>
                  <a:lnTo>
                    <a:pt x="15796" y="40576"/>
                  </a:lnTo>
                  <a:lnTo>
                    <a:pt x="47991" y="12953"/>
                  </a:lnTo>
                  <a:cubicBezTo>
                    <a:pt x="57986" y="4326"/>
                    <a:pt x="73082" y="5435"/>
                    <a:pt x="81709" y="15430"/>
                  </a:cubicBezTo>
                  <a:cubicBezTo>
                    <a:pt x="90337" y="25425"/>
                    <a:pt x="89228" y="40521"/>
                    <a:pt x="79233" y="49148"/>
                  </a:cubicBezTo>
                  <a:lnTo>
                    <a:pt x="63707" y="62579"/>
                  </a:lnTo>
                  <a:lnTo>
                    <a:pt x="187532" y="207073"/>
                  </a:lnTo>
                  <a:cubicBezTo>
                    <a:pt x="196054" y="217089"/>
                    <a:pt x="194843" y="232118"/>
                    <a:pt x="184826" y="240640"/>
                  </a:cubicBezTo>
                  <a:cubicBezTo>
                    <a:pt x="180530" y="244295"/>
                    <a:pt x="175075" y="246307"/>
                    <a:pt x="169435" y="246316"/>
                  </a:cubicBezTo>
                  <a:close/>
                </a:path>
              </a:pathLst>
            </a:custGeom>
            <a:solidFill>
              <a:srgbClr val="524F56"/>
            </a:solidFill>
            <a:ln w="9525" cap="flat">
              <a:noFill/>
              <a:prstDash val="solid"/>
              <a:miter/>
            </a:ln>
          </p:spPr>
          <p:txBody>
            <a:bodyPr rtlCol="0" anchor="ctr"/>
            <a:lstStyle/>
            <a:p>
              <a:endParaRPr lang="en-US" dirty="0"/>
            </a:p>
          </p:txBody>
        </p:sp>
        <p:sp>
          <p:nvSpPr>
            <p:cNvPr id="50" name="Freeform: Shape 49">
              <a:extLst>
                <a:ext uri="{FF2B5EF4-FFF2-40B4-BE49-F238E27FC236}">
                  <a16:creationId xmlns:a16="http://schemas.microsoft.com/office/drawing/2014/main" id="{09C3BE62-BF7A-4C07-AAD6-075F4870B6F1}"/>
                </a:ext>
              </a:extLst>
            </p:cNvPr>
            <p:cNvSpPr/>
            <p:nvPr/>
          </p:nvSpPr>
          <p:spPr>
            <a:xfrm>
              <a:off x="6879193" y="1197445"/>
              <a:ext cx="228600" cy="219075"/>
            </a:xfrm>
            <a:custGeom>
              <a:avLst/>
              <a:gdLst>
                <a:gd name="connsiteX0" fmla="*/ 202454 w 228600"/>
                <a:gd name="connsiteY0" fmla="*/ 216199 h 219075"/>
                <a:gd name="connsiteX1" fmla="*/ 184356 w 228600"/>
                <a:gd name="connsiteY1" fmla="*/ 207817 h 219075"/>
                <a:gd name="connsiteX2" fmla="*/ 61293 w 228600"/>
                <a:gd name="connsiteY2" fmla="*/ 63704 h 219075"/>
                <a:gd name="connsiteX3" fmla="*/ 45482 w 228600"/>
                <a:gd name="connsiteY3" fmla="*/ 76563 h 219075"/>
                <a:gd name="connsiteX4" fmla="*/ 12087 w 228600"/>
                <a:gd name="connsiteY4" fmla="*/ 72219 h 219075"/>
                <a:gd name="connsiteX5" fmla="*/ 14621 w 228600"/>
                <a:gd name="connsiteY5" fmla="*/ 40368 h 219075"/>
                <a:gd name="connsiteX6" fmla="*/ 46434 w 228600"/>
                <a:gd name="connsiteY6" fmla="*/ 13698 h 219075"/>
                <a:gd name="connsiteX7" fmla="*/ 81677 w 228600"/>
                <a:gd name="connsiteY7" fmla="*/ 14364 h 219075"/>
                <a:gd name="connsiteX8" fmla="*/ 83296 w 228600"/>
                <a:gd name="connsiteY8" fmla="*/ 16174 h 219075"/>
                <a:gd name="connsiteX9" fmla="*/ 220551 w 228600"/>
                <a:gd name="connsiteY9" fmla="*/ 176956 h 219075"/>
                <a:gd name="connsiteX10" fmla="*/ 217845 w 228600"/>
                <a:gd name="connsiteY10" fmla="*/ 210523 h 219075"/>
                <a:gd name="connsiteX11" fmla="*/ 202454 w 228600"/>
                <a:gd name="connsiteY11" fmla="*/ 216199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600" h="219075">
                  <a:moveTo>
                    <a:pt x="202454" y="216199"/>
                  </a:moveTo>
                  <a:cubicBezTo>
                    <a:pt x="195483" y="216201"/>
                    <a:pt x="188864" y="213135"/>
                    <a:pt x="184356" y="207817"/>
                  </a:cubicBezTo>
                  <a:lnTo>
                    <a:pt x="61293" y="63704"/>
                  </a:lnTo>
                  <a:lnTo>
                    <a:pt x="45482" y="76563"/>
                  </a:lnTo>
                  <a:cubicBezTo>
                    <a:pt x="35061" y="84585"/>
                    <a:pt x="20109" y="82640"/>
                    <a:pt x="12087" y="72219"/>
                  </a:cubicBezTo>
                  <a:cubicBezTo>
                    <a:pt x="4626" y="62527"/>
                    <a:pt x="5722" y="48758"/>
                    <a:pt x="14621" y="40368"/>
                  </a:cubicBezTo>
                  <a:lnTo>
                    <a:pt x="46434" y="13698"/>
                  </a:lnTo>
                  <a:cubicBezTo>
                    <a:pt x="56563" y="4709"/>
                    <a:pt x="71895" y="4999"/>
                    <a:pt x="81677" y="14364"/>
                  </a:cubicBezTo>
                  <a:lnTo>
                    <a:pt x="83296" y="16174"/>
                  </a:lnTo>
                  <a:lnTo>
                    <a:pt x="220551" y="176956"/>
                  </a:lnTo>
                  <a:cubicBezTo>
                    <a:pt x="229073" y="186973"/>
                    <a:pt x="227862" y="202001"/>
                    <a:pt x="217845" y="210523"/>
                  </a:cubicBezTo>
                  <a:cubicBezTo>
                    <a:pt x="213549" y="214179"/>
                    <a:pt x="208095" y="216190"/>
                    <a:pt x="202454" y="216199"/>
                  </a:cubicBezTo>
                  <a:close/>
                </a:path>
              </a:pathLst>
            </a:custGeom>
            <a:solidFill>
              <a:srgbClr val="524F56"/>
            </a:solidFill>
            <a:ln w="9525" cap="flat">
              <a:noFill/>
              <a:prstDash val="solid"/>
              <a:miter/>
            </a:ln>
          </p:spPr>
          <p:txBody>
            <a:bodyPr rtlCol="0" anchor="ctr"/>
            <a:lstStyle/>
            <a:p>
              <a:endParaRPr lang="en-US" dirty="0"/>
            </a:p>
          </p:txBody>
        </p:sp>
        <p:sp>
          <p:nvSpPr>
            <p:cNvPr id="51" name="Freeform: Shape 50">
              <a:extLst>
                <a:ext uri="{FF2B5EF4-FFF2-40B4-BE49-F238E27FC236}">
                  <a16:creationId xmlns:a16="http://schemas.microsoft.com/office/drawing/2014/main" id="{E1B24819-C0FC-4AA2-B8D5-C933AD22D385}"/>
                </a:ext>
              </a:extLst>
            </p:cNvPr>
            <p:cNvSpPr/>
            <p:nvPr/>
          </p:nvSpPr>
          <p:spPr>
            <a:xfrm>
              <a:off x="6556048" y="963014"/>
              <a:ext cx="371475" cy="400050"/>
            </a:xfrm>
            <a:custGeom>
              <a:avLst/>
              <a:gdLst>
                <a:gd name="connsiteX0" fmla="*/ 255184 w 371475"/>
                <a:gd name="connsiteY0" fmla="*/ 395290 h 400050"/>
                <a:gd name="connsiteX1" fmla="*/ 237087 w 371475"/>
                <a:gd name="connsiteY1" fmla="*/ 386908 h 400050"/>
                <a:gd name="connsiteX2" fmla="*/ 13916 w 371475"/>
                <a:gd name="connsiteY2" fmla="*/ 125733 h 400050"/>
                <a:gd name="connsiteX3" fmla="*/ 7153 w 371475"/>
                <a:gd name="connsiteY3" fmla="*/ 109064 h 400050"/>
                <a:gd name="connsiteX4" fmla="*/ 14297 w 371475"/>
                <a:gd name="connsiteY4" fmla="*/ 90490 h 400050"/>
                <a:gd name="connsiteX5" fmla="*/ 16869 w 371475"/>
                <a:gd name="connsiteY5" fmla="*/ 88109 h 400050"/>
                <a:gd name="connsiteX6" fmla="*/ 111452 w 371475"/>
                <a:gd name="connsiteY6" fmla="*/ 13243 h 400050"/>
                <a:gd name="connsiteX7" fmla="*/ 146409 w 371475"/>
                <a:gd name="connsiteY7" fmla="*/ 14671 h 400050"/>
                <a:gd name="connsiteX8" fmla="*/ 147742 w 371475"/>
                <a:gd name="connsiteY8" fmla="*/ 16100 h 400050"/>
                <a:gd name="connsiteX9" fmla="*/ 365865 w 371475"/>
                <a:gd name="connsiteY9" fmla="*/ 271465 h 400050"/>
                <a:gd name="connsiteX10" fmla="*/ 364875 w 371475"/>
                <a:gd name="connsiteY10" fmla="*/ 305127 h 400050"/>
                <a:gd name="connsiteX11" fmla="*/ 331213 w 371475"/>
                <a:gd name="connsiteY11" fmla="*/ 304137 h 400050"/>
                <a:gd name="connsiteX12" fmla="*/ 329670 w 371475"/>
                <a:gd name="connsiteY12" fmla="*/ 302326 h 400050"/>
                <a:gd name="connsiteX13" fmla="*/ 125454 w 371475"/>
                <a:gd name="connsiteY13" fmla="*/ 63344 h 400050"/>
                <a:gd name="connsiteX14" fmla="*/ 63827 w 371475"/>
                <a:gd name="connsiteY14" fmla="*/ 110969 h 400050"/>
                <a:gd name="connsiteX15" fmla="*/ 273377 w 371475"/>
                <a:gd name="connsiteY15" fmla="*/ 356047 h 400050"/>
                <a:gd name="connsiteX16" fmla="*/ 270671 w 371475"/>
                <a:gd name="connsiteY16" fmla="*/ 389615 h 400050"/>
                <a:gd name="connsiteX17" fmla="*/ 255279 w 371475"/>
                <a:gd name="connsiteY17" fmla="*/ 395290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1475" h="400050">
                  <a:moveTo>
                    <a:pt x="255184" y="395290"/>
                  </a:moveTo>
                  <a:cubicBezTo>
                    <a:pt x="248210" y="395305"/>
                    <a:pt x="241586" y="392237"/>
                    <a:pt x="237087" y="386908"/>
                  </a:cubicBezTo>
                  <a:lnTo>
                    <a:pt x="13916" y="125733"/>
                  </a:lnTo>
                  <a:cubicBezTo>
                    <a:pt x="9721" y="121177"/>
                    <a:pt x="7319" y="115255"/>
                    <a:pt x="7153" y="109064"/>
                  </a:cubicBezTo>
                  <a:cubicBezTo>
                    <a:pt x="6967" y="102169"/>
                    <a:pt x="9538" y="95484"/>
                    <a:pt x="14297" y="90490"/>
                  </a:cubicBezTo>
                  <a:lnTo>
                    <a:pt x="16869" y="88109"/>
                  </a:lnTo>
                  <a:lnTo>
                    <a:pt x="111452" y="13243"/>
                  </a:lnTo>
                  <a:cubicBezTo>
                    <a:pt x="121715" y="4592"/>
                    <a:pt x="136886" y="5212"/>
                    <a:pt x="146409" y="14671"/>
                  </a:cubicBezTo>
                  <a:lnTo>
                    <a:pt x="147742" y="16100"/>
                  </a:lnTo>
                  <a:lnTo>
                    <a:pt x="365865" y="271465"/>
                  </a:lnTo>
                  <a:cubicBezTo>
                    <a:pt x="374887" y="281034"/>
                    <a:pt x="374444" y="296105"/>
                    <a:pt x="364875" y="305127"/>
                  </a:cubicBezTo>
                  <a:cubicBezTo>
                    <a:pt x="355306" y="314149"/>
                    <a:pt x="340235" y="313706"/>
                    <a:pt x="331213" y="304137"/>
                  </a:cubicBezTo>
                  <a:cubicBezTo>
                    <a:pt x="330669" y="303560"/>
                    <a:pt x="330154" y="302955"/>
                    <a:pt x="329670" y="302326"/>
                  </a:cubicBezTo>
                  <a:lnTo>
                    <a:pt x="125454" y="63344"/>
                  </a:lnTo>
                  <a:lnTo>
                    <a:pt x="63827" y="110969"/>
                  </a:lnTo>
                  <a:lnTo>
                    <a:pt x="273377" y="356047"/>
                  </a:lnTo>
                  <a:cubicBezTo>
                    <a:pt x="281899" y="366064"/>
                    <a:pt x="280688" y="381092"/>
                    <a:pt x="270671" y="389615"/>
                  </a:cubicBezTo>
                  <a:cubicBezTo>
                    <a:pt x="266375" y="393270"/>
                    <a:pt x="260920" y="395281"/>
                    <a:pt x="255279" y="395290"/>
                  </a:cubicBezTo>
                  <a:close/>
                </a:path>
              </a:pathLst>
            </a:custGeom>
            <a:solidFill>
              <a:srgbClr val="524F56"/>
            </a:solidFill>
            <a:ln w="9525" cap="flat">
              <a:no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206EFBC1-BC4B-437B-AEDE-D5C9E054AF19}"/>
                </a:ext>
              </a:extLst>
            </p:cNvPr>
            <p:cNvSpPr/>
            <p:nvPr/>
          </p:nvSpPr>
          <p:spPr>
            <a:xfrm>
              <a:off x="6928346" y="1214433"/>
              <a:ext cx="190500" cy="247650"/>
            </a:xfrm>
            <a:custGeom>
              <a:avLst/>
              <a:gdLst>
                <a:gd name="connsiteX0" fmla="*/ 135870 w 190500"/>
                <a:gd name="connsiteY0" fmla="*/ 246169 h 247650"/>
                <a:gd name="connsiteX1" fmla="*/ 111705 w 190500"/>
                <a:gd name="connsiteY1" fmla="*/ 222715 h 247650"/>
                <a:gd name="connsiteX2" fmla="*/ 120154 w 190500"/>
                <a:gd name="connsiteY2" fmla="*/ 204164 h 247650"/>
                <a:gd name="connsiteX3" fmla="*/ 135394 w 190500"/>
                <a:gd name="connsiteY3" fmla="*/ 191305 h 247650"/>
                <a:gd name="connsiteX4" fmla="*/ 12807 w 190500"/>
                <a:gd name="connsiteY4" fmla="*/ 46430 h 247650"/>
                <a:gd name="connsiteX5" fmla="*/ 15569 w 190500"/>
                <a:gd name="connsiteY5" fmla="*/ 12807 h 247650"/>
                <a:gd name="connsiteX6" fmla="*/ 49192 w 190500"/>
                <a:gd name="connsiteY6" fmla="*/ 15569 h 247650"/>
                <a:gd name="connsiteX7" fmla="*/ 185495 w 190500"/>
                <a:gd name="connsiteY7" fmla="*/ 176351 h 247650"/>
                <a:gd name="connsiteX8" fmla="*/ 185495 w 190500"/>
                <a:gd name="connsiteY8" fmla="*/ 211594 h 247650"/>
                <a:gd name="connsiteX9" fmla="*/ 183590 w 190500"/>
                <a:gd name="connsiteY9" fmla="*/ 213499 h 247650"/>
                <a:gd name="connsiteX10" fmla="*/ 151300 w 190500"/>
                <a:gd name="connsiteY10" fmla="*/ 240550 h 247650"/>
                <a:gd name="connsiteX11" fmla="*/ 135870 w 190500"/>
                <a:gd name="connsiteY11" fmla="*/ 246169 h 247650"/>
                <a:gd name="connsiteX12" fmla="*/ 151396 w 190500"/>
                <a:gd name="connsiteY12" fmla="*/ 209593 h 247650"/>
                <a:gd name="connsiteX13" fmla="*/ 151396 w 190500"/>
                <a:gd name="connsiteY13" fmla="*/ 209593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0500" h="247650">
                  <a:moveTo>
                    <a:pt x="135870" y="246169"/>
                  </a:moveTo>
                  <a:cubicBezTo>
                    <a:pt x="122720" y="246365"/>
                    <a:pt x="111901" y="235864"/>
                    <a:pt x="111705" y="222715"/>
                  </a:cubicBezTo>
                  <a:cubicBezTo>
                    <a:pt x="111598" y="215577"/>
                    <a:pt x="114699" y="208769"/>
                    <a:pt x="120154" y="204164"/>
                  </a:cubicBezTo>
                  <a:lnTo>
                    <a:pt x="135394" y="191305"/>
                  </a:lnTo>
                  <a:lnTo>
                    <a:pt x="12807" y="46430"/>
                  </a:lnTo>
                  <a:cubicBezTo>
                    <a:pt x="4285" y="36382"/>
                    <a:pt x="5521" y="21329"/>
                    <a:pt x="15569" y="12807"/>
                  </a:cubicBezTo>
                  <a:cubicBezTo>
                    <a:pt x="25617" y="4285"/>
                    <a:pt x="40670" y="5521"/>
                    <a:pt x="49192" y="15569"/>
                  </a:cubicBezTo>
                  <a:lnTo>
                    <a:pt x="185495" y="176351"/>
                  </a:lnTo>
                  <a:cubicBezTo>
                    <a:pt x="194762" y="186271"/>
                    <a:pt x="194762" y="201674"/>
                    <a:pt x="185495" y="211594"/>
                  </a:cubicBezTo>
                  <a:lnTo>
                    <a:pt x="183590" y="213499"/>
                  </a:lnTo>
                  <a:lnTo>
                    <a:pt x="151300" y="240550"/>
                  </a:lnTo>
                  <a:cubicBezTo>
                    <a:pt x="146990" y="244201"/>
                    <a:pt x="141518" y="246193"/>
                    <a:pt x="135870" y="246169"/>
                  </a:cubicBezTo>
                  <a:close/>
                  <a:moveTo>
                    <a:pt x="151396" y="209593"/>
                  </a:moveTo>
                  <a:lnTo>
                    <a:pt x="151396" y="209593"/>
                  </a:lnTo>
                  <a:close/>
                </a:path>
              </a:pathLst>
            </a:custGeom>
            <a:solidFill>
              <a:srgbClr val="524F56"/>
            </a:solidFill>
            <a:ln w="9525" cap="flat">
              <a:no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1156DC65-A5B2-4074-B783-7236D89C5625}"/>
                </a:ext>
              </a:extLst>
            </p:cNvPr>
            <p:cNvSpPr/>
            <p:nvPr/>
          </p:nvSpPr>
          <p:spPr>
            <a:xfrm>
              <a:off x="6765374" y="1352641"/>
              <a:ext cx="228600" cy="219075"/>
            </a:xfrm>
            <a:custGeom>
              <a:avLst/>
              <a:gdLst>
                <a:gd name="connsiteX0" fmla="*/ 168826 w 228600"/>
                <a:gd name="connsiteY0" fmla="*/ 216642 h 219075"/>
                <a:gd name="connsiteX1" fmla="*/ 150729 w 228600"/>
                <a:gd name="connsiteY1" fmla="*/ 209308 h 219075"/>
                <a:gd name="connsiteX2" fmla="*/ 149110 w 228600"/>
                <a:gd name="connsiteY2" fmla="*/ 207593 h 219075"/>
                <a:gd name="connsiteX3" fmla="*/ 12807 w 228600"/>
                <a:gd name="connsiteY3" fmla="*/ 46430 h 219075"/>
                <a:gd name="connsiteX4" fmla="*/ 15569 w 228600"/>
                <a:gd name="connsiteY4" fmla="*/ 12807 h 219075"/>
                <a:gd name="connsiteX5" fmla="*/ 49192 w 228600"/>
                <a:gd name="connsiteY5" fmla="*/ 15569 h 219075"/>
                <a:gd name="connsiteX6" fmla="*/ 171684 w 228600"/>
                <a:gd name="connsiteY6" fmla="*/ 160254 h 219075"/>
                <a:gd name="connsiteX7" fmla="*/ 187210 w 228600"/>
                <a:gd name="connsiteY7" fmla="*/ 147109 h 219075"/>
                <a:gd name="connsiteX8" fmla="*/ 220833 w 228600"/>
                <a:gd name="connsiteY8" fmla="*/ 149872 h 219075"/>
                <a:gd name="connsiteX9" fmla="*/ 218071 w 228600"/>
                <a:gd name="connsiteY9" fmla="*/ 183495 h 219075"/>
                <a:gd name="connsiteX10" fmla="*/ 186448 w 228600"/>
                <a:gd name="connsiteY10" fmla="*/ 210260 h 219075"/>
                <a:gd name="connsiteX11" fmla="*/ 168826 w 228600"/>
                <a:gd name="connsiteY11" fmla="*/ 216642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600" h="219075">
                  <a:moveTo>
                    <a:pt x="168826" y="216642"/>
                  </a:moveTo>
                  <a:cubicBezTo>
                    <a:pt x="162074" y="216621"/>
                    <a:pt x="155590" y="213994"/>
                    <a:pt x="150729" y="209308"/>
                  </a:cubicBezTo>
                  <a:lnTo>
                    <a:pt x="149110" y="207593"/>
                  </a:lnTo>
                  <a:lnTo>
                    <a:pt x="12807" y="46430"/>
                  </a:lnTo>
                  <a:cubicBezTo>
                    <a:pt x="4285" y="36382"/>
                    <a:pt x="5521" y="21329"/>
                    <a:pt x="15569" y="12807"/>
                  </a:cubicBezTo>
                  <a:cubicBezTo>
                    <a:pt x="25617" y="4285"/>
                    <a:pt x="40670" y="5521"/>
                    <a:pt x="49192" y="15569"/>
                  </a:cubicBezTo>
                  <a:lnTo>
                    <a:pt x="171684" y="160254"/>
                  </a:lnTo>
                  <a:lnTo>
                    <a:pt x="187210" y="147109"/>
                  </a:lnTo>
                  <a:cubicBezTo>
                    <a:pt x="197257" y="138587"/>
                    <a:pt x="212311" y="139824"/>
                    <a:pt x="220833" y="149872"/>
                  </a:cubicBezTo>
                  <a:cubicBezTo>
                    <a:pt x="229355" y="159919"/>
                    <a:pt x="228118" y="174973"/>
                    <a:pt x="218071" y="183495"/>
                  </a:cubicBezTo>
                  <a:lnTo>
                    <a:pt x="186448" y="210260"/>
                  </a:lnTo>
                  <a:cubicBezTo>
                    <a:pt x="181576" y="214512"/>
                    <a:pt x="175291" y="216788"/>
                    <a:pt x="168826" y="216642"/>
                  </a:cubicBezTo>
                  <a:close/>
                </a:path>
              </a:pathLst>
            </a:custGeom>
            <a:solidFill>
              <a:srgbClr val="524F56"/>
            </a:solidFill>
            <a:ln w="9525" cap="flat">
              <a:noFill/>
              <a:prstDash val="solid"/>
              <a:miter/>
            </a:ln>
          </p:spPr>
          <p:txBody>
            <a:bodyPr rtlCol="0" anchor="ctr"/>
            <a:lstStyle/>
            <a:p>
              <a:endParaRPr lang="en-US" dirty="0"/>
            </a:p>
          </p:txBody>
        </p:sp>
        <p:sp>
          <p:nvSpPr>
            <p:cNvPr id="54" name="Freeform: Shape 53">
              <a:extLst>
                <a:ext uri="{FF2B5EF4-FFF2-40B4-BE49-F238E27FC236}">
                  <a16:creationId xmlns:a16="http://schemas.microsoft.com/office/drawing/2014/main" id="{E9DBD2D1-3B0A-442C-A1E3-BF5C91B17406}"/>
                </a:ext>
              </a:extLst>
            </p:cNvPr>
            <p:cNvSpPr/>
            <p:nvPr/>
          </p:nvSpPr>
          <p:spPr>
            <a:xfrm>
              <a:off x="6942729" y="1409029"/>
              <a:ext cx="371475" cy="400050"/>
            </a:xfrm>
            <a:custGeom>
              <a:avLst/>
              <a:gdLst>
                <a:gd name="connsiteX0" fmla="*/ 249598 w 371475"/>
                <a:gd name="connsiteY0" fmla="*/ 395902 h 400050"/>
                <a:gd name="connsiteX1" fmla="*/ 232168 w 371475"/>
                <a:gd name="connsiteY1" fmla="*/ 389140 h 400050"/>
                <a:gd name="connsiteX2" fmla="*/ 229977 w 371475"/>
                <a:gd name="connsiteY2" fmla="*/ 386949 h 400050"/>
                <a:gd name="connsiteX3" fmla="*/ 12807 w 371475"/>
                <a:gd name="connsiteY3" fmla="*/ 130631 h 400050"/>
                <a:gd name="connsiteX4" fmla="*/ 15569 w 371475"/>
                <a:gd name="connsiteY4" fmla="*/ 97008 h 400050"/>
                <a:gd name="connsiteX5" fmla="*/ 49192 w 371475"/>
                <a:gd name="connsiteY5" fmla="*/ 99770 h 400050"/>
                <a:gd name="connsiteX6" fmla="*/ 252646 w 371475"/>
                <a:gd name="connsiteY6" fmla="*/ 339991 h 400050"/>
                <a:gd name="connsiteX7" fmla="*/ 313797 w 371475"/>
                <a:gd name="connsiteY7" fmla="*/ 292366 h 400050"/>
                <a:gd name="connsiteX8" fmla="*/ 105771 w 371475"/>
                <a:gd name="connsiteY8" fmla="*/ 46430 h 400050"/>
                <a:gd name="connsiteX9" fmla="*/ 108533 w 371475"/>
                <a:gd name="connsiteY9" fmla="*/ 12807 h 400050"/>
                <a:gd name="connsiteX10" fmla="*/ 142156 w 371475"/>
                <a:gd name="connsiteY10" fmla="*/ 15569 h 400050"/>
                <a:gd name="connsiteX11" fmla="*/ 364184 w 371475"/>
                <a:gd name="connsiteY11" fmla="*/ 277697 h 400050"/>
                <a:gd name="connsiteX12" fmla="*/ 364184 w 371475"/>
                <a:gd name="connsiteY12" fmla="*/ 312844 h 400050"/>
                <a:gd name="connsiteX13" fmla="*/ 361422 w 371475"/>
                <a:gd name="connsiteY13" fmla="*/ 315416 h 400050"/>
                <a:gd name="connsiteX14" fmla="*/ 266172 w 371475"/>
                <a:gd name="connsiteY14" fmla="*/ 389997 h 400050"/>
                <a:gd name="connsiteX15" fmla="*/ 249598 w 371475"/>
                <a:gd name="connsiteY15" fmla="*/ 395902 h 400050"/>
                <a:gd name="connsiteX16" fmla="*/ 330085 w 371475"/>
                <a:gd name="connsiteY16" fmla="*/ 310939 h 400050"/>
                <a:gd name="connsiteX17" fmla="*/ 330085 w 371475"/>
                <a:gd name="connsiteY17" fmla="*/ 310939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1475" h="400050">
                  <a:moveTo>
                    <a:pt x="249598" y="395902"/>
                  </a:moveTo>
                  <a:cubicBezTo>
                    <a:pt x="243144" y="395924"/>
                    <a:pt x="236919" y="393509"/>
                    <a:pt x="232168" y="389140"/>
                  </a:cubicBezTo>
                  <a:lnTo>
                    <a:pt x="229977" y="386949"/>
                  </a:lnTo>
                  <a:lnTo>
                    <a:pt x="12807" y="130631"/>
                  </a:lnTo>
                  <a:cubicBezTo>
                    <a:pt x="4285" y="120583"/>
                    <a:pt x="5521" y="105530"/>
                    <a:pt x="15569" y="97008"/>
                  </a:cubicBezTo>
                  <a:cubicBezTo>
                    <a:pt x="25617" y="88486"/>
                    <a:pt x="40670" y="89722"/>
                    <a:pt x="49192" y="99770"/>
                  </a:cubicBezTo>
                  <a:lnTo>
                    <a:pt x="252646" y="339991"/>
                  </a:lnTo>
                  <a:lnTo>
                    <a:pt x="313797" y="292366"/>
                  </a:lnTo>
                  <a:lnTo>
                    <a:pt x="105771" y="46430"/>
                  </a:lnTo>
                  <a:cubicBezTo>
                    <a:pt x="97249" y="36382"/>
                    <a:pt x="98486" y="21329"/>
                    <a:pt x="108533" y="12807"/>
                  </a:cubicBezTo>
                  <a:cubicBezTo>
                    <a:pt x="118581" y="4285"/>
                    <a:pt x="133634" y="5521"/>
                    <a:pt x="142156" y="15569"/>
                  </a:cubicBezTo>
                  <a:lnTo>
                    <a:pt x="364184" y="277697"/>
                  </a:lnTo>
                  <a:cubicBezTo>
                    <a:pt x="373392" y="287604"/>
                    <a:pt x="373392" y="302938"/>
                    <a:pt x="364184" y="312844"/>
                  </a:cubicBezTo>
                  <a:lnTo>
                    <a:pt x="361422" y="315416"/>
                  </a:lnTo>
                  <a:lnTo>
                    <a:pt x="266172" y="389997"/>
                  </a:lnTo>
                  <a:cubicBezTo>
                    <a:pt x="261509" y="393845"/>
                    <a:pt x="255644" y="395935"/>
                    <a:pt x="249598" y="395902"/>
                  </a:cubicBezTo>
                  <a:close/>
                  <a:moveTo>
                    <a:pt x="330085" y="310939"/>
                  </a:moveTo>
                  <a:lnTo>
                    <a:pt x="330085" y="310939"/>
                  </a:lnTo>
                  <a:close/>
                </a:path>
              </a:pathLst>
            </a:custGeom>
            <a:solidFill>
              <a:srgbClr val="524F56"/>
            </a:solidFill>
            <a:ln w="9525" cap="flat">
              <a:noFill/>
              <a:prstDash val="solid"/>
              <a:miter/>
            </a:ln>
          </p:spPr>
          <p:txBody>
            <a:bodyPr rtlCol="0" anchor="ctr"/>
            <a:lstStyle/>
            <a:p>
              <a:endParaRPr lang="en-US" dirty="0"/>
            </a:p>
          </p:txBody>
        </p:sp>
      </p:grpSp>
      <p:pic>
        <p:nvPicPr>
          <p:cNvPr id="6" name="Audio 5">
            <a:hlinkClick r:id="" action="ppaction://media"/>
            <a:extLst>
              <a:ext uri="{FF2B5EF4-FFF2-40B4-BE49-F238E27FC236}">
                <a16:creationId xmlns:a16="http://schemas.microsoft.com/office/drawing/2014/main" id="{793F44FA-44F2-431E-A176-A18BCD8E36E4}"/>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1705298472"/>
      </p:ext>
    </p:extLst>
  </p:cSld>
  <p:clrMapOvr>
    <a:masterClrMapping/>
  </p:clrMapOvr>
  <mc:AlternateContent xmlns:mc="http://schemas.openxmlformats.org/markup-compatibility/2006" xmlns:p14="http://schemas.microsoft.com/office/powerpoint/2010/main">
    <mc:Choice Requires="p14">
      <p:transition spd="slow" p14:dur="2000" advTm="71840"/>
    </mc:Choice>
    <mc:Fallback xmlns="">
      <p:transition spd="slow" advTm="7184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extLst>
    <p:ext uri="{3A86A75C-4F4B-4683-9AE1-C65F6400EC91}">
      <p14:laserTraceLst xmlns:p14="http://schemas.microsoft.com/office/powerpoint/2010/main">
        <p14:tracePtLst>
          <p14:tracePt t="3247" x="76200" y="365125"/>
          <p14:tracePt t="3255" x="127000" y="374650"/>
          <p14:tracePt t="3263" x="212725" y="400050"/>
          <p14:tracePt t="3271" x="271463" y="415925"/>
          <p14:tracePt t="3279" x="347663" y="425450"/>
          <p14:tracePt t="3287" x="382588" y="433388"/>
          <p14:tracePt t="3295" x="415925" y="441325"/>
          <p14:tracePt t="3304" x="441325" y="441325"/>
          <p14:tracePt t="3311" x="450850" y="441325"/>
          <p14:tracePt t="3320" x="458788" y="441325"/>
          <p14:tracePt t="3352" x="458788" y="450850"/>
          <p14:tracePt t="3368" x="458788" y="458788"/>
          <p14:tracePt t="3383" x="466725" y="466725"/>
          <p14:tracePt t="3392" x="466725" y="476250"/>
          <p14:tracePt t="3480" x="450850" y="476250"/>
          <p14:tracePt t="3496" x="433388" y="476250"/>
          <p14:tracePt t="3505" x="425450" y="476250"/>
          <p14:tracePt t="3511" x="415925" y="476250"/>
          <p14:tracePt t="3519" x="400050" y="484188"/>
          <p14:tracePt t="3527" x="390525" y="492125"/>
          <p14:tracePt t="3535" x="382588" y="509588"/>
          <p14:tracePt t="3543" x="365125" y="509588"/>
          <p14:tracePt t="3551" x="357188" y="534988"/>
          <p14:tracePt t="3559" x="339725" y="552450"/>
          <p14:tracePt t="3567" x="339725" y="569913"/>
          <p14:tracePt t="3576" x="331788" y="577850"/>
          <p14:tracePt t="3583" x="322263" y="595313"/>
          <p14:tracePt t="3592" x="322263" y="620713"/>
          <p14:tracePt t="3608" x="322263" y="636588"/>
          <p14:tracePt t="3616" x="322263" y="654050"/>
          <p14:tracePt t="3624" x="347663" y="679450"/>
          <p14:tracePt t="3632" x="373063" y="688975"/>
          <p14:tracePt t="3640" x="415925" y="704850"/>
          <p14:tracePt t="3648" x="492125" y="714375"/>
          <p14:tracePt t="3656" x="552450" y="722313"/>
          <p14:tracePt t="3665" x="611188" y="722313"/>
          <p14:tracePt t="3671" x="671513" y="722313"/>
          <p14:tracePt t="3679" x="739775" y="722313"/>
          <p14:tracePt t="3687" x="798513" y="722313"/>
          <p14:tracePt t="3695" x="884238" y="722313"/>
          <p14:tracePt t="3704" x="960438" y="714375"/>
          <p14:tracePt t="3711" x="1019175" y="696913"/>
          <p14:tracePt t="3719" x="1120775" y="679450"/>
          <p14:tracePt t="3728" x="1181100" y="671513"/>
          <p14:tracePt t="3735" x="1239838" y="646113"/>
          <p14:tracePt t="3743" x="1274763" y="636588"/>
          <p14:tracePt t="3752" x="1308100" y="620713"/>
          <p14:tracePt t="3763" x="1317625" y="611188"/>
          <p14:tracePt t="3768" x="1343025" y="603250"/>
          <p14:tracePt t="3779" x="1358900" y="595313"/>
          <p14:tracePt t="3784" x="1376363" y="595313"/>
          <p14:tracePt t="3793" x="1393825" y="577850"/>
          <p14:tracePt t="3800" x="1419225" y="569913"/>
          <p14:tracePt t="3808" x="1462088" y="560388"/>
          <p14:tracePt t="3816" x="1503363" y="560388"/>
          <p14:tracePt t="3824" x="1597025" y="552450"/>
          <p14:tracePt t="3831" x="1682750" y="534988"/>
          <p14:tracePt t="3840" x="1792288" y="534988"/>
          <p14:tracePt t="3847" x="1920875" y="534988"/>
          <p14:tracePt t="3856" x="2065338" y="534988"/>
          <p14:tracePt t="3864" x="2293938" y="534988"/>
          <p14:tracePt t="3872" x="2471738" y="534988"/>
          <p14:tracePt t="3880" x="2735263" y="534988"/>
          <p14:tracePt t="3888" x="2889250" y="544513"/>
          <p14:tracePt t="3897" x="3084513" y="552450"/>
          <p14:tracePt t="3904" x="3211513" y="569913"/>
          <p14:tracePt t="3912" x="3322638" y="569913"/>
          <p14:tracePt t="3920" x="3406775" y="569913"/>
          <p14:tracePt t="3929" x="3467100" y="560388"/>
          <p14:tracePt t="3937" x="3517900" y="552450"/>
          <p14:tracePt t="3944" x="3533775" y="544513"/>
          <p14:tracePt t="3962" x="3543300" y="544513"/>
          <p14:tracePt t="3968" x="3543300" y="534988"/>
          <p14:tracePt t="4024" x="3543300" y="552450"/>
          <p14:tracePt t="4031" x="3533775" y="569913"/>
          <p14:tracePt t="4040" x="3508375" y="577850"/>
          <p14:tracePt t="4216" x="3338513" y="577850"/>
          <p14:tracePt t="4223" x="3244850" y="595313"/>
          <p14:tracePt t="4231" x="3168650" y="603250"/>
          <p14:tracePt t="4239" x="3143250" y="611188"/>
          <p14:tracePt t="4287" x="3152775" y="611188"/>
          <p14:tracePt t="4295" x="3194050" y="611188"/>
          <p14:tracePt t="4303" x="3254375" y="611188"/>
          <p14:tracePt t="4311" x="3373438" y="628650"/>
          <p14:tracePt t="4319" x="3508375" y="636588"/>
          <p14:tracePt t="4327" x="3756025" y="671513"/>
          <p14:tracePt t="4335" x="3959225" y="671513"/>
          <p14:tracePt t="4343" x="4222750" y="671513"/>
          <p14:tracePt t="4351" x="4375150" y="671513"/>
          <p14:tracePt t="4359" x="4511675" y="671513"/>
          <p14:tracePt t="4367" x="4681538" y="671513"/>
          <p14:tracePt t="4375" x="4808538" y="671513"/>
          <p14:tracePt t="4383" x="4970463" y="671513"/>
          <p14:tracePt t="4391" x="5080000" y="679450"/>
          <p14:tracePt t="4399" x="5224463" y="704850"/>
          <p14:tracePt t="4407" x="5353050" y="722313"/>
          <p14:tracePt t="4415" x="5497513" y="747713"/>
          <p14:tracePt t="4423" x="5599113" y="773113"/>
          <p14:tracePt t="4431" x="5692775" y="781050"/>
          <p14:tracePt t="4438" x="5794375" y="808038"/>
          <p14:tracePt t="4447" x="5845175" y="815975"/>
          <p14:tracePt t="4455" x="5888038" y="815975"/>
          <p14:tracePt t="4463" x="5895975" y="815975"/>
          <p14:tracePt t="4487" x="5888038" y="823913"/>
          <p14:tracePt t="4495" x="5853113" y="823913"/>
          <p14:tracePt t="4502" x="5802313" y="823913"/>
          <p14:tracePt t="4511" x="5692775" y="823913"/>
          <p14:tracePt t="4519" x="5565775" y="823913"/>
          <p14:tracePt t="4527" x="5310188" y="823913"/>
          <p14:tracePt t="4535" x="5106988" y="823913"/>
          <p14:tracePt t="4543" x="4783138" y="823913"/>
          <p14:tracePt t="4551" x="4554538" y="823913"/>
          <p14:tracePt t="4560" x="4205288" y="823913"/>
          <p14:tracePt t="4567" x="4052888" y="823913"/>
          <p14:tracePt t="4575" x="3857625" y="823913"/>
          <p14:tracePt t="4583" x="3721100" y="823913"/>
          <p14:tracePt t="4591" x="3594100" y="823913"/>
          <p14:tracePt t="4599" x="3449638" y="849313"/>
          <p14:tracePt t="4607" x="3363913" y="866775"/>
          <p14:tracePt t="4615" x="3262313" y="874713"/>
          <p14:tracePt t="4623" x="3203575" y="892175"/>
          <p14:tracePt t="4631" x="3143250" y="900113"/>
          <p14:tracePt t="4638" x="3067050" y="909638"/>
          <p14:tracePt t="4647" x="3024188" y="917575"/>
          <p14:tracePt t="4655" x="2973388" y="925513"/>
          <p14:tracePt t="4663" x="2947988" y="935038"/>
          <p14:tracePt t="4671" x="2889250" y="935038"/>
          <p14:tracePt t="4679" x="2838450" y="942975"/>
          <p14:tracePt t="4687" x="2786063" y="942975"/>
          <p14:tracePt t="4695" x="2735263" y="942975"/>
          <p14:tracePt t="4703" x="2668588" y="942975"/>
          <p14:tracePt t="4711" x="2625725" y="942975"/>
          <p14:tracePt t="4719" x="2565400" y="942975"/>
          <p14:tracePt t="4727" x="2497138" y="942975"/>
          <p14:tracePt t="4735" x="2463800" y="942975"/>
          <p14:tracePt t="4743" x="2455863" y="942975"/>
          <p14:tracePt t="4759" x="2471738" y="952500"/>
          <p14:tracePt t="4767" x="2524125" y="960438"/>
          <p14:tracePt t="4776" x="2684463" y="985838"/>
          <p14:tracePt t="4783" x="2905125" y="1028700"/>
          <p14:tracePt t="4791" x="3236913" y="1062038"/>
          <p14:tracePt t="4799" x="3713163" y="1147763"/>
          <p14:tracePt t="4808" x="3959225" y="1173163"/>
          <p14:tracePt t="4816" x="4306888" y="1173163"/>
          <p14:tracePt t="4824" x="4519613" y="1189038"/>
          <p14:tracePt t="4832" x="4724400" y="1189038"/>
          <p14:tracePt t="4840" x="4818063" y="1189038"/>
          <p14:tracePt t="4848" x="4919663" y="1189038"/>
          <p14:tracePt t="4856" x="4970463" y="1189038"/>
          <p14:tracePt t="4864" x="4987925" y="1189038"/>
          <p14:tracePt t="4872" x="4995863" y="1181100"/>
          <p14:tracePt t="4889" x="4995863" y="1173163"/>
          <p14:tracePt t="4896" x="4978400" y="1173163"/>
          <p14:tracePt t="4905" x="4876800" y="1155700"/>
          <p14:tracePt t="4913" x="4775200" y="1130300"/>
          <p14:tracePt t="4921" x="4545013" y="1087438"/>
          <p14:tracePt t="4929" x="4359275" y="1062038"/>
          <p14:tracePt t="4937" x="4129088" y="1062038"/>
          <p14:tracePt t="4946" x="3781425" y="1062038"/>
          <p14:tracePt t="4952" x="3543300" y="1054100"/>
          <p14:tracePt t="4962" x="3168650" y="1054100"/>
          <p14:tracePt t="4968" x="2965450" y="1054100"/>
          <p14:tracePt t="4980" x="2641600" y="1054100"/>
          <p14:tracePt t="4984" x="2489200" y="1054100"/>
          <p14:tracePt t="4993" x="2251075" y="1054100"/>
          <p14:tracePt t="5000" x="2116138" y="1054100"/>
          <p14:tracePt t="5009" x="1987550" y="1054100"/>
          <p14:tracePt t="5016" x="1860550" y="1054100"/>
          <p14:tracePt t="5024" x="1792288" y="1054100"/>
          <p14:tracePt t="5032" x="1733550" y="1062038"/>
          <p14:tracePt t="5064" x="1766888" y="1062038"/>
          <p14:tracePt t="5072" x="1835150" y="1044575"/>
          <p14:tracePt t="5080" x="1979613" y="1028700"/>
          <p14:tracePt t="5089" x="2141538" y="1003300"/>
          <p14:tracePt t="5098" x="2362200" y="968375"/>
          <p14:tracePt t="5105" x="2668588" y="917575"/>
          <p14:tracePt t="5112" x="2871788" y="858838"/>
          <p14:tracePt t="5120" x="3178175" y="790575"/>
          <p14:tracePt t="5128" x="3322638" y="773113"/>
          <p14:tracePt t="5137" x="3467100" y="747713"/>
          <p14:tracePt t="5144" x="3533775" y="730250"/>
          <p14:tracePt t="5152" x="3586163" y="722313"/>
          <p14:tracePt t="5161" x="3594100" y="722313"/>
          <p14:tracePt t="5192" x="3533775" y="730250"/>
          <p14:tracePt t="5200" x="3467100" y="739775"/>
          <p14:tracePt t="5208" x="3348038" y="765175"/>
          <p14:tracePt t="5215" x="3219450" y="781050"/>
          <p14:tracePt t="5224" x="3074988" y="808038"/>
          <p14:tracePt t="5231" x="2863850" y="808038"/>
          <p14:tracePt t="5240" x="2709863" y="808038"/>
          <p14:tracePt t="5248" x="2557463" y="808038"/>
          <p14:tracePt t="5255" x="2438400" y="808038"/>
          <p14:tracePt t="5264" x="2319338" y="808038"/>
          <p14:tracePt t="5271" x="2260600" y="808038"/>
          <p14:tracePt t="5280" x="2217738" y="808038"/>
          <p14:tracePt t="5291" x="2192338" y="808038"/>
          <p14:tracePt t="5298" x="2182813" y="808038"/>
          <p14:tracePt t="5312" x="2192338" y="808038"/>
          <p14:tracePt t="5320" x="2217738" y="808038"/>
          <p14:tracePt t="5328" x="2260600" y="808038"/>
          <p14:tracePt t="5337" x="2327275" y="808038"/>
          <p14:tracePt t="5344" x="2413000" y="808038"/>
          <p14:tracePt t="5352" x="2532063" y="808038"/>
          <p14:tracePt t="5361" x="2616200" y="808038"/>
          <p14:tracePt t="5368" x="2709863" y="808038"/>
          <p14:tracePt t="5378" x="2828925" y="808038"/>
          <p14:tracePt t="5384" x="2897188" y="808038"/>
          <p14:tracePt t="5394" x="2965450" y="808038"/>
          <p14:tracePt t="5399" x="2982913" y="808038"/>
          <p14:tracePt t="5528" x="2998788" y="808038"/>
          <p14:tracePt t="5537" x="3049588" y="808038"/>
          <p14:tracePt t="5544" x="3084513" y="808038"/>
          <p14:tracePt t="5552" x="3109913" y="808038"/>
          <p14:tracePt t="5562" x="3135313" y="808038"/>
          <p14:tracePt t="5568" x="3160713" y="808038"/>
          <p14:tracePt t="5576" x="3168650" y="808038"/>
          <p14:tracePt t="5583" x="3186113" y="798513"/>
          <p14:tracePt t="5590" x="3194050" y="798513"/>
          <p14:tracePt t="5625" x="3186113" y="798513"/>
          <p14:tracePt t="5656" x="3168650" y="798513"/>
          <p14:tracePt t="5696" x="3160713" y="798513"/>
          <p14:tracePt t="5705" x="3135313" y="798513"/>
          <p14:tracePt t="5711" x="3100388" y="798513"/>
          <p14:tracePt t="5720" x="3074988" y="808038"/>
          <p14:tracePt t="5728" x="3041650" y="815975"/>
          <p14:tracePt t="5737" x="2940050" y="823913"/>
          <p14:tracePt t="5744" x="2879725" y="833438"/>
          <p14:tracePt t="5752" x="2752725" y="858838"/>
          <p14:tracePt t="5761" x="2633663" y="900113"/>
          <p14:tracePt t="5768" x="2446338" y="960438"/>
          <p14:tracePt t="5777" x="2243138" y="1019175"/>
          <p14:tracePt t="5784" x="2012950" y="1079500"/>
          <p14:tracePt t="5793" x="1843088" y="1112838"/>
          <p14:tracePt t="5800" x="1647825" y="1147763"/>
          <p14:tracePt t="5808" x="1538288" y="1163638"/>
          <p14:tracePt t="5816" x="1452563" y="1181100"/>
          <p14:tracePt t="5824" x="1376363" y="1198563"/>
          <p14:tracePt t="5831" x="1343025" y="1206500"/>
          <p14:tracePt t="5840" x="1325563" y="1216025"/>
          <p14:tracePt t="5888" x="1343025" y="1216025"/>
          <p14:tracePt t="5896" x="1376363" y="1216025"/>
          <p14:tracePt t="5905" x="1409700" y="1216025"/>
          <p14:tracePt t="5912" x="1452563" y="1206500"/>
          <p14:tracePt t="5920" x="1503363" y="1198563"/>
          <p14:tracePt t="5928" x="1538288" y="1198563"/>
          <p14:tracePt t="5937" x="1546225" y="1189038"/>
          <p14:tracePt t="6337" x="1538288" y="1189038"/>
          <p14:tracePt t="6345" x="1528763" y="1189038"/>
          <p14:tracePt t="6352" x="1520825" y="1189038"/>
          <p14:tracePt t="6362" x="1512888" y="1189038"/>
          <p14:tracePt t="6368" x="1487488" y="1198563"/>
          <p14:tracePt t="6378" x="1435100" y="1231900"/>
          <p14:tracePt t="6384" x="1343025" y="1274763"/>
          <p14:tracePt t="6392" x="1239838" y="1325563"/>
          <p14:tracePt t="6400" x="1044575" y="1401763"/>
          <p14:tracePt t="6408" x="909638" y="1477963"/>
          <p14:tracePt t="6416" x="696913" y="1571625"/>
          <p14:tracePt t="6424" x="517525" y="1622425"/>
          <p14:tracePt t="6431" x="263525" y="1674813"/>
          <p14:tracePt t="6440" x="127000" y="1700213"/>
        </p14:tracePtLst>
      </p14:laserTraceLst>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2C86915-3EDE-0B44-BA3D-6E4A728D2AE8}"/>
              </a:ext>
            </a:extLst>
          </p:cNvPr>
          <p:cNvSpPr>
            <a:spLocks noGrp="1"/>
          </p:cNvSpPr>
          <p:nvPr>
            <p:ph type="title"/>
          </p:nvPr>
        </p:nvSpPr>
        <p:spPr/>
        <p:txBody>
          <a:bodyPr/>
          <a:lstStyle/>
          <a:p>
            <a:r>
              <a:rPr lang="en-US" dirty="0"/>
              <a:t>Conceptual Mixed-Use Network</a:t>
            </a:r>
          </a:p>
        </p:txBody>
      </p:sp>
      <p:pic>
        <p:nvPicPr>
          <p:cNvPr id="9" name="Picture 8" descr="A picture containing outdoor, sky, nature, desert&#10;&#10;Description automatically generated">
            <a:extLst>
              <a:ext uri="{FF2B5EF4-FFF2-40B4-BE49-F238E27FC236}">
                <a16:creationId xmlns:a16="http://schemas.microsoft.com/office/drawing/2014/main" id="{B9BC1730-1657-9A46-AD4E-BE79A3851922}"/>
              </a:ext>
            </a:extLst>
          </p:cNvPr>
          <p:cNvPicPr>
            <a:picLocks noChangeAspect="1"/>
          </p:cNvPicPr>
          <p:nvPr/>
        </p:nvPicPr>
        <p:blipFill rotWithShape="1">
          <a:blip r:embed="rId5">
            <a:extLst>
              <a:ext uri="{28A0092B-C50C-407E-A947-70E740481C1C}">
                <a14:useLocalDpi xmlns:a14="http://schemas.microsoft.com/office/drawing/2010/main" val="0"/>
              </a:ext>
            </a:extLst>
          </a:blip>
          <a:srcRect l="37914"/>
          <a:stretch/>
        </p:blipFill>
        <p:spPr>
          <a:xfrm>
            <a:off x="449201" y="1691323"/>
            <a:ext cx="11293597" cy="3984995"/>
          </a:xfrm>
          <a:prstGeom prst="rect">
            <a:avLst/>
          </a:prstGeom>
        </p:spPr>
      </p:pic>
      <p:pic>
        <p:nvPicPr>
          <p:cNvPr id="11" name="Graphic 10" descr="Satellite with solid fill">
            <a:extLst>
              <a:ext uri="{FF2B5EF4-FFF2-40B4-BE49-F238E27FC236}">
                <a16:creationId xmlns:a16="http://schemas.microsoft.com/office/drawing/2014/main" id="{12C3E523-2AEE-8648-A591-5F0E3DC33D1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99768" y="1717850"/>
            <a:ext cx="492443" cy="492443"/>
          </a:xfrm>
          <a:prstGeom prst="rect">
            <a:avLst/>
          </a:prstGeom>
        </p:spPr>
      </p:pic>
      <p:pic>
        <p:nvPicPr>
          <p:cNvPr id="13" name="Graphic 12" descr="Satellite dish with solid fill">
            <a:extLst>
              <a:ext uri="{FF2B5EF4-FFF2-40B4-BE49-F238E27FC236}">
                <a16:creationId xmlns:a16="http://schemas.microsoft.com/office/drawing/2014/main" id="{4F695BF6-B13B-4E46-A829-079D2C92A40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703915" y="4042970"/>
            <a:ext cx="394011" cy="394011"/>
          </a:xfrm>
          <a:prstGeom prst="rect">
            <a:avLst/>
          </a:prstGeom>
        </p:spPr>
      </p:pic>
      <p:pic>
        <p:nvPicPr>
          <p:cNvPr id="15" name="Graphic 14" descr="Cell Tower with solid fill">
            <a:extLst>
              <a:ext uri="{FF2B5EF4-FFF2-40B4-BE49-F238E27FC236}">
                <a16:creationId xmlns:a16="http://schemas.microsoft.com/office/drawing/2014/main" id="{1967A3AF-B4F1-5942-BB6E-E5328302D8E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43415" y="3286733"/>
            <a:ext cx="570851" cy="570851"/>
          </a:xfrm>
          <a:prstGeom prst="rect">
            <a:avLst/>
          </a:prstGeom>
        </p:spPr>
      </p:pic>
      <p:pic>
        <p:nvPicPr>
          <p:cNvPr id="17" name="Graphic 16" descr="Wireless router with solid fill">
            <a:extLst>
              <a:ext uri="{FF2B5EF4-FFF2-40B4-BE49-F238E27FC236}">
                <a16:creationId xmlns:a16="http://schemas.microsoft.com/office/drawing/2014/main" id="{438D8181-7902-974B-BEE5-94929425DBA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703244" y="4393580"/>
            <a:ext cx="394010" cy="394010"/>
          </a:xfrm>
          <a:prstGeom prst="rect">
            <a:avLst/>
          </a:prstGeom>
        </p:spPr>
      </p:pic>
      <p:pic>
        <p:nvPicPr>
          <p:cNvPr id="19" name="Graphic 18" descr="Take Off with solid fill">
            <a:extLst>
              <a:ext uri="{FF2B5EF4-FFF2-40B4-BE49-F238E27FC236}">
                <a16:creationId xmlns:a16="http://schemas.microsoft.com/office/drawing/2014/main" id="{6DF5F050-A585-1C4C-AFD4-BEFFD29921B2}"/>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b="37195"/>
          <a:stretch/>
        </p:blipFill>
        <p:spPr>
          <a:xfrm>
            <a:off x="4863506" y="2155288"/>
            <a:ext cx="914400" cy="574288"/>
          </a:xfrm>
          <a:prstGeom prst="rect">
            <a:avLst/>
          </a:prstGeom>
        </p:spPr>
      </p:pic>
      <p:pic>
        <p:nvPicPr>
          <p:cNvPr id="20" name="Graphic 19" descr="Wireless router with solid fill">
            <a:extLst>
              <a:ext uri="{FF2B5EF4-FFF2-40B4-BE49-F238E27FC236}">
                <a16:creationId xmlns:a16="http://schemas.microsoft.com/office/drawing/2014/main" id="{C9374669-8EA6-DE41-BD8E-9C1DCD7281C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455553" y="3918958"/>
            <a:ext cx="394010" cy="394010"/>
          </a:xfrm>
          <a:prstGeom prst="rect">
            <a:avLst/>
          </a:prstGeom>
        </p:spPr>
      </p:pic>
      <p:pic>
        <p:nvPicPr>
          <p:cNvPr id="21" name="Graphic 20" descr="Wireless router with solid fill">
            <a:extLst>
              <a:ext uri="{FF2B5EF4-FFF2-40B4-BE49-F238E27FC236}">
                <a16:creationId xmlns:a16="http://schemas.microsoft.com/office/drawing/2014/main" id="{2DA3BABA-DFEE-894C-B987-53BFCA1492B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228421" y="4649550"/>
            <a:ext cx="394010" cy="394010"/>
          </a:xfrm>
          <a:prstGeom prst="rect">
            <a:avLst/>
          </a:prstGeom>
        </p:spPr>
      </p:pic>
      <p:pic>
        <p:nvPicPr>
          <p:cNvPr id="22" name="Graphic 21" descr="Wireless router with solid fill">
            <a:extLst>
              <a:ext uri="{FF2B5EF4-FFF2-40B4-BE49-F238E27FC236}">
                <a16:creationId xmlns:a16="http://schemas.microsoft.com/office/drawing/2014/main" id="{75262244-A24F-8C4F-AE5B-B8C3F4A13FF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404195" y="3826726"/>
            <a:ext cx="394010" cy="394010"/>
          </a:xfrm>
          <a:prstGeom prst="rect">
            <a:avLst/>
          </a:prstGeom>
        </p:spPr>
      </p:pic>
      <p:pic>
        <p:nvPicPr>
          <p:cNvPr id="23" name="Graphic 22" descr="Wireless router with solid fill">
            <a:extLst>
              <a:ext uri="{FF2B5EF4-FFF2-40B4-BE49-F238E27FC236}">
                <a16:creationId xmlns:a16="http://schemas.microsoft.com/office/drawing/2014/main" id="{593FB5D7-121D-5442-8439-D3C0BBC5908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913433" y="4452545"/>
            <a:ext cx="394010" cy="394010"/>
          </a:xfrm>
          <a:prstGeom prst="rect">
            <a:avLst/>
          </a:prstGeom>
        </p:spPr>
      </p:pic>
      <p:pic>
        <p:nvPicPr>
          <p:cNvPr id="24" name="Graphic 23" descr="Wireless router with solid fill">
            <a:extLst>
              <a:ext uri="{FF2B5EF4-FFF2-40B4-BE49-F238E27FC236}">
                <a16:creationId xmlns:a16="http://schemas.microsoft.com/office/drawing/2014/main" id="{9484AA93-43D4-9541-8660-213D1F514EB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015935" y="3826726"/>
            <a:ext cx="394010" cy="394010"/>
          </a:xfrm>
          <a:prstGeom prst="rect">
            <a:avLst/>
          </a:prstGeom>
        </p:spPr>
      </p:pic>
      <p:pic>
        <p:nvPicPr>
          <p:cNvPr id="25" name="Graphic 24" descr="Wireless router with solid fill">
            <a:extLst>
              <a:ext uri="{FF2B5EF4-FFF2-40B4-BE49-F238E27FC236}">
                <a16:creationId xmlns:a16="http://schemas.microsoft.com/office/drawing/2014/main" id="{01B02F54-004F-2344-9EA2-B347B23C56D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729613" y="4393580"/>
            <a:ext cx="394010" cy="394010"/>
          </a:xfrm>
          <a:prstGeom prst="rect">
            <a:avLst/>
          </a:prstGeom>
        </p:spPr>
      </p:pic>
      <p:pic>
        <p:nvPicPr>
          <p:cNvPr id="26" name="Graphic 25" descr="Satellite dish with solid fill">
            <a:extLst>
              <a:ext uri="{FF2B5EF4-FFF2-40B4-BE49-F238E27FC236}">
                <a16:creationId xmlns:a16="http://schemas.microsoft.com/office/drawing/2014/main" id="{75FDE041-C6FA-2B41-84DA-F927D1824E0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335682" y="4042969"/>
            <a:ext cx="394011" cy="394011"/>
          </a:xfrm>
          <a:prstGeom prst="rect">
            <a:avLst/>
          </a:prstGeom>
        </p:spPr>
      </p:pic>
      <p:pic>
        <p:nvPicPr>
          <p:cNvPr id="27" name="Graphic 26" descr="Wireless router with solid fill">
            <a:extLst>
              <a:ext uri="{FF2B5EF4-FFF2-40B4-BE49-F238E27FC236}">
                <a16:creationId xmlns:a16="http://schemas.microsoft.com/office/drawing/2014/main" id="{8DDF3076-5C28-B844-8692-09E8E3A25E26}"/>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336354" y="4319894"/>
            <a:ext cx="394010" cy="394010"/>
          </a:xfrm>
          <a:prstGeom prst="rect">
            <a:avLst/>
          </a:prstGeom>
        </p:spPr>
      </p:pic>
      <p:pic>
        <p:nvPicPr>
          <p:cNvPr id="31" name="Graphic 30" descr="Wireless router with solid fill">
            <a:extLst>
              <a:ext uri="{FF2B5EF4-FFF2-40B4-BE49-F238E27FC236}">
                <a16:creationId xmlns:a16="http://schemas.microsoft.com/office/drawing/2014/main" id="{B099DC01-42B6-A547-8F5D-D3CC6208D07E}"/>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304479" y="4868349"/>
            <a:ext cx="394010" cy="394010"/>
          </a:xfrm>
          <a:prstGeom prst="rect">
            <a:avLst/>
          </a:prstGeom>
        </p:spPr>
      </p:pic>
      <p:pic>
        <p:nvPicPr>
          <p:cNvPr id="32" name="Graphic 31" descr="Wireless router with solid fill">
            <a:extLst>
              <a:ext uri="{FF2B5EF4-FFF2-40B4-BE49-F238E27FC236}">
                <a16:creationId xmlns:a16="http://schemas.microsoft.com/office/drawing/2014/main" id="{EFE83D02-E303-E94A-9A02-BF160E252307}"/>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151902" y="4122889"/>
            <a:ext cx="394010" cy="394010"/>
          </a:xfrm>
          <a:prstGeom prst="rect">
            <a:avLst/>
          </a:prstGeom>
        </p:spPr>
      </p:pic>
      <p:pic>
        <p:nvPicPr>
          <p:cNvPr id="33" name="Graphic 32" descr="Wireless router with solid fill">
            <a:extLst>
              <a:ext uri="{FF2B5EF4-FFF2-40B4-BE49-F238E27FC236}">
                <a16:creationId xmlns:a16="http://schemas.microsoft.com/office/drawing/2014/main" id="{F4D71C5F-B1E8-FA4A-9C68-5362F61C8AD6}"/>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651342" y="4552712"/>
            <a:ext cx="394010" cy="394010"/>
          </a:xfrm>
          <a:prstGeom prst="rect">
            <a:avLst/>
          </a:prstGeom>
        </p:spPr>
      </p:pic>
      <p:cxnSp>
        <p:nvCxnSpPr>
          <p:cNvPr id="7" name="Straight Arrow Connector 6">
            <a:extLst>
              <a:ext uri="{FF2B5EF4-FFF2-40B4-BE49-F238E27FC236}">
                <a16:creationId xmlns:a16="http://schemas.microsoft.com/office/drawing/2014/main" id="{8EF595F5-A606-884E-B234-723DAF7356BE}"/>
              </a:ext>
            </a:extLst>
          </p:cNvPr>
          <p:cNvCxnSpPr>
            <a:cxnSpLocks/>
            <a:stCxn id="20" idx="3"/>
            <a:endCxn id="23" idx="1"/>
          </p:cNvCxnSpPr>
          <p:nvPr/>
        </p:nvCxnSpPr>
        <p:spPr>
          <a:xfrm>
            <a:off x="8849563" y="4115963"/>
            <a:ext cx="1063870" cy="533587"/>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EDCAF59F-53C9-BD46-936D-E423A37CD6F5}"/>
              </a:ext>
            </a:extLst>
          </p:cNvPr>
          <p:cNvCxnSpPr>
            <a:cxnSpLocks/>
            <a:stCxn id="17" idx="3"/>
            <a:endCxn id="21" idx="1"/>
          </p:cNvCxnSpPr>
          <p:nvPr/>
        </p:nvCxnSpPr>
        <p:spPr>
          <a:xfrm>
            <a:off x="9097254" y="4590585"/>
            <a:ext cx="131167" cy="255970"/>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BACCD4FD-FBAC-5643-8F2E-2A88F0D34C03}"/>
              </a:ext>
            </a:extLst>
          </p:cNvPr>
          <p:cNvCxnSpPr>
            <a:cxnSpLocks/>
            <a:stCxn id="13" idx="1"/>
            <a:endCxn id="17" idx="1"/>
          </p:cNvCxnSpPr>
          <p:nvPr/>
        </p:nvCxnSpPr>
        <p:spPr>
          <a:xfrm>
            <a:off x="8097926" y="4239976"/>
            <a:ext cx="605318" cy="350609"/>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0737F9C0-A021-F843-90C3-D6AE4432FB5D}"/>
              </a:ext>
            </a:extLst>
          </p:cNvPr>
          <p:cNvCxnSpPr>
            <a:cxnSpLocks/>
            <a:stCxn id="13" idx="1"/>
            <a:endCxn id="20" idx="1"/>
          </p:cNvCxnSpPr>
          <p:nvPr/>
        </p:nvCxnSpPr>
        <p:spPr>
          <a:xfrm flipV="1">
            <a:off x="8097926" y="4115963"/>
            <a:ext cx="357627" cy="124013"/>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51BDBD6F-ACD0-AB49-9F08-F4792CD77FEF}"/>
              </a:ext>
            </a:extLst>
          </p:cNvPr>
          <p:cNvCxnSpPr>
            <a:cxnSpLocks/>
            <a:stCxn id="17" idx="3"/>
            <a:endCxn id="24" idx="1"/>
          </p:cNvCxnSpPr>
          <p:nvPr/>
        </p:nvCxnSpPr>
        <p:spPr>
          <a:xfrm flipV="1">
            <a:off x="9097254" y="4023731"/>
            <a:ext cx="918681" cy="566854"/>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AAD02AF7-1ECC-7B44-AE48-89876F53069C}"/>
              </a:ext>
            </a:extLst>
          </p:cNvPr>
          <p:cNvCxnSpPr>
            <a:cxnSpLocks/>
            <a:stCxn id="22" idx="3"/>
            <a:endCxn id="25" idx="1"/>
          </p:cNvCxnSpPr>
          <p:nvPr/>
        </p:nvCxnSpPr>
        <p:spPr>
          <a:xfrm>
            <a:off x="9798205" y="4023731"/>
            <a:ext cx="931408" cy="566854"/>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973490EE-29A4-9E47-BA8B-141B701A7AB0}"/>
              </a:ext>
            </a:extLst>
          </p:cNvPr>
          <p:cNvCxnSpPr>
            <a:cxnSpLocks/>
            <a:stCxn id="21" idx="3"/>
            <a:endCxn id="23" idx="1"/>
          </p:cNvCxnSpPr>
          <p:nvPr/>
        </p:nvCxnSpPr>
        <p:spPr>
          <a:xfrm flipV="1">
            <a:off x="9622431" y="4649550"/>
            <a:ext cx="291002" cy="197005"/>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709FD809-10C5-B441-BFB1-83F5D3736464}"/>
              </a:ext>
            </a:extLst>
          </p:cNvPr>
          <p:cNvCxnSpPr>
            <a:cxnSpLocks/>
            <a:endCxn id="25" idx="1"/>
          </p:cNvCxnSpPr>
          <p:nvPr/>
        </p:nvCxnSpPr>
        <p:spPr>
          <a:xfrm flipV="1">
            <a:off x="10323382" y="4590585"/>
            <a:ext cx="406231" cy="65978"/>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4B3BF120-6B6C-3345-B7B7-30E0660414FB}"/>
              </a:ext>
            </a:extLst>
          </p:cNvPr>
          <p:cNvCxnSpPr>
            <a:cxnSpLocks/>
            <a:stCxn id="24" idx="3"/>
            <a:endCxn id="25" idx="0"/>
          </p:cNvCxnSpPr>
          <p:nvPr/>
        </p:nvCxnSpPr>
        <p:spPr>
          <a:xfrm>
            <a:off x="10409945" y="4023731"/>
            <a:ext cx="516673" cy="369849"/>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5074DC59-5850-EA42-877C-97BC7E0C3EDA}"/>
              </a:ext>
            </a:extLst>
          </p:cNvPr>
          <p:cNvCxnSpPr>
            <a:cxnSpLocks/>
            <a:stCxn id="22" idx="0"/>
            <a:endCxn id="11" idx="2"/>
          </p:cNvCxnSpPr>
          <p:nvPr/>
        </p:nvCxnSpPr>
        <p:spPr>
          <a:xfrm flipV="1">
            <a:off x="9601200" y="2210293"/>
            <a:ext cx="344790" cy="1616433"/>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E9E3BF8F-8490-C146-AEDA-7EA142E92FC3}"/>
              </a:ext>
            </a:extLst>
          </p:cNvPr>
          <p:cNvCxnSpPr>
            <a:cxnSpLocks/>
            <a:stCxn id="20" idx="0"/>
            <a:endCxn id="19" idx="3"/>
          </p:cNvCxnSpPr>
          <p:nvPr/>
        </p:nvCxnSpPr>
        <p:spPr>
          <a:xfrm flipH="1" flipV="1">
            <a:off x="5777906" y="2442432"/>
            <a:ext cx="2874652" cy="1476526"/>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C5D32C46-48FE-0849-B58F-761C47E6876F}"/>
              </a:ext>
            </a:extLst>
          </p:cNvPr>
          <p:cNvCxnSpPr>
            <a:cxnSpLocks/>
            <a:stCxn id="24" idx="0"/>
            <a:endCxn id="11" idx="2"/>
          </p:cNvCxnSpPr>
          <p:nvPr/>
        </p:nvCxnSpPr>
        <p:spPr>
          <a:xfrm flipH="1" flipV="1">
            <a:off x="9945990" y="2210293"/>
            <a:ext cx="266950" cy="1616433"/>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59F993E2-AF4A-3B4A-BDB5-0CCE9B3B26FE}"/>
              </a:ext>
            </a:extLst>
          </p:cNvPr>
          <p:cNvCxnSpPr>
            <a:cxnSpLocks/>
            <a:stCxn id="20" idx="0"/>
            <a:endCxn id="11" idx="2"/>
          </p:cNvCxnSpPr>
          <p:nvPr/>
        </p:nvCxnSpPr>
        <p:spPr>
          <a:xfrm flipV="1">
            <a:off x="8652558" y="2210293"/>
            <a:ext cx="1293432" cy="1708665"/>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3BBC57FF-35B4-4640-96B8-25AA313B47B4}"/>
              </a:ext>
            </a:extLst>
          </p:cNvPr>
          <p:cNvCxnSpPr>
            <a:cxnSpLocks/>
            <a:stCxn id="19" idx="3"/>
            <a:endCxn id="22" idx="1"/>
          </p:cNvCxnSpPr>
          <p:nvPr/>
        </p:nvCxnSpPr>
        <p:spPr>
          <a:xfrm>
            <a:off x="5777906" y="2442432"/>
            <a:ext cx="3626289" cy="1581299"/>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3" name="Rounded Rectangular Callout 72">
            <a:extLst>
              <a:ext uri="{FF2B5EF4-FFF2-40B4-BE49-F238E27FC236}">
                <a16:creationId xmlns:a16="http://schemas.microsoft.com/office/drawing/2014/main" id="{7BE75289-9802-A54F-BCDC-EA01A788F7DD}"/>
              </a:ext>
            </a:extLst>
          </p:cNvPr>
          <p:cNvSpPr/>
          <p:nvPr/>
        </p:nvSpPr>
        <p:spPr>
          <a:xfrm>
            <a:off x="6913756" y="2210293"/>
            <a:ext cx="1738802" cy="519283"/>
          </a:xfrm>
          <a:prstGeom prst="wedgeRoundRectCallout">
            <a:avLst>
              <a:gd name="adj1" fmla="val 51747"/>
              <a:gd name="adj2" fmla="val 206377"/>
              <a:gd name="adj3" fmla="val 16667"/>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solidFill>
                  <a:schemeClr val="tx1"/>
                </a:solidFill>
              </a:rPr>
              <a:t>Ad-hoc mesh network</a:t>
            </a:r>
          </a:p>
        </p:txBody>
      </p:sp>
      <p:sp>
        <p:nvSpPr>
          <p:cNvPr id="75" name="Rounded Rectangular Callout 74">
            <a:extLst>
              <a:ext uri="{FF2B5EF4-FFF2-40B4-BE49-F238E27FC236}">
                <a16:creationId xmlns:a16="http://schemas.microsoft.com/office/drawing/2014/main" id="{73AB3B06-A64D-6942-8DCD-D83E541EAAC7}"/>
              </a:ext>
            </a:extLst>
          </p:cNvPr>
          <p:cNvSpPr/>
          <p:nvPr/>
        </p:nvSpPr>
        <p:spPr>
          <a:xfrm>
            <a:off x="4908958" y="4516899"/>
            <a:ext cx="1048214" cy="394010"/>
          </a:xfrm>
          <a:prstGeom prst="wedgeRoundRectCallout">
            <a:avLst>
              <a:gd name="adj1" fmla="val -71510"/>
              <a:gd name="adj2" fmla="val -103366"/>
              <a:gd name="adj3" fmla="val 16667"/>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solidFill>
                  <a:schemeClr val="tx1"/>
                </a:solidFill>
              </a:rPr>
              <a:t>Jammer</a:t>
            </a:r>
          </a:p>
        </p:txBody>
      </p:sp>
      <p:sp>
        <p:nvSpPr>
          <p:cNvPr id="76" name="Rounded Rectangular Callout 75">
            <a:extLst>
              <a:ext uri="{FF2B5EF4-FFF2-40B4-BE49-F238E27FC236}">
                <a16:creationId xmlns:a16="http://schemas.microsoft.com/office/drawing/2014/main" id="{122C1492-3182-9E4A-8FEB-60D78DD54B1B}"/>
              </a:ext>
            </a:extLst>
          </p:cNvPr>
          <p:cNvSpPr/>
          <p:nvPr/>
        </p:nvSpPr>
        <p:spPr>
          <a:xfrm>
            <a:off x="1675046" y="2442432"/>
            <a:ext cx="1370305" cy="681154"/>
          </a:xfrm>
          <a:prstGeom prst="wedgeRoundRectCallout">
            <a:avLst>
              <a:gd name="adj1" fmla="val -83094"/>
              <a:gd name="adj2" fmla="val 83603"/>
              <a:gd name="adj3" fmla="val 16667"/>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solidFill>
                  <a:schemeClr val="tx1"/>
                </a:solidFill>
              </a:rPr>
              <a:t>Background RF signal</a:t>
            </a:r>
          </a:p>
        </p:txBody>
      </p:sp>
      <p:pic>
        <p:nvPicPr>
          <p:cNvPr id="6" name="Graphic 5" descr="Security camera with solid fill">
            <a:extLst>
              <a:ext uri="{FF2B5EF4-FFF2-40B4-BE49-F238E27FC236}">
                <a16:creationId xmlns:a16="http://schemas.microsoft.com/office/drawing/2014/main" id="{94B78586-EFCE-BE48-B36E-DC34A5A4AEB1}"/>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flipH="1">
            <a:off x="7073019" y="4428929"/>
            <a:ext cx="389290" cy="389290"/>
          </a:xfrm>
          <a:prstGeom prst="rect">
            <a:avLst/>
          </a:prstGeom>
        </p:spPr>
      </p:pic>
      <p:cxnSp>
        <p:nvCxnSpPr>
          <p:cNvPr id="46" name="Straight Arrow Connector 45">
            <a:extLst>
              <a:ext uri="{FF2B5EF4-FFF2-40B4-BE49-F238E27FC236}">
                <a16:creationId xmlns:a16="http://schemas.microsoft.com/office/drawing/2014/main" id="{F0D401B6-419F-C043-97A5-45861B8EC4FB}"/>
              </a:ext>
            </a:extLst>
          </p:cNvPr>
          <p:cNvCxnSpPr>
            <a:cxnSpLocks/>
            <a:stCxn id="6" idx="1"/>
            <a:endCxn id="17" idx="1"/>
          </p:cNvCxnSpPr>
          <p:nvPr/>
        </p:nvCxnSpPr>
        <p:spPr>
          <a:xfrm flipV="1">
            <a:off x="7462309" y="4590585"/>
            <a:ext cx="1240935" cy="32989"/>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6" name="Graphic 15" descr="Quadcopter with solid fill">
            <a:extLst>
              <a:ext uri="{FF2B5EF4-FFF2-40B4-BE49-F238E27FC236}">
                <a16:creationId xmlns:a16="http://schemas.microsoft.com/office/drawing/2014/main" id="{08B673F3-CBC1-A045-B651-826FF2DE75F2}"/>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6397216" y="4713904"/>
            <a:ext cx="507265" cy="507265"/>
          </a:xfrm>
          <a:prstGeom prst="rect">
            <a:avLst/>
          </a:prstGeom>
        </p:spPr>
      </p:pic>
      <p:grpSp>
        <p:nvGrpSpPr>
          <p:cNvPr id="18" name="Group 17">
            <a:extLst>
              <a:ext uri="{FF2B5EF4-FFF2-40B4-BE49-F238E27FC236}">
                <a16:creationId xmlns:a16="http://schemas.microsoft.com/office/drawing/2014/main" id="{D00062E1-D063-9349-8CF9-86157BB31904}"/>
              </a:ext>
            </a:extLst>
          </p:cNvPr>
          <p:cNvGrpSpPr/>
          <p:nvPr/>
        </p:nvGrpSpPr>
        <p:grpSpPr>
          <a:xfrm>
            <a:off x="6175130" y="3756992"/>
            <a:ext cx="1048214" cy="394010"/>
            <a:chOff x="6175130" y="3756992"/>
            <a:chExt cx="1048214" cy="394010"/>
          </a:xfrm>
        </p:grpSpPr>
        <p:sp>
          <p:nvSpPr>
            <p:cNvPr id="74" name="Rounded Rectangular Callout 73">
              <a:extLst>
                <a:ext uri="{FF2B5EF4-FFF2-40B4-BE49-F238E27FC236}">
                  <a16:creationId xmlns:a16="http://schemas.microsoft.com/office/drawing/2014/main" id="{5B9B4C1B-AE83-9449-ACD0-38CB5D64B41A}"/>
                </a:ext>
              </a:extLst>
            </p:cNvPr>
            <p:cNvSpPr/>
            <p:nvPr/>
          </p:nvSpPr>
          <p:spPr>
            <a:xfrm>
              <a:off x="6175130" y="3756992"/>
              <a:ext cx="1048214" cy="394010"/>
            </a:xfrm>
            <a:prstGeom prst="wedgeRoundRectCallout">
              <a:avLst>
                <a:gd name="adj1" fmla="val 100444"/>
                <a:gd name="adj2" fmla="val 44961"/>
                <a:gd name="adj3" fmla="val 16667"/>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solidFill>
                    <a:schemeClr val="tx1"/>
                  </a:solidFill>
                </a:rPr>
                <a:t>Sensors</a:t>
              </a:r>
            </a:p>
          </p:txBody>
        </p:sp>
        <p:sp>
          <p:nvSpPr>
            <p:cNvPr id="42" name="Rounded Rectangular Callout 41">
              <a:extLst>
                <a:ext uri="{FF2B5EF4-FFF2-40B4-BE49-F238E27FC236}">
                  <a16:creationId xmlns:a16="http://schemas.microsoft.com/office/drawing/2014/main" id="{064EB3D2-6604-154F-AE62-9D83AC10A6D1}"/>
                </a:ext>
              </a:extLst>
            </p:cNvPr>
            <p:cNvSpPr/>
            <p:nvPr/>
          </p:nvSpPr>
          <p:spPr>
            <a:xfrm>
              <a:off x="6175130" y="3756992"/>
              <a:ext cx="1048214" cy="394010"/>
            </a:xfrm>
            <a:prstGeom prst="wedgeRoundRectCallout">
              <a:avLst>
                <a:gd name="adj1" fmla="val 55835"/>
                <a:gd name="adj2" fmla="val 137263"/>
                <a:gd name="adj3" fmla="val 16667"/>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solidFill>
                    <a:schemeClr val="tx1"/>
                  </a:solidFill>
                </a:rPr>
                <a:t>Sensors</a:t>
              </a:r>
            </a:p>
          </p:txBody>
        </p:sp>
        <p:sp>
          <p:nvSpPr>
            <p:cNvPr id="49" name="Rounded Rectangular Callout 48">
              <a:extLst>
                <a:ext uri="{FF2B5EF4-FFF2-40B4-BE49-F238E27FC236}">
                  <a16:creationId xmlns:a16="http://schemas.microsoft.com/office/drawing/2014/main" id="{A5E4EAEB-6939-414F-979D-B1E260AB7C5A}"/>
                </a:ext>
              </a:extLst>
            </p:cNvPr>
            <p:cNvSpPr/>
            <p:nvPr/>
          </p:nvSpPr>
          <p:spPr>
            <a:xfrm>
              <a:off x="6175130" y="3756992"/>
              <a:ext cx="1048214" cy="394010"/>
            </a:xfrm>
            <a:prstGeom prst="wedgeRoundRectCallout">
              <a:avLst>
                <a:gd name="adj1" fmla="val -244"/>
                <a:gd name="adj2" fmla="val 206333"/>
                <a:gd name="adj3" fmla="val 16667"/>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solidFill>
                    <a:schemeClr val="tx1"/>
                  </a:solidFill>
                </a:rPr>
                <a:t>Sensors</a:t>
              </a:r>
            </a:p>
          </p:txBody>
        </p:sp>
      </p:grpSp>
      <p:cxnSp>
        <p:nvCxnSpPr>
          <p:cNvPr id="51" name="Straight Arrow Connector 50">
            <a:extLst>
              <a:ext uri="{FF2B5EF4-FFF2-40B4-BE49-F238E27FC236}">
                <a16:creationId xmlns:a16="http://schemas.microsoft.com/office/drawing/2014/main" id="{39C2A922-CA61-C349-9E51-56A8BB0FD2BE}"/>
              </a:ext>
            </a:extLst>
          </p:cNvPr>
          <p:cNvCxnSpPr>
            <a:cxnSpLocks/>
            <a:endCxn id="17" idx="1"/>
          </p:cNvCxnSpPr>
          <p:nvPr/>
        </p:nvCxnSpPr>
        <p:spPr>
          <a:xfrm flipV="1">
            <a:off x="6913756" y="4590585"/>
            <a:ext cx="1789488" cy="356138"/>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 name="Audio 2">
            <a:hlinkClick r:id="" action="ppaction://media"/>
            <a:extLst>
              <a:ext uri="{FF2B5EF4-FFF2-40B4-BE49-F238E27FC236}">
                <a16:creationId xmlns:a16="http://schemas.microsoft.com/office/drawing/2014/main" id="{8E1B0BAC-FAE4-4488-BE24-2631F9FF34E7}"/>
              </a:ext>
            </a:extLst>
          </p:cNvPr>
          <p:cNvPicPr>
            <a:picLocks noChangeAspect="1"/>
          </p:cNvPicPr>
          <p:nvPr>
            <a:audioFile r:link="rId2"/>
            <p:extLst>
              <p:ext uri="{DAA4B4D4-6D71-4841-9C94-3DE7FCFB9230}">
                <p14:media xmlns:p14="http://schemas.microsoft.com/office/powerpoint/2010/main" r:embed="rId1"/>
              </p:ext>
            </p:extLst>
          </p:nvPr>
        </p:nvPicPr>
        <p:blipFill>
          <a:blip r:embed="rId24"/>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3034588183"/>
      </p:ext>
    </p:extLst>
  </p:cSld>
  <p:clrMapOvr>
    <a:masterClrMapping/>
  </p:clrMapOvr>
  <mc:AlternateContent xmlns:mc="http://schemas.openxmlformats.org/markup-compatibility/2006" xmlns:p14="http://schemas.microsoft.com/office/powerpoint/2010/main">
    <mc:Choice Requires="p14">
      <p:transition spd="slow" p14:dur="2000" advTm="95761"/>
    </mc:Choice>
    <mc:Fallback xmlns="">
      <p:transition spd="slow" advTm="9576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extLst>
    <p:ext uri="{3A86A75C-4F4B-4683-9AE1-C65F6400EC91}">
      <p14:laserTraceLst xmlns:p14="http://schemas.microsoft.com/office/powerpoint/2010/main">
        <p14:tracePtLst>
          <p14:tracePt t="226" x="3759200" y="6343650"/>
          <p14:tracePt t="7746" x="12080875" y="4894263"/>
          <p14:tracePt t="7752" x="11996738" y="4894263"/>
          <p14:tracePt t="7761" x="11928475" y="4894263"/>
          <p14:tracePt t="7769" x="11826875" y="4894263"/>
          <p14:tracePt t="7777" x="11741150" y="4894263"/>
          <p14:tracePt t="7784" x="11657013" y="4878388"/>
          <p14:tracePt t="7793" x="11555413" y="4868863"/>
          <p14:tracePt t="7801" x="11452225" y="4835525"/>
          <p14:tracePt t="7809" x="11376025" y="4802188"/>
          <p14:tracePt t="7816" x="11325225" y="4767263"/>
          <p14:tracePt t="7825" x="11256963" y="4749800"/>
          <p14:tracePt t="7832" x="11206163" y="4733925"/>
          <p14:tracePt t="7841" x="11172825" y="4724400"/>
          <p14:tracePt t="7849" x="11155363" y="4716463"/>
          <p14:tracePt t="7857" x="11155363" y="4708525"/>
          <p14:tracePt t="7922" x="11163300" y="4699000"/>
          <p14:tracePt t="7938" x="11172825" y="4699000"/>
          <p14:tracePt t="8162" x="11172825" y="4691063"/>
          <p14:tracePt t="8170" x="11172825" y="4665663"/>
          <p14:tracePt t="8420" x="11188700" y="4665663"/>
          <p14:tracePt t="8426" x="11180763" y="4665663"/>
          <p14:tracePt t="8435" x="11223625" y="4622800"/>
          <p14:tracePt t="8442" x="11231563" y="4622800"/>
          <p14:tracePt t="8466" x="11241088" y="4622800"/>
          <p14:tracePt t="8490" x="11231563" y="4622800"/>
          <p14:tracePt t="8497" x="11241088" y="4622800"/>
          <p14:tracePt t="8520" x="11241088" y="4614863"/>
          <p14:tracePt t="8698" x="11241088" y="4605338"/>
          <p14:tracePt t="8706" x="11231563" y="4605338"/>
          <p14:tracePt t="8730" x="11223625" y="4605338"/>
          <p14:tracePt t="8746" x="11241088" y="4597400"/>
          <p14:tracePt t="8801" x="11231563" y="4597400"/>
          <p14:tracePt t="9017" x="11223625" y="4589463"/>
          <p14:tracePt t="9033" x="11223625" y="4572000"/>
          <p14:tracePt t="9041" x="11223625" y="4564063"/>
          <p14:tracePt t="9048" x="11188700" y="4513263"/>
          <p14:tracePt t="9057" x="11155363" y="4460875"/>
          <p14:tracePt t="9065" x="11087100" y="4384675"/>
          <p14:tracePt t="9073" x="11018838" y="4308475"/>
          <p14:tracePt t="9081" x="10909300" y="4224338"/>
          <p14:tracePt t="9089" x="10833100" y="4164013"/>
          <p14:tracePt t="9097" x="10756900" y="4095750"/>
          <p14:tracePt t="9105" x="10637838" y="4044950"/>
          <p14:tracePt t="9114" x="10544175" y="4011613"/>
          <p14:tracePt t="9121" x="10458450" y="3960813"/>
          <p14:tracePt t="9129" x="10390188" y="3943350"/>
          <p14:tracePt t="9137" x="10348913" y="3925888"/>
          <p14:tracePt t="9145" x="10331450" y="3908425"/>
          <p14:tracePt t="9153" x="10313988" y="3892550"/>
          <p14:tracePt t="9161" x="10306050" y="3883025"/>
          <p14:tracePt t="9169" x="10288588" y="3867150"/>
          <p14:tracePt t="9177" x="10263188" y="3857625"/>
          <p14:tracePt t="9185" x="10229850" y="3824288"/>
          <p14:tracePt t="9193" x="10204450" y="3790950"/>
          <p14:tracePt t="9203" x="10179050" y="3763963"/>
          <p14:tracePt t="9209" x="10136188" y="3730625"/>
          <p14:tracePt t="9218" x="10101263" y="3697288"/>
          <p14:tracePt t="9225" x="10067925" y="3679825"/>
          <p14:tracePt t="9233" x="10017125" y="3646488"/>
          <p14:tracePt t="9241" x="9983788" y="3629025"/>
          <p14:tracePt t="9249" x="9931400" y="3603625"/>
          <p14:tracePt t="9257" x="9898063" y="3586163"/>
          <p14:tracePt t="9265" x="9872663" y="3578225"/>
          <p14:tracePt t="9273" x="9855200" y="3568700"/>
          <p14:tracePt t="9282" x="9847263" y="3568700"/>
          <p14:tracePt t="9328" x="9839325" y="3568700"/>
          <p14:tracePt t="9337" x="9829800" y="3560763"/>
          <p14:tracePt t="9938" x="9839325" y="3552825"/>
          <p14:tracePt t="9945" x="9864725" y="3527425"/>
          <p14:tracePt t="9962" x="9864725" y="3509963"/>
          <p14:tracePt t="9970" x="9847263" y="3492500"/>
          <p14:tracePt t="9978" x="9821863" y="3475038"/>
          <p14:tracePt t="9985" x="9779000" y="3441700"/>
          <p14:tracePt t="9993" x="9702800" y="3424238"/>
          <p14:tracePt t="10001" x="9626600" y="3398838"/>
          <p14:tracePt t="10009" x="9591675" y="3382963"/>
          <p14:tracePt t="10017" x="9566275" y="3365500"/>
          <p14:tracePt t="10025" x="9566275" y="3355975"/>
          <p14:tracePt t="10033" x="9609138" y="3340100"/>
          <p14:tracePt t="10041" x="9702800" y="3330575"/>
          <p14:tracePt t="10048" x="9847263" y="3297238"/>
          <p14:tracePt t="10057" x="10009188" y="3271838"/>
          <p14:tracePt t="10065" x="10136188" y="3246438"/>
          <p14:tracePt t="10073" x="10237788" y="3211513"/>
          <p14:tracePt t="10081" x="10280650" y="3186113"/>
          <p14:tracePt t="10266" x="10280650" y="3178175"/>
          <p14:tracePt t="10275" x="10280650" y="3170238"/>
          <p14:tracePt t="10282" x="10271125" y="3160713"/>
          <p14:tracePt t="10289" x="10237788" y="3160713"/>
          <p14:tracePt t="10300" x="10194925" y="3160713"/>
          <p14:tracePt t="10305" x="10161588" y="3160713"/>
          <p14:tracePt t="10316" x="10085388" y="3152775"/>
          <p14:tracePt t="10322" x="9999663" y="3127375"/>
          <p14:tracePt t="10329" x="9872663" y="3119438"/>
          <p14:tracePt t="10338" x="9753600" y="3101975"/>
          <p14:tracePt t="10345" x="9558338" y="3076575"/>
          <p14:tracePt t="10353" x="9413875" y="3076575"/>
          <p14:tracePt t="10362" x="9201150" y="3076575"/>
          <p14:tracePt t="10369" x="9048750" y="3076575"/>
          <p14:tracePt t="10377" x="8894763" y="3076575"/>
          <p14:tracePt t="10385" x="8709025" y="3109913"/>
          <p14:tracePt t="10394" x="8580438" y="3119438"/>
          <p14:tracePt t="10402" x="8435975" y="3160713"/>
          <p14:tracePt t="10410" x="8359775" y="3186113"/>
          <p14:tracePt t="10418" x="8258175" y="3238500"/>
          <p14:tracePt t="10426" x="8207375" y="3263900"/>
          <p14:tracePt t="10434" x="8131175" y="3322638"/>
          <p14:tracePt t="10442" x="8096250" y="3355975"/>
          <p14:tracePt t="10449" x="8062913" y="3424238"/>
          <p14:tracePt t="10458" x="8037513" y="3527425"/>
          <p14:tracePt t="10466" x="8029575" y="3629025"/>
          <p14:tracePt t="10474" x="8029575" y="3748088"/>
          <p14:tracePt t="10482" x="8045450" y="3883025"/>
          <p14:tracePt t="10490" x="8088313" y="4027488"/>
          <p14:tracePt t="10502" x="8147050" y="4121150"/>
          <p14:tracePt t="10506" x="8215313" y="4224338"/>
          <p14:tracePt t="10515" x="8275638" y="4316413"/>
          <p14:tracePt t="10521" x="8343900" y="4368800"/>
          <p14:tracePt t="10529" x="8402638" y="4427538"/>
          <p14:tracePt t="10537" x="8478838" y="4445000"/>
          <p14:tracePt t="10546" x="8564563" y="4452938"/>
          <p14:tracePt t="10554" x="8623300" y="4452938"/>
          <p14:tracePt t="10562" x="8716963" y="4419600"/>
          <p14:tracePt t="10569" x="8793163" y="4359275"/>
          <p14:tracePt t="10578" x="8861425" y="4283075"/>
          <p14:tracePt t="10586" x="8886825" y="4232275"/>
          <p14:tracePt t="10594" x="8886825" y="4189413"/>
          <p14:tracePt t="10603" x="8886825" y="4146550"/>
          <p14:tracePt t="10610" x="8878888" y="4095750"/>
          <p14:tracePt t="10618" x="8828088" y="4044950"/>
          <p14:tracePt t="10625" x="8785225" y="3986213"/>
          <p14:tracePt t="10633" x="8709025" y="3951288"/>
          <p14:tracePt t="10642" x="8648700" y="3908425"/>
          <p14:tracePt t="10650" x="8589963" y="3900488"/>
          <p14:tracePt t="10658" x="8539163" y="3892550"/>
          <p14:tracePt t="10666" x="8496300" y="3892550"/>
          <p14:tracePt t="10674" x="8445500" y="3908425"/>
          <p14:tracePt t="10682" x="8410575" y="3935413"/>
          <p14:tracePt t="10690" x="8359775" y="3986213"/>
          <p14:tracePt t="10699" x="8318500" y="4027488"/>
          <p14:tracePt t="10705" x="8266113" y="4087813"/>
          <p14:tracePt t="10715" x="8250238" y="4130675"/>
          <p14:tracePt t="10722" x="8232775" y="4164013"/>
          <p14:tracePt t="10729" x="8224838" y="4181475"/>
          <p14:tracePt t="10737" x="8224838" y="4189413"/>
          <p14:tracePt t="10834" x="8215313" y="4189413"/>
          <p14:tracePt t="12098" x="8232775" y="4189413"/>
          <p14:tracePt t="12106" x="8258175" y="4189413"/>
          <p14:tracePt t="12117" x="8291513" y="4181475"/>
          <p14:tracePt t="12121" x="8301038" y="4171950"/>
          <p14:tracePt t="12131" x="8318500" y="4156075"/>
          <p14:tracePt t="12137" x="8326438" y="4130675"/>
          <p14:tracePt t="12146" x="8343900" y="4113213"/>
          <p14:tracePt t="12426" x="8351838" y="4113213"/>
          <p14:tracePt t="12458" x="8385175" y="4105275"/>
          <p14:tracePt t="12474" x="8394700" y="4105275"/>
          <p14:tracePt t="12482" x="8402638" y="4105275"/>
          <p14:tracePt t="12497" x="8410575" y="4105275"/>
          <p14:tracePt t="12553" x="8402638" y="4105275"/>
          <p14:tracePt t="12561" x="8385175" y="4105275"/>
          <p14:tracePt t="12585" x="8359775" y="4105275"/>
          <p14:tracePt t="12602" x="8369300" y="4105275"/>
          <p14:tracePt t="12642" x="8369300" y="4087813"/>
          <p14:tracePt t="12658" x="8359775" y="4087813"/>
          <p14:tracePt t="12666" x="8351838" y="4087813"/>
          <p14:tracePt t="12674" x="8334375" y="4087813"/>
          <p14:tracePt t="12681" x="8318500" y="4087813"/>
          <p14:tracePt t="12688" x="8301038" y="4087813"/>
          <p14:tracePt t="12697" x="8283575" y="4087813"/>
          <p14:tracePt t="12705" x="8275638" y="4087813"/>
          <p14:tracePt t="12785" x="8275638" y="4079875"/>
          <p14:tracePt t="12857" x="8258175" y="4079875"/>
          <p14:tracePt t="12865" x="8240713" y="4070350"/>
          <p14:tracePt t="12873" x="8224838" y="4062413"/>
          <p14:tracePt t="12881" x="8199438" y="4052888"/>
          <p14:tracePt t="12889" x="8181975" y="4044950"/>
          <p14:tracePt t="12898" x="8164513" y="4044950"/>
          <p14:tracePt t="12905" x="8147050" y="4037013"/>
          <p14:tracePt t="12915" x="8131175" y="4037013"/>
          <p14:tracePt t="12921" x="8113713" y="4037013"/>
          <p14:tracePt t="12930" x="8096250" y="4037013"/>
          <p14:tracePt t="12937" x="8070850" y="4037013"/>
          <p14:tracePt t="12945" x="8054975" y="4037013"/>
          <p14:tracePt t="12953" x="8020050" y="4037013"/>
          <p14:tracePt t="12961" x="7994650" y="4037013"/>
          <p14:tracePt t="12969" x="7951788" y="4037013"/>
          <p14:tracePt t="12977" x="7893050" y="4052888"/>
          <p14:tracePt t="12985" x="7859713" y="4062413"/>
          <p14:tracePt t="12993" x="7773988" y="4070350"/>
          <p14:tracePt t="13002" x="7731125" y="4079875"/>
          <p14:tracePt t="13015" x="7654925" y="4087813"/>
          <p14:tracePt t="13019" x="7612063" y="4095750"/>
          <p14:tracePt t="13025" x="7578725" y="4105275"/>
          <p14:tracePt t="13033" x="7545388" y="4113213"/>
          <p14:tracePt t="13041" x="7518400" y="4121150"/>
          <p14:tracePt t="13049" x="7485063" y="4138613"/>
          <p14:tracePt t="13057" x="7467600" y="4156075"/>
          <p14:tracePt t="13066" x="7442200" y="4164013"/>
          <p14:tracePt t="13073" x="7416800" y="4171950"/>
          <p14:tracePt t="13082" x="7391400" y="4181475"/>
          <p14:tracePt t="13089" x="7373938" y="4189413"/>
          <p14:tracePt t="13099" x="7358063" y="4189413"/>
          <p14:tracePt t="13105" x="7332663" y="4197350"/>
          <p14:tracePt t="13115" x="7307263" y="4214813"/>
          <p14:tracePt t="13121" x="7246938" y="4249738"/>
          <p14:tracePt t="13129" x="7188200" y="4275138"/>
          <p14:tracePt t="13137" x="7102475" y="4308475"/>
          <p14:tracePt t="13144" x="7018338" y="4351338"/>
          <p14:tracePt t="13153" x="6932613" y="4384675"/>
          <p14:tracePt t="13161" x="6873875" y="4419600"/>
          <p14:tracePt t="13169" x="6805613" y="4435475"/>
          <p14:tracePt t="13177" x="6737350" y="4460875"/>
          <p14:tracePt t="13184" x="6686550" y="4470400"/>
          <p14:tracePt t="13193" x="6626225" y="4478338"/>
          <p14:tracePt t="13201" x="6610350" y="4478338"/>
          <p14:tracePt t="13209" x="6575425" y="4486275"/>
          <p14:tracePt t="13217" x="6559550" y="4486275"/>
          <p14:tracePt t="13224" x="6542088" y="4495800"/>
          <p14:tracePt t="13233" x="6534150" y="4513263"/>
          <p14:tracePt t="13249" x="6524625" y="4521200"/>
          <p14:tracePt t="13257" x="6524625" y="4529138"/>
          <p14:tracePt t="13265" x="6524625" y="4546600"/>
          <p14:tracePt t="13273" x="6524625" y="4564063"/>
          <p14:tracePt t="13282" x="6524625" y="4579938"/>
          <p14:tracePt t="13289" x="6542088" y="4597400"/>
          <p14:tracePt t="13298" x="6550025" y="4622800"/>
          <p14:tracePt t="13305" x="6575425" y="4657725"/>
          <p14:tracePt t="13315" x="6584950" y="4683125"/>
          <p14:tracePt t="13321" x="6618288" y="4716463"/>
          <p14:tracePt t="13330" x="6643688" y="4759325"/>
          <p14:tracePt t="13337" x="6694488" y="4784725"/>
          <p14:tracePt t="13345" x="6745288" y="4818063"/>
          <p14:tracePt t="13353" x="6805613" y="4860925"/>
          <p14:tracePt t="13361" x="6856413" y="4894263"/>
          <p14:tracePt t="13369" x="6899275" y="4937125"/>
          <p14:tracePt t="13377" x="6983413" y="4972050"/>
          <p14:tracePt t="13385" x="7059613" y="5005388"/>
          <p14:tracePt t="13393" x="7178675" y="5038725"/>
          <p14:tracePt t="13401" x="7264400" y="5056188"/>
          <p14:tracePt t="13409" x="7373938" y="5073650"/>
          <p14:tracePt t="13417" x="7467600" y="5081588"/>
          <p14:tracePt t="13425" x="7578725" y="5091113"/>
          <p14:tracePt t="13435" x="7662863" y="5091113"/>
          <p14:tracePt t="13441" x="7748588" y="5091113"/>
          <p14:tracePt t="13449" x="7893050" y="5091113"/>
          <p14:tracePt t="13457" x="7994650" y="5081588"/>
          <p14:tracePt t="13466" x="8131175" y="5038725"/>
          <p14:tracePt t="13473" x="8266113" y="5022850"/>
          <p14:tracePt t="13481" x="8445500" y="4997450"/>
          <p14:tracePt t="13488" x="8555038" y="4972050"/>
          <p14:tracePt t="13497" x="8683625" y="4946650"/>
          <p14:tracePt t="13504" x="8777288" y="4937125"/>
          <p14:tracePt t="13513" x="8861425" y="4929188"/>
          <p14:tracePt t="13522" x="8972550" y="4903788"/>
          <p14:tracePt t="13529" x="9064625" y="4894263"/>
          <p14:tracePt t="13536" x="9167813" y="4868863"/>
          <p14:tracePt t="13544" x="9251950" y="4843463"/>
          <p14:tracePt t="13553" x="9380538" y="4827588"/>
          <p14:tracePt t="13561" x="9464675" y="4810125"/>
          <p14:tracePt t="13569" x="9583738" y="4792663"/>
          <p14:tracePt t="13577" x="9642475" y="4767263"/>
          <p14:tracePt t="13585" x="9720263" y="4724400"/>
          <p14:tracePt t="13593" x="9821863" y="4683125"/>
          <p14:tracePt t="13601" x="9890125" y="4640263"/>
          <p14:tracePt t="13609" x="9966325" y="4579938"/>
          <p14:tracePt t="13617" x="10017125" y="4538663"/>
          <p14:tracePt t="13625" x="10085388" y="4486275"/>
          <p14:tracePt t="13633" x="10118725" y="4460875"/>
          <p14:tracePt t="13641" x="10144125" y="4445000"/>
          <p14:tracePt t="13649" x="10169525" y="4427538"/>
          <p14:tracePt t="13657" x="10179050" y="4410075"/>
          <p14:tracePt t="13665" x="10204450" y="4402138"/>
          <p14:tracePt t="13673" x="10229850" y="4394200"/>
          <p14:tracePt t="13681" x="10271125" y="4376738"/>
          <p14:tracePt t="13689" x="10323513" y="4359275"/>
          <p14:tracePt t="13698" x="10356850" y="4341813"/>
          <p14:tracePt t="13706" x="10382250" y="4333875"/>
          <p14:tracePt t="13715" x="10399713" y="4316413"/>
          <p14:tracePt t="13721" x="10399713" y="4308475"/>
          <p14:tracePt t="13730" x="10407650" y="4308475"/>
          <p14:tracePt t="13737" x="10415588" y="4300538"/>
          <p14:tracePt t="13745" x="10415588" y="4291013"/>
          <p14:tracePt t="13753" x="10433050" y="4283075"/>
          <p14:tracePt t="13761" x="10442575" y="4275138"/>
          <p14:tracePt t="13769" x="10442575" y="4265613"/>
          <p14:tracePt t="13777" x="10458450" y="4257675"/>
          <p14:tracePt t="13785" x="10475913" y="4257675"/>
          <p14:tracePt t="13792" x="10483850" y="4240213"/>
          <p14:tracePt t="13801" x="10509250" y="4214813"/>
          <p14:tracePt t="13809" x="10526713" y="4181475"/>
          <p14:tracePt t="13816" x="10544175" y="4156075"/>
          <p14:tracePt t="13824" x="10560050" y="4121150"/>
          <p14:tracePt t="13832" x="10569575" y="4087813"/>
          <p14:tracePt t="13841" x="10569575" y="4027488"/>
          <p14:tracePt t="13848" x="10569575" y="4002088"/>
          <p14:tracePt t="13857" x="10552113" y="3951288"/>
          <p14:tracePt t="13865" x="10526713" y="3925888"/>
          <p14:tracePt t="13873" x="10501313" y="3900488"/>
          <p14:tracePt t="13881" x="10450513" y="3875088"/>
          <p14:tracePt t="13889" x="10407650" y="3867150"/>
          <p14:tracePt t="13899" x="10339388" y="3867150"/>
          <p14:tracePt t="13906" x="10306050" y="3867150"/>
          <p14:tracePt t="13915" x="10237788" y="3867150"/>
          <p14:tracePt t="13921" x="10204450" y="3875088"/>
          <p14:tracePt t="13930" x="10144125" y="3892550"/>
          <p14:tracePt t="13938" x="10085388" y="3908425"/>
          <p14:tracePt t="13945" x="10050463" y="3908425"/>
          <p14:tracePt t="13953" x="10025063" y="3908425"/>
          <p14:tracePt t="13961" x="10017125" y="3908425"/>
          <p14:tracePt t="13969" x="10009188" y="3908425"/>
          <p14:tracePt t="14098" x="10009188" y="3917950"/>
          <p14:tracePt t="14105" x="10017125" y="3917950"/>
          <p14:tracePt t="14115" x="10009188" y="3917950"/>
          <p14:tracePt t="14121" x="9974263" y="3925888"/>
          <p14:tracePt t="14130" x="9966325" y="3925888"/>
          <p14:tracePt t="14138" x="9948863" y="3925888"/>
          <p14:tracePt t="14145" x="9931400" y="3925888"/>
          <p14:tracePt t="14155" x="9915525" y="3925888"/>
          <p14:tracePt t="14162" x="9872663" y="3925888"/>
          <p14:tracePt t="14170" x="9796463" y="3925888"/>
          <p14:tracePt t="14178" x="9710738" y="3925888"/>
          <p14:tracePt t="14186" x="9601200" y="3925888"/>
          <p14:tracePt t="14194" x="9490075" y="3935413"/>
          <p14:tracePt t="14202" x="9312275" y="3935413"/>
          <p14:tracePt t="14209" x="9201150" y="3935413"/>
          <p14:tracePt t="14218" x="9099550" y="3935413"/>
          <p14:tracePt t="14226" x="8963025" y="3935413"/>
          <p14:tracePt t="14234" x="8878888" y="3935413"/>
          <p14:tracePt t="14241" x="8767763" y="3935413"/>
          <p14:tracePt t="14249" x="8691563" y="3935413"/>
          <p14:tracePt t="14258" x="8605838" y="3935413"/>
          <p14:tracePt t="14266" x="8539163" y="3935413"/>
          <p14:tracePt t="14274" x="8453438" y="3935413"/>
          <p14:tracePt t="14282" x="8394700" y="3943350"/>
          <p14:tracePt t="14289" x="8318500" y="3968750"/>
          <p14:tracePt t="14299" x="8215313" y="3976688"/>
          <p14:tracePt t="14305" x="8156575" y="3986213"/>
          <p14:tracePt t="14315" x="8070850" y="4011613"/>
          <p14:tracePt t="14322" x="8012113" y="4019550"/>
          <p14:tracePt t="14330" x="7935913" y="4019550"/>
          <p14:tracePt t="14337" x="7893050" y="4027488"/>
          <p14:tracePt t="14346" x="7832725" y="4037013"/>
          <p14:tracePt t="14354" x="7799388" y="4044950"/>
          <p14:tracePt t="14362" x="7766050" y="4052888"/>
          <p14:tracePt t="14369" x="7723188" y="4062413"/>
          <p14:tracePt t="14378" x="7697788" y="4070350"/>
          <p14:tracePt t="14387" x="7662863" y="4079875"/>
          <p14:tracePt t="14393" x="7637463" y="4087813"/>
          <p14:tracePt t="14403" x="7621588" y="4105275"/>
          <p14:tracePt t="14409" x="7604125" y="4113213"/>
          <p14:tracePt t="14418" x="7596188" y="4121150"/>
          <p14:tracePt t="15050" x="7570788" y="4130675"/>
          <p14:tracePt t="15058" x="7553325" y="4130675"/>
          <p14:tracePt t="15066" x="7510463" y="4130675"/>
          <p14:tracePt t="15073" x="7467600" y="4138613"/>
          <p14:tracePt t="15082" x="7408863" y="4156075"/>
          <p14:tracePt t="15089" x="7332663" y="4171950"/>
          <p14:tracePt t="15097" x="7272338" y="4181475"/>
          <p14:tracePt t="15104" x="7213600" y="4206875"/>
          <p14:tracePt t="15114" x="7178675" y="4214813"/>
          <p14:tracePt t="15121" x="7162800" y="4224338"/>
          <p14:tracePt t="15137" x="7145338" y="4232275"/>
          <p14:tracePt t="15145" x="7137400" y="4240213"/>
          <p14:tracePt t="15177" x="7127875" y="4240213"/>
          <p14:tracePt t="15185" x="7119938" y="4240213"/>
          <p14:tracePt t="15193" x="7119938" y="4249738"/>
          <p14:tracePt t="15201" x="7112000" y="4257675"/>
          <p14:tracePt t="15209" x="7094538" y="4265613"/>
          <p14:tracePt t="15217" x="7085013" y="4300538"/>
          <p14:tracePt t="15225" x="7077075" y="4333875"/>
          <p14:tracePt t="15234" x="7077075" y="4376738"/>
          <p14:tracePt t="15241" x="7077075" y="4410075"/>
          <p14:tracePt t="15249" x="7085013" y="4452938"/>
          <p14:tracePt t="15257" x="7112000" y="4486275"/>
          <p14:tracePt t="15265" x="7137400" y="4538663"/>
          <p14:tracePt t="15273" x="7162800" y="4564063"/>
          <p14:tracePt t="15281" x="7178675" y="4589463"/>
          <p14:tracePt t="15289" x="7213600" y="4605338"/>
          <p14:tracePt t="15297" x="7221538" y="4614863"/>
          <p14:tracePt t="15305" x="7246938" y="4640263"/>
          <p14:tracePt t="15314" x="7281863" y="4648200"/>
          <p14:tracePt t="15321" x="7348538" y="4673600"/>
          <p14:tracePt t="15330" x="7408863" y="4699000"/>
          <p14:tracePt t="15337" x="7485063" y="4733925"/>
          <p14:tracePt t="15345" x="7561263" y="4759325"/>
          <p14:tracePt t="15353" x="7637463" y="4792663"/>
          <p14:tracePt t="15361" x="7740650" y="4843463"/>
          <p14:tracePt t="15369" x="7799388" y="4868863"/>
          <p14:tracePt t="15377" x="7900988" y="4903788"/>
          <p14:tracePt t="15385" x="7977188" y="4937125"/>
          <p14:tracePt t="15393" x="8070850" y="4972050"/>
          <p14:tracePt t="15401" x="8156575" y="4997450"/>
          <p14:tracePt t="15409" x="8258175" y="5005388"/>
          <p14:tracePt t="15417" x="8326438" y="5013325"/>
          <p14:tracePt t="15425" x="8428038" y="5030788"/>
          <p14:tracePt t="15433" x="8504238" y="5030788"/>
          <p14:tracePt t="15442" x="8572500" y="5030788"/>
          <p14:tracePt t="15449" x="8658225" y="5030788"/>
          <p14:tracePt t="15457" x="8716963" y="5030788"/>
          <p14:tracePt t="15465" x="8777288" y="5038725"/>
          <p14:tracePt t="15473" x="8818563" y="5048250"/>
          <p14:tracePt t="15482" x="8894763" y="5056188"/>
          <p14:tracePt t="15489" x="8929688" y="5064125"/>
          <p14:tracePt t="15497" x="8997950" y="5073650"/>
          <p14:tracePt t="15505" x="9048750" y="5081588"/>
          <p14:tracePt t="15514" x="9107488" y="5081588"/>
          <p14:tracePt t="15521" x="9167813" y="5099050"/>
          <p14:tracePt t="15531" x="9209088" y="5106988"/>
          <p14:tracePt t="15537" x="9251950" y="5116513"/>
          <p14:tracePt t="15546" x="9277350" y="5124450"/>
          <p14:tracePt t="15553" x="9320213" y="5124450"/>
          <p14:tracePt t="15561" x="9345613" y="5124450"/>
          <p14:tracePt t="15569" x="9396413" y="5124450"/>
          <p14:tracePt t="15577" x="9439275" y="5124450"/>
          <p14:tracePt t="15585" x="9498013" y="5124450"/>
          <p14:tracePt t="15593" x="9601200" y="5116513"/>
          <p14:tracePt t="15601" x="9659938" y="5106988"/>
          <p14:tracePt t="15609" x="9745663" y="5099050"/>
          <p14:tracePt t="15617" x="9821863" y="5091113"/>
          <p14:tracePt t="15625" x="9906000" y="5073650"/>
          <p14:tracePt t="15633" x="9948863" y="5064125"/>
          <p14:tracePt t="15641" x="9999663" y="5056188"/>
          <p14:tracePt t="15649" x="10067925" y="5048250"/>
          <p14:tracePt t="15659" x="10118725" y="5038725"/>
          <p14:tracePt t="15665" x="10186988" y="5030788"/>
          <p14:tracePt t="15673" x="10237788" y="5005388"/>
          <p14:tracePt t="15681" x="10313988" y="4962525"/>
          <p14:tracePt t="15689" x="10382250" y="4937125"/>
          <p14:tracePt t="15697" x="10458450" y="4886325"/>
          <p14:tracePt t="15705" x="10509250" y="4852988"/>
          <p14:tracePt t="15714" x="10569575" y="4818063"/>
          <p14:tracePt t="15721" x="10628313" y="4792663"/>
          <p14:tracePt t="15731" x="10679113" y="4775200"/>
          <p14:tracePt t="15737" x="10756900" y="4741863"/>
          <p14:tracePt t="15745" x="10798175" y="4733925"/>
          <p14:tracePt t="15753" x="10858500" y="4724400"/>
          <p14:tracePt t="15761" x="10909300" y="4716463"/>
          <p14:tracePt t="15769" x="10952163" y="4699000"/>
          <p14:tracePt t="15777" x="10985500" y="4683125"/>
          <p14:tracePt t="15785" x="11002963" y="4673600"/>
          <p14:tracePt t="15793" x="11010900" y="4665663"/>
          <p14:tracePt t="15816" x="11010900" y="4657725"/>
          <p14:tracePt t="15938" x="10993438" y="4648200"/>
          <p14:tracePt t="15946" x="10985500" y="4630738"/>
          <p14:tracePt t="15953" x="10960100" y="4614863"/>
          <p14:tracePt t="15962" x="10942638" y="4605338"/>
          <p14:tracePt t="15970" x="10909300" y="4579938"/>
          <p14:tracePt t="15978" x="10883900" y="4554538"/>
          <p14:tracePt t="15988" x="10848975" y="4538663"/>
          <p14:tracePt t="15993" x="10815638" y="4503738"/>
          <p14:tracePt t="16003" x="10772775" y="4478338"/>
          <p14:tracePt t="16010" x="10721975" y="4445000"/>
          <p14:tracePt t="16018" x="10704513" y="4427538"/>
          <p14:tracePt t="16025" x="10653713" y="4410075"/>
          <p14:tracePt t="16035" x="10637838" y="4402138"/>
          <p14:tracePt t="16041" x="10602913" y="4384675"/>
          <p14:tracePt t="16049" x="10552113" y="4376738"/>
          <p14:tracePt t="16057" x="10526713" y="4359275"/>
          <p14:tracePt t="16065" x="10467975" y="4359275"/>
          <p14:tracePt t="16073" x="10415588" y="4351338"/>
          <p14:tracePt t="16081" x="10356850" y="4341813"/>
          <p14:tracePt t="16089" x="10339388" y="4333875"/>
          <p14:tracePt t="16097" x="10288588" y="4325938"/>
          <p14:tracePt t="16105" x="10263188" y="4325938"/>
          <p14:tracePt t="16114" x="10229850" y="4316413"/>
          <p14:tracePt t="16121" x="10204450" y="4308475"/>
          <p14:tracePt t="16130" x="10169525" y="4308475"/>
          <p14:tracePt t="16137" x="10126663" y="4300538"/>
          <p14:tracePt t="16145" x="10093325" y="4291013"/>
          <p14:tracePt t="16153" x="10050463" y="4283075"/>
          <p14:tracePt t="16161" x="10009188" y="4283075"/>
          <p14:tracePt t="16169" x="9983788" y="4275138"/>
          <p14:tracePt t="16177" x="9966325" y="4275138"/>
          <p14:tracePt t="16250" x="9966325" y="4265613"/>
          <p14:tracePt t="16258" x="9956800" y="4249738"/>
          <p14:tracePt t="16274" x="9956800" y="4240213"/>
          <p14:tracePt t="16785" x="9931400" y="4257675"/>
          <p14:tracePt t="16792" x="9931400" y="4275138"/>
          <p14:tracePt t="16802" x="9923463" y="4291013"/>
          <p14:tracePt t="16809" x="9923463" y="4308475"/>
          <p14:tracePt t="16817" x="9923463" y="4325938"/>
          <p14:tracePt t="16825" x="9923463" y="4368800"/>
          <p14:tracePt t="16832" x="9931400" y="4427538"/>
          <p14:tracePt t="16841" x="9948863" y="4486275"/>
          <p14:tracePt t="16848" x="9956800" y="4546600"/>
          <p14:tracePt t="16857" x="9974263" y="4572000"/>
          <p14:tracePt t="16865" x="9983788" y="4589463"/>
          <p14:tracePt t="16873" x="9991725" y="4605338"/>
          <p14:tracePt t="16880" x="9999663" y="4614863"/>
          <p14:tracePt t="16889" x="10009188" y="4622800"/>
          <p14:tracePt t="16921" x="10017125" y="4622800"/>
          <p14:tracePt t="16930" x="10034588" y="4605338"/>
          <p14:tracePt t="16937" x="10050463" y="4589463"/>
          <p14:tracePt t="16945" x="10067925" y="4554538"/>
          <p14:tracePt t="16953" x="10067925" y="4538663"/>
          <p14:tracePt t="16961" x="10075863" y="4513263"/>
          <p14:tracePt t="16969" x="10075863" y="4486275"/>
          <p14:tracePt t="16977" x="10093325" y="4470400"/>
          <p14:tracePt t="16985" x="10110788" y="4445000"/>
          <p14:tracePt t="16993" x="10118725" y="4427538"/>
          <p14:tracePt t="17003" x="10136188" y="4419600"/>
          <p14:tracePt t="17122" x="10126663" y="4419600"/>
          <p14:tracePt t="17131" x="10118725" y="4419600"/>
          <p14:tracePt t="17138" x="10101263" y="4419600"/>
          <p14:tracePt t="17146" x="10059988" y="4419600"/>
          <p14:tracePt t="17153" x="9999663" y="4419600"/>
          <p14:tracePt t="17162" x="9915525" y="4419600"/>
          <p14:tracePt t="17169" x="9864725" y="4419600"/>
          <p14:tracePt t="17177" x="9771063" y="4419600"/>
          <p14:tracePt t="17186" x="9720263" y="4419600"/>
          <p14:tracePt t="17193" x="9659938" y="4410075"/>
          <p14:tracePt t="17202" x="9626600" y="4402138"/>
          <p14:tracePt t="17210" x="9591675" y="4394200"/>
          <p14:tracePt t="17219" x="9558338" y="4394200"/>
          <p14:tracePt t="17225" x="9550400" y="4394200"/>
          <p14:tracePt t="17235" x="9523413" y="4394200"/>
          <p14:tracePt t="17242" x="9515475" y="4394200"/>
          <p14:tracePt t="17249" x="9507538" y="4394200"/>
          <p14:tracePt t="17258" x="9490075" y="4394200"/>
          <p14:tracePt t="17266" x="9472613" y="4394200"/>
          <p14:tracePt t="17274" x="9464675" y="4394200"/>
          <p14:tracePt t="17282" x="9456738" y="4394200"/>
          <p14:tracePt t="17290" x="9447213" y="4394200"/>
          <p14:tracePt t="17346" x="9439275" y="4394200"/>
          <p14:tracePt t="17354" x="9431338" y="4394200"/>
          <p14:tracePt t="17361" x="9421813" y="4384675"/>
          <p14:tracePt t="17369" x="9405938" y="4376738"/>
          <p14:tracePt t="17377" x="9380538" y="4368800"/>
          <p14:tracePt t="17387" x="9353550" y="4359275"/>
          <p14:tracePt t="17393" x="9302750" y="4333875"/>
          <p14:tracePt t="17402" x="9244013" y="4308475"/>
          <p14:tracePt t="17410" x="9175750" y="4291013"/>
          <p14:tracePt t="17418" x="9074150" y="4249738"/>
          <p14:tracePt t="17426" x="8997950" y="4224338"/>
          <p14:tracePt t="17435" x="8937625" y="4206875"/>
          <p14:tracePt t="17442" x="8894763" y="4206875"/>
          <p14:tracePt t="17449" x="8861425" y="4206875"/>
          <p14:tracePt t="17457" x="8853488" y="4206875"/>
          <p14:tracePt t="17465" x="8843963" y="4206875"/>
          <p14:tracePt t="17505" x="8853488" y="4206875"/>
          <p14:tracePt t="17514" x="8878888" y="4214813"/>
          <p14:tracePt t="17521" x="8972550" y="4224338"/>
          <p14:tracePt t="17531" x="9056688" y="4240213"/>
          <p14:tracePt t="17537" x="9183688" y="4240213"/>
          <p14:tracePt t="17550" x="9277350" y="4240213"/>
          <p14:tracePt t="17554" x="9396413" y="4232275"/>
          <p14:tracePt t="17562" x="9482138" y="4214813"/>
          <p14:tracePt t="17569" x="9532938" y="4181475"/>
          <p14:tracePt t="17577" x="9550400" y="4164013"/>
          <p14:tracePt t="17602" x="9550400" y="4156075"/>
          <p14:tracePt t="17609" x="9550400" y="4146550"/>
          <p14:tracePt t="17618" x="9532938" y="4138613"/>
          <p14:tracePt t="17625" x="9515475" y="4121150"/>
          <p14:tracePt t="17635" x="9464675" y="4105275"/>
          <p14:tracePt t="17642" x="9421813" y="4079875"/>
          <p14:tracePt t="17649" x="9345613" y="4070350"/>
          <p14:tracePt t="17658" x="9286875" y="4062413"/>
          <p14:tracePt t="17665" x="9209088" y="4052888"/>
          <p14:tracePt t="17674" x="9183688" y="4052888"/>
          <p14:tracePt t="17682" x="9150350" y="4052888"/>
          <p14:tracePt t="17689" x="9132888" y="4062413"/>
          <p14:tracePt t="17698" x="9124950" y="4062413"/>
          <p14:tracePt t="17705" x="9124950" y="4079875"/>
          <p14:tracePt t="17715" x="9124950" y="4087813"/>
          <p14:tracePt t="17731" x="9150350" y="4113213"/>
          <p14:tracePt t="17737" x="9226550" y="4146550"/>
          <p14:tracePt t="17748" x="9302750" y="4181475"/>
          <p14:tracePt t="17753" x="9363075" y="4214813"/>
          <p14:tracePt t="17761" x="9482138" y="4232275"/>
          <p14:tracePt t="17769" x="9550400" y="4249738"/>
          <p14:tracePt t="17777" x="9609138" y="4249738"/>
          <p14:tracePt t="17785" x="9617075" y="4249738"/>
          <p14:tracePt t="17842" x="9609138" y="4249738"/>
          <p14:tracePt t="17849" x="9601200" y="4249738"/>
          <p14:tracePt t="17858" x="9583738" y="4249738"/>
          <p14:tracePt t="17866" x="9575800" y="4249738"/>
          <p14:tracePt t="17874" x="9566275" y="4249738"/>
          <p14:tracePt t="17882" x="9558338" y="4249738"/>
          <p14:tracePt t="17899" x="9558338" y="4257675"/>
          <p14:tracePt t="17906" x="9558338" y="4265613"/>
          <p14:tracePt t="17915" x="9558338" y="4291013"/>
          <p14:tracePt t="17922" x="9591675" y="4341813"/>
          <p14:tracePt t="17932" x="9634538" y="4394200"/>
          <p14:tracePt t="17938" x="9702800" y="4452938"/>
          <p14:tracePt t="17946" x="9745663" y="4495800"/>
          <p14:tracePt t="17954" x="9779000" y="4546600"/>
          <p14:tracePt t="17962" x="9786938" y="4564063"/>
          <p14:tracePt t="17969" x="9796463" y="4564063"/>
          <p14:tracePt t="18242" x="9779000" y="4564063"/>
          <p14:tracePt t="18250" x="9720263" y="4589463"/>
          <p14:tracePt t="18257" x="9702800" y="4597400"/>
          <p14:tracePt t="18264" x="9694863" y="4622800"/>
          <p14:tracePt t="18273" x="9694863" y="4640263"/>
          <p14:tracePt t="18281" x="9694863" y="4657725"/>
          <p14:tracePt t="18289" x="9694863" y="4673600"/>
          <p14:tracePt t="18297" x="9677400" y="4708525"/>
          <p14:tracePt t="18304" x="9667875" y="4724400"/>
          <p14:tracePt t="18313" x="9659938" y="4749800"/>
          <p14:tracePt t="18321" x="9634538" y="4784725"/>
          <p14:tracePt t="18331" x="9609138" y="4810125"/>
          <p14:tracePt t="18337" x="9591675" y="4827588"/>
          <p14:tracePt t="18345" x="9583738" y="4852988"/>
          <p14:tracePt t="18353" x="9558338" y="4868863"/>
          <p14:tracePt t="18361" x="9558338" y="4878388"/>
          <p14:tracePt t="18369" x="9550400" y="4878388"/>
          <p14:tracePt t="18385" x="9550400" y="4886325"/>
          <p14:tracePt t="18482" x="9540875" y="4886325"/>
          <p14:tracePt t="18498" x="9532938" y="4886325"/>
          <p14:tracePt t="18506" x="9523413" y="4886325"/>
          <p14:tracePt t="18514" x="9507538" y="4903788"/>
          <p14:tracePt t="18521" x="9490075" y="4903788"/>
          <p14:tracePt t="18531" x="9472613" y="4919663"/>
          <p14:tracePt t="18537" x="9464675" y="4919663"/>
          <p14:tracePt t="18545" x="9456738" y="4919663"/>
          <p14:tracePt t="18554" x="9447213" y="4919663"/>
          <p14:tracePt t="18561" x="9439275" y="4919663"/>
          <p14:tracePt t="18569" x="9439275" y="4929188"/>
          <p14:tracePt t="18585" x="9431338" y="4929188"/>
          <p14:tracePt t="18593" x="9413875" y="4929188"/>
          <p14:tracePt t="18601" x="9405938" y="4919663"/>
          <p14:tracePt t="18609" x="9388475" y="4911725"/>
          <p14:tracePt t="18618" x="9363075" y="4903788"/>
          <p14:tracePt t="18625" x="9337675" y="4886325"/>
          <p14:tracePt t="18633" x="9328150" y="4868863"/>
          <p14:tracePt t="18641" x="9302750" y="4860925"/>
          <p14:tracePt t="18649" x="9277350" y="4852988"/>
          <p14:tracePt t="18657" x="9251950" y="4843463"/>
          <p14:tracePt t="18665" x="9244013" y="4843463"/>
          <p14:tracePt t="18673" x="9226550" y="4835525"/>
          <p14:tracePt t="18681" x="9218613" y="4835525"/>
          <p14:tracePt t="18689" x="9209088" y="4835525"/>
          <p14:tracePt t="18697" x="9201150" y="4827588"/>
          <p14:tracePt t="18705" x="9193213" y="4818063"/>
          <p14:tracePt t="18715" x="9175750" y="4810125"/>
          <p14:tracePt t="18721" x="9150350" y="4802188"/>
          <p14:tracePt t="18731" x="9124950" y="4784725"/>
          <p14:tracePt t="18737" x="9064625" y="4741863"/>
          <p14:tracePt t="18745" x="9013825" y="4699000"/>
          <p14:tracePt t="18753" x="8929688" y="4630738"/>
          <p14:tracePt t="18761" x="8861425" y="4579938"/>
          <p14:tracePt t="18769" x="8759825" y="4521200"/>
          <p14:tracePt t="18777" x="8691563" y="4486275"/>
          <p14:tracePt t="18786" x="8605838" y="4452938"/>
          <p14:tracePt t="18793" x="8555038" y="4435475"/>
          <p14:tracePt t="18801" x="8513763" y="4419600"/>
          <p14:tracePt t="18809" x="8470900" y="4402138"/>
          <p14:tracePt t="18817" x="8445500" y="4394200"/>
          <p14:tracePt t="18825" x="8402638" y="4376738"/>
          <p14:tracePt t="18833" x="8394700" y="4359275"/>
          <p14:tracePt t="18841" x="8369300" y="4341813"/>
          <p14:tracePt t="18849" x="8359775" y="4333875"/>
          <p14:tracePt t="18857" x="8351838" y="4333875"/>
          <p14:tracePt t="18889" x="8351838" y="4325938"/>
          <p14:tracePt t="18897" x="8351838" y="4300538"/>
          <p14:tracePt t="18905" x="8351838" y="4265613"/>
          <p14:tracePt t="18914" x="8351838" y="4240213"/>
          <p14:tracePt t="18921" x="8351838" y="4224338"/>
          <p14:tracePt t="18931" x="8351838" y="4206875"/>
          <p14:tracePt t="18937" x="8351838" y="4189413"/>
          <p14:tracePt t="18945" x="8351838" y="4181475"/>
          <p14:tracePt t="18953" x="8351838" y="4164013"/>
          <p14:tracePt t="18961" x="8351838" y="4146550"/>
          <p14:tracePt t="18969" x="8334375" y="4130675"/>
          <p14:tracePt t="18977" x="8318500" y="4105275"/>
          <p14:tracePt t="18985" x="8301038" y="4079875"/>
          <p14:tracePt t="18993" x="8291513" y="4070350"/>
          <p14:tracePt t="19042" x="8308975" y="4070350"/>
          <p14:tracePt t="19050" x="8334375" y="4070350"/>
          <p14:tracePt t="19057" x="8394700" y="4070350"/>
          <p14:tracePt t="19065" x="8435975" y="4070350"/>
          <p14:tracePt t="19074" x="8504238" y="4070350"/>
          <p14:tracePt t="19082" x="8539163" y="4070350"/>
          <p14:tracePt t="19089" x="8580438" y="4070350"/>
          <p14:tracePt t="19098" x="8640763" y="4070350"/>
          <p14:tracePt t="19105" x="8683625" y="4052888"/>
          <p14:tracePt t="19115" x="8750300" y="4027488"/>
          <p14:tracePt t="19121" x="8828088" y="3986213"/>
          <p14:tracePt t="19131" x="8955088" y="3925888"/>
          <p14:tracePt t="19137" x="9056688" y="3875088"/>
          <p14:tracePt t="19145" x="9175750" y="3806825"/>
          <p14:tracePt t="19153" x="9269413" y="3756025"/>
          <p14:tracePt t="19161" x="9345613" y="3738563"/>
          <p14:tracePt t="19169" x="9413875" y="3730625"/>
          <p14:tracePt t="19177" x="9464675" y="3730625"/>
          <p14:tracePt t="19185" x="9550400" y="3730625"/>
          <p14:tracePt t="19193" x="9601200" y="3730625"/>
          <p14:tracePt t="19202" x="9745663" y="3738563"/>
          <p14:tracePt t="19209" x="9872663" y="3756025"/>
          <p14:tracePt t="19218" x="9999663" y="3790950"/>
          <p14:tracePt t="19225" x="10169525" y="3824288"/>
          <p14:tracePt t="19233" x="10298113" y="3849688"/>
          <p14:tracePt t="19241" x="10415588" y="3900488"/>
          <p14:tracePt t="19249" x="10483850" y="3935413"/>
          <p14:tracePt t="19257" x="10552113" y="3951288"/>
          <p14:tracePt t="19265" x="10569575" y="3960813"/>
          <p14:tracePt t="19274" x="10594975" y="3968750"/>
          <p14:tracePt t="19305" x="10602913" y="3968750"/>
          <p14:tracePt t="19338" x="10594975" y="3976688"/>
          <p14:tracePt t="19346" x="10585450" y="3986213"/>
          <p14:tracePt t="19353" x="10552113" y="4011613"/>
          <p14:tracePt t="19361" x="10526713" y="4027488"/>
          <p14:tracePt t="19369" x="10509250" y="4044950"/>
          <p14:tracePt t="19378" x="10493375" y="4052888"/>
          <p14:tracePt t="19386" x="10483850" y="4070350"/>
          <p14:tracePt t="19394" x="10475913" y="4095750"/>
          <p14:tracePt t="19402" x="10475913" y="4105275"/>
          <p14:tracePt t="19410" x="10475913" y="4121150"/>
          <p14:tracePt t="19419" x="10475913" y="4138613"/>
          <p14:tracePt t="19433" x="10483850" y="4146550"/>
          <p14:tracePt t="19466" x="10483850" y="4156075"/>
          <p14:tracePt t="19474" x="10475913" y="4156075"/>
          <p14:tracePt t="19482" x="10442575" y="4164013"/>
          <p14:tracePt t="19490" x="10374313" y="4181475"/>
          <p14:tracePt t="19499" x="10298113" y="4189413"/>
          <p14:tracePt t="19506" x="10212388" y="4197350"/>
          <p14:tracePt t="19515" x="10042525" y="4197350"/>
          <p14:tracePt t="19522" x="9915525" y="4197350"/>
          <p14:tracePt t="19532" x="9736138" y="4197350"/>
          <p14:tracePt t="19539" x="9642475" y="4197350"/>
          <p14:tracePt t="19545" x="9515475" y="4197350"/>
          <p14:tracePt t="19553" x="9472613" y="4197350"/>
          <p14:tracePt t="19562" x="9421813" y="4206875"/>
          <p14:tracePt t="19569" x="9413875" y="4214813"/>
          <p14:tracePt t="19578" x="9405938" y="4214813"/>
          <p14:tracePt t="19625" x="9431338" y="4214813"/>
          <p14:tracePt t="19633" x="9447213" y="4214813"/>
          <p14:tracePt t="19641" x="9482138" y="4214813"/>
          <p14:tracePt t="19649" x="9507538" y="4214813"/>
          <p14:tracePt t="19657" x="9540875" y="4214813"/>
          <p14:tracePt t="19665" x="9550400" y="4206875"/>
          <p14:tracePt t="19673" x="9558338" y="4206875"/>
          <p14:tracePt t="19730" x="9550400" y="4206875"/>
          <p14:tracePt t="19738" x="9540875" y="4197350"/>
          <p14:tracePt t="19746" x="9523413" y="4189413"/>
          <p14:tracePt t="19754" x="9498013" y="4189413"/>
          <p14:tracePt t="19762" x="9464675" y="4181475"/>
          <p14:tracePt t="19769" x="9439275" y="4181475"/>
          <p14:tracePt t="19778" x="9421813" y="4181475"/>
          <p14:tracePt t="19786" x="9413875" y="4181475"/>
          <p14:tracePt t="19794" x="9405938" y="4181475"/>
          <p14:tracePt t="19802" x="9396413" y="4181475"/>
          <p14:tracePt t="19810" x="9388475" y="4181475"/>
          <p14:tracePt t="19825" x="9380538" y="4181475"/>
          <p14:tracePt t="20090" x="9363075" y="4181475"/>
          <p14:tracePt t="20098" x="9345613" y="4181475"/>
          <p14:tracePt t="20106" x="9294813" y="4156075"/>
          <p14:tracePt t="20114" x="9251950" y="4146550"/>
          <p14:tracePt t="20123" x="9193213" y="4138613"/>
          <p14:tracePt t="20132" x="9150350" y="4138613"/>
          <p14:tracePt t="20137" x="9124950" y="4138613"/>
          <p14:tracePt t="20161" x="9150350" y="4146550"/>
          <p14:tracePt t="20169" x="9175750" y="4171950"/>
          <p14:tracePt t="20177" x="9226550" y="4214813"/>
          <p14:tracePt t="20185" x="9261475" y="4240213"/>
          <p14:tracePt t="20193" x="9328150" y="4257675"/>
          <p14:tracePt t="20201" x="9363075" y="4275138"/>
          <p14:tracePt t="20209" x="9405938" y="4291013"/>
          <p14:tracePt t="20217" x="9431338" y="4291013"/>
          <p14:tracePt t="20233" x="9447213" y="4283075"/>
          <p14:tracePt t="20410" x="9456738" y="4283075"/>
          <p14:tracePt t="20418" x="9464675" y="4283075"/>
          <p14:tracePt t="20434" x="9482138" y="4283075"/>
          <p14:tracePt t="20442" x="9490075" y="4283075"/>
          <p14:tracePt t="20450" x="9507538" y="4291013"/>
          <p14:tracePt t="20457" x="9515475" y="4291013"/>
          <p14:tracePt t="20473" x="9523413" y="4291013"/>
          <p14:tracePt t="20522" x="9515475" y="4291013"/>
          <p14:tracePt t="20530" x="9507538" y="4291013"/>
          <p14:tracePt t="20553" x="9498013" y="4291013"/>
          <p14:tracePt t="20578" x="9490075" y="4291013"/>
          <p14:tracePt t="20609" x="9482138" y="4291013"/>
          <p14:tracePt t="20625" x="9482138" y="4300538"/>
          <p14:tracePt t="20633" x="9472613" y="4300538"/>
          <p14:tracePt t="20641" x="9464675" y="4308475"/>
          <p14:tracePt t="20665" x="9447213" y="4308475"/>
          <p14:tracePt t="20673" x="9431338" y="4316413"/>
          <p14:tracePt t="20681" x="9421813" y="4325938"/>
          <p14:tracePt t="20689" x="9405938" y="4333875"/>
          <p14:tracePt t="20698" x="9380538" y="4351338"/>
          <p14:tracePt t="20705" x="9353550" y="4359275"/>
          <p14:tracePt t="20715" x="9320213" y="4376738"/>
          <p14:tracePt t="20721" x="9294813" y="4384675"/>
          <p14:tracePt t="20731" x="9251950" y="4402138"/>
          <p14:tracePt t="20737" x="9193213" y="4419600"/>
          <p14:tracePt t="20746" x="9158288" y="4435475"/>
          <p14:tracePt t="20753" x="9099550" y="4460875"/>
          <p14:tracePt t="20762" x="9064625" y="4470400"/>
          <p14:tracePt t="20769" x="9023350" y="4478338"/>
          <p14:tracePt t="20777" x="8972550" y="4486275"/>
          <p14:tracePt t="20786" x="8912225" y="4495800"/>
          <p14:tracePt t="20794" x="8853488" y="4495800"/>
          <p14:tracePt t="20802" x="8802688" y="4495800"/>
          <p14:tracePt t="20809" x="8724900" y="4495800"/>
          <p14:tracePt t="20817" x="8658225" y="4495800"/>
          <p14:tracePt t="20825" x="8572500" y="4495800"/>
          <p14:tracePt t="20833" x="8496300" y="4486275"/>
          <p14:tracePt t="20841" x="8435975" y="4460875"/>
          <p14:tracePt t="20850" x="8377238" y="4460875"/>
          <p14:tracePt t="20857" x="8318500" y="4452938"/>
          <p14:tracePt t="20865" x="8283575" y="4445000"/>
          <p14:tracePt t="20873" x="8250238" y="4435475"/>
          <p14:tracePt t="20881" x="8224838" y="4427538"/>
          <p14:tracePt t="20889" x="8207375" y="4419600"/>
          <p14:tracePt t="20898" x="8181975" y="4410075"/>
          <p14:tracePt t="20905" x="8174038" y="4410075"/>
          <p14:tracePt t="20914" x="8156575" y="4410075"/>
          <p14:tracePt t="20921" x="8147050" y="4402138"/>
          <p14:tracePt t="20931" x="8139113" y="4402138"/>
          <p14:tracePt t="20937" x="8139113" y="4394200"/>
          <p14:tracePt t="20953" x="8139113" y="4384675"/>
          <p14:tracePt t="20961" x="8139113" y="4376738"/>
          <p14:tracePt t="20969" x="8131175" y="4359275"/>
          <p14:tracePt t="20977" x="8131175" y="4341813"/>
          <p14:tracePt t="20986" x="8121650" y="4316413"/>
          <p14:tracePt t="20994" x="8105775" y="4300538"/>
          <p14:tracePt t="21002" x="8096250" y="4291013"/>
          <p14:tracePt t="21017" x="8088313" y="4291013"/>
          <p14:tracePt t="21025" x="8080375" y="4291013"/>
          <p14:tracePt t="21033" x="8070850" y="4283075"/>
          <p14:tracePt t="21065" x="8070850" y="4275138"/>
          <p14:tracePt t="21073" x="8088313" y="4265613"/>
          <p14:tracePt t="21081" x="8080375" y="4265613"/>
          <p14:tracePt t="21089" x="8070850" y="4240213"/>
          <p14:tracePt t="21098" x="8088313" y="4224338"/>
          <p14:tracePt t="21170" x="8113713" y="4214813"/>
          <p14:tracePt t="21186" x="8121650" y="4214813"/>
          <p14:tracePt t="21203" x="8131175" y="4214813"/>
          <p14:tracePt t="21265" x="8121650" y="4214813"/>
          <p14:tracePt t="21274" x="8113713" y="4214813"/>
          <p14:tracePt t="21290" x="8096250" y="4214813"/>
          <p14:tracePt t="21298" x="8080375" y="4214813"/>
          <p14:tracePt t="21305" x="8070850" y="4214813"/>
          <p14:tracePt t="21314" x="8054975" y="4214813"/>
          <p14:tracePt t="21321" x="8045450" y="4214813"/>
          <p14:tracePt t="21330" x="8037513" y="4214813"/>
          <p14:tracePt t="21345" x="8029575" y="4214813"/>
          <p14:tracePt t="21353" x="8020050" y="4214813"/>
          <p14:tracePt t="21377" x="8012113" y="4214813"/>
          <p14:tracePt t="21385" x="8004175" y="4214813"/>
          <p14:tracePt t="21393" x="7986713" y="4214813"/>
          <p14:tracePt t="21401" x="7961313" y="4214813"/>
          <p14:tracePt t="21409" x="7943850" y="4214813"/>
          <p14:tracePt t="21417" x="7918450" y="4214813"/>
          <p14:tracePt t="21425" x="7885113" y="4224338"/>
          <p14:tracePt t="21433" x="7850188" y="4224338"/>
          <p14:tracePt t="21441" x="7832725" y="4224338"/>
          <p14:tracePt t="21449" x="7807325" y="4232275"/>
          <p14:tracePt t="21458" x="7773988" y="4232275"/>
          <p14:tracePt t="21465" x="7748588" y="4240213"/>
          <p14:tracePt t="21473" x="7723188" y="4240213"/>
          <p14:tracePt t="21481" x="7705725" y="4249738"/>
          <p14:tracePt t="21489" x="7672388" y="4249738"/>
          <p14:tracePt t="21497" x="7646988" y="4249738"/>
          <p14:tracePt t="21505" x="7629525" y="4257675"/>
          <p14:tracePt t="21513" x="7586663" y="4265613"/>
          <p14:tracePt t="21521" x="7553325" y="4275138"/>
          <p14:tracePt t="21530" x="7459663" y="4300538"/>
          <p14:tracePt t="21537" x="7373938" y="4316413"/>
          <p14:tracePt t="21546" x="7289800" y="4333875"/>
          <p14:tracePt t="21553" x="7196138" y="4351338"/>
          <p14:tracePt t="21560" x="7069138" y="4384675"/>
          <p14:tracePt t="21569" x="6983413" y="4419600"/>
          <p14:tracePt t="21577" x="6873875" y="4470400"/>
          <p14:tracePt t="21585" x="6805613" y="4486275"/>
          <p14:tracePt t="21593" x="6754813" y="4503738"/>
          <p14:tracePt t="21601" x="6678613" y="4538663"/>
          <p14:tracePt t="21609" x="6643688" y="4546600"/>
          <p14:tracePt t="21617" x="6592888" y="4579938"/>
          <p14:tracePt t="21625" x="6567488" y="4589463"/>
          <p14:tracePt t="21633" x="6524625" y="4605338"/>
          <p14:tracePt t="21641" x="6516688" y="4614863"/>
          <p14:tracePt t="21649" x="6499225" y="4614863"/>
          <p14:tracePt t="21657" x="6491288" y="4622800"/>
          <p14:tracePt t="21666" x="6491288" y="4630738"/>
          <p14:tracePt t="21673" x="6483350" y="4640263"/>
          <p14:tracePt t="21680" x="6473825" y="4657725"/>
          <p14:tracePt t="21690" x="6456363" y="4683125"/>
          <p14:tracePt t="21699" x="6448425" y="4699000"/>
          <p14:tracePt t="21707" x="6430963" y="4724400"/>
          <p14:tracePt t="21717" x="6423025" y="4733925"/>
          <p14:tracePt t="21723" x="6415088" y="4749800"/>
          <p14:tracePt t="21732" x="6415088" y="4759325"/>
          <p14:tracePt t="21738" x="6405563" y="4759325"/>
          <p14:tracePt t="21749" x="6397625" y="4767263"/>
          <p14:tracePt t="21754" x="6397625" y="4775200"/>
          <p14:tracePt t="21762" x="6380163" y="4792663"/>
          <p14:tracePt t="21770" x="6364288" y="4802188"/>
          <p14:tracePt t="21778" x="6338888" y="4827588"/>
          <p14:tracePt t="21788" x="6329363" y="4843463"/>
          <p14:tracePt t="21794" x="6321425" y="4860925"/>
          <p14:tracePt t="21802" x="6303963" y="4878388"/>
          <p14:tracePt t="21809" x="6296025" y="4894263"/>
          <p14:tracePt t="21819" x="6286500" y="4919663"/>
          <p14:tracePt t="21825" x="6286500" y="4929188"/>
          <p14:tracePt t="21835" x="6286500" y="4946650"/>
          <p14:tracePt t="21842" x="6286500" y="4962525"/>
          <p14:tracePt t="21849" x="6296025" y="4972050"/>
          <p14:tracePt t="21858" x="6296025" y="4987925"/>
          <p14:tracePt t="21866" x="6303963" y="5005388"/>
          <p14:tracePt t="21874" x="6311900" y="5013325"/>
          <p14:tracePt t="21880" x="6329363" y="5022850"/>
          <p14:tracePt t="21889" x="6346825" y="5038725"/>
          <p14:tracePt t="21897" x="6364288" y="5056188"/>
          <p14:tracePt t="21905" x="6380163" y="5064125"/>
          <p14:tracePt t="21912" x="6397625" y="5081588"/>
          <p14:tracePt t="21921" x="6423025" y="5091113"/>
          <p14:tracePt t="21929" x="6440488" y="5106988"/>
          <p14:tracePt t="21937" x="6465888" y="5124450"/>
          <p14:tracePt t="21945" x="6508750" y="5132388"/>
          <p14:tracePt t="21953" x="6542088" y="5149850"/>
          <p14:tracePt t="21960" x="6584950" y="5157788"/>
          <p14:tracePt t="21969" x="6618288" y="5167313"/>
          <p14:tracePt t="21976" x="6661150" y="5167313"/>
          <p14:tracePt t="21985" x="6686550" y="5175250"/>
          <p14:tracePt t="21993" x="6719888" y="5175250"/>
          <p14:tracePt t="22001" x="6737350" y="5175250"/>
          <p14:tracePt t="22009" x="6762750" y="5175250"/>
          <p14:tracePt t="22016" x="6797675" y="5175250"/>
          <p14:tracePt t="22025" x="6813550" y="5175250"/>
          <p14:tracePt t="22032" x="6831013" y="5157788"/>
          <p14:tracePt t="22041" x="6864350" y="5141913"/>
          <p14:tracePt t="22048" x="6907213" y="5124450"/>
          <p14:tracePt t="22057" x="6950075" y="5099050"/>
          <p14:tracePt t="22065" x="7018338" y="5056188"/>
          <p14:tracePt t="22073" x="7077075" y="5013325"/>
          <p14:tracePt t="22081" x="7145338" y="4979988"/>
          <p14:tracePt t="22089" x="7239000" y="4919663"/>
          <p14:tracePt t="22097" x="7281863" y="4894263"/>
          <p14:tracePt t="22104" x="7348538" y="4860925"/>
          <p14:tracePt t="22113" x="7391400" y="4843463"/>
          <p14:tracePt t="22121" x="7442200" y="4810125"/>
          <p14:tracePt t="22129" x="7459663" y="4810125"/>
          <p14:tracePt t="22137" x="7493000" y="4792663"/>
          <p14:tracePt t="22144" x="7510463" y="4784725"/>
          <p14:tracePt t="22152" x="7518400" y="4775200"/>
          <p14:tracePt t="22160" x="7545388" y="4759325"/>
          <p14:tracePt t="22169" x="7553325" y="4749800"/>
          <p14:tracePt t="22180" x="7561263" y="4749800"/>
          <p14:tracePt t="22185" x="7578725" y="4741863"/>
          <p14:tracePt t="22193" x="7596188" y="4724400"/>
          <p14:tracePt t="22201" x="7612063" y="4716463"/>
          <p14:tracePt t="22208" x="7646988" y="4691063"/>
          <p14:tracePt t="22217" x="7680325" y="4665663"/>
          <p14:tracePt t="22225" x="7705725" y="4640263"/>
          <p14:tracePt t="22233" x="7756525" y="4605338"/>
          <p14:tracePt t="22241" x="7791450" y="4579938"/>
          <p14:tracePt t="22249" x="7842250" y="4564063"/>
          <p14:tracePt t="22257" x="7850188" y="4554538"/>
          <p14:tracePt t="22265" x="7875588" y="4538663"/>
          <p14:tracePt t="22273" x="7893050" y="4521200"/>
          <p14:tracePt t="22281" x="7918450" y="4503738"/>
          <p14:tracePt t="22289" x="7935913" y="4503738"/>
          <p14:tracePt t="22297" x="7951788" y="4486275"/>
          <p14:tracePt t="22305" x="7961313" y="4470400"/>
          <p14:tracePt t="22313" x="7977188" y="4460875"/>
          <p14:tracePt t="22321" x="7986713" y="4452938"/>
          <p14:tracePt t="22337" x="7994650" y="4445000"/>
          <p14:tracePt t="22345" x="8004175" y="4435475"/>
          <p14:tracePt t="22353" x="8012113" y="4427538"/>
          <p14:tracePt t="22361" x="8012113" y="4419600"/>
          <p14:tracePt t="22377" x="8012113" y="4410075"/>
          <p14:tracePt t="22385" x="8012113" y="4402138"/>
          <p14:tracePt t="22393" x="8012113" y="4384675"/>
          <p14:tracePt t="22401" x="8012113" y="4376738"/>
          <p14:tracePt t="22409" x="8012113" y="4351338"/>
          <p14:tracePt t="22417" x="8012113" y="4341813"/>
          <p14:tracePt t="22425" x="8012113" y="4333875"/>
          <p14:tracePt t="22433" x="8012113" y="4316413"/>
          <p14:tracePt t="22441" x="8020050" y="4308475"/>
          <p14:tracePt t="22457" x="8029575" y="4291013"/>
          <p14:tracePt t="22466" x="8037513" y="4275138"/>
          <p14:tracePt t="22473" x="8045450" y="4265613"/>
          <p14:tracePt t="22481" x="8054975" y="4240213"/>
          <p14:tracePt t="22489" x="8062913" y="4232275"/>
          <p14:tracePt t="22505" x="8070850" y="4224338"/>
          <p14:tracePt t="22514" x="8070850" y="4214813"/>
          <p14:tracePt t="22521" x="8070850" y="4206875"/>
          <p14:tracePt t="22537" x="8054975" y="4197350"/>
          <p14:tracePt t="22551" x="8054975" y="4189413"/>
          <p14:tracePt t="22553" x="8037513" y="4189413"/>
          <p14:tracePt t="22561" x="8037513" y="4181475"/>
          <p14:tracePt t="22569" x="8020050" y="4181475"/>
          <p14:tracePt t="22577" x="7994650" y="4181475"/>
          <p14:tracePt t="22586" x="7977188" y="4181475"/>
          <p14:tracePt t="22593" x="7935913" y="4181475"/>
          <p14:tracePt t="22601" x="7900988" y="4181475"/>
          <p14:tracePt t="22609" x="7842250" y="4197350"/>
          <p14:tracePt t="22617" x="7791450" y="4214813"/>
          <p14:tracePt t="22625" x="7705725" y="4224338"/>
          <p14:tracePt t="22633" x="7621588" y="4232275"/>
          <p14:tracePt t="22641" x="7545388" y="4249738"/>
          <p14:tracePt t="22649" x="7442200" y="4265613"/>
          <p14:tracePt t="22657" x="7373938" y="4283075"/>
          <p14:tracePt t="22665" x="7272338" y="4300538"/>
          <p14:tracePt t="22673" x="7196138" y="4308475"/>
          <p14:tracePt t="22681" x="7119938" y="4325938"/>
          <p14:tracePt t="22689" x="7051675" y="4333875"/>
          <p14:tracePt t="22697" x="6975475" y="4341813"/>
          <p14:tracePt t="22705" x="6932613" y="4351338"/>
          <p14:tracePt t="22713" x="6881813" y="4359275"/>
          <p14:tracePt t="22721" x="6838950" y="4368800"/>
          <p14:tracePt t="22730" x="6813550" y="4376738"/>
          <p14:tracePt t="22737" x="6780213" y="4384675"/>
          <p14:tracePt t="22745" x="6762750" y="4402138"/>
          <p14:tracePt t="22752" x="6729413" y="4419600"/>
          <p14:tracePt t="22761" x="6704013" y="4435475"/>
          <p14:tracePt t="22769" x="6643688" y="4478338"/>
          <p14:tracePt t="22777" x="6610350" y="4495800"/>
          <p14:tracePt t="22785" x="6575425" y="4521200"/>
          <p14:tracePt t="22793" x="6534150" y="4538663"/>
          <p14:tracePt t="22801" x="6524625" y="4554538"/>
          <p14:tracePt t="22809" x="6508750" y="4564063"/>
          <p14:tracePt t="22817" x="6491288" y="4579938"/>
          <p14:tracePt t="22825" x="6473825" y="4597400"/>
          <p14:tracePt t="22833" x="6473825" y="4605338"/>
          <p14:tracePt t="22841" x="6456363" y="4614863"/>
          <p14:tracePt t="22849" x="6440488" y="4630738"/>
          <p14:tracePt t="22857" x="6423025" y="4648200"/>
          <p14:tracePt t="22865" x="6389688" y="4673600"/>
          <p14:tracePt t="22873" x="6372225" y="4699000"/>
          <p14:tracePt t="22881" x="6346825" y="4741863"/>
          <p14:tracePt t="22889" x="6338888" y="4792663"/>
          <p14:tracePt t="22897" x="6321425" y="4852988"/>
          <p14:tracePt t="22905" x="6311900" y="4894263"/>
          <p14:tracePt t="22913" x="6311900" y="4937125"/>
          <p14:tracePt t="22921" x="6311900" y="4962525"/>
          <p14:tracePt t="22930" x="6311900" y="4987925"/>
          <p14:tracePt t="22946" x="6311900" y="4997450"/>
          <p14:tracePt t="22953" x="6311900" y="5005388"/>
          <p14:tracePt t="22969" x="6311900" y="5013325"/>
          <p14:tracePt t="23034" x="6303963" y="5022850"/>
          <p14:tracePt t="23128" x="6296025" y="5022850"/>
          <p14:tracePt t="23361" x="6303963" y="5022850"/>
          <p14:tracePt t="23369" x="6311900" y="5022850"/>
          <p14:tracePt t="23377" x="6329363" y="5030788"/>
          <p14:tracePt t="23385" x="6338888" y="5030788"/>
          <p14:tracePt t="23393" x="6364288" y="5030788"/>
          <p14:tracePt t="23401" x="6372225" y="5030788"/>
          <p14:tracePt t="23409" x="6380163" y="5030788"/>
          <p14:tracePt t="23417" x="6397625" y="5030788"/>
          <p14:tracePt t="23425" x="6415088" y="5030788"/>
          <p14:tracePt t="23433" x="6423025" y="5030788"/>
          <p14:tracePt t="23442" x="6456363" y="5030788"/>
          <p14:tracePt t="23449" x="6491288" y="5030788"/>
          <p14:tracePt t="23458" x="6542088" y="5030788"/>
          <p14:tracePt t="23465" x="6584950" y="5030788"/>
          <p14:tracePt t="23474" x="6686550" y="5030788"/>
          <p14:tracePt t="23482" x="6754813" y="5030788"/>
          <p14:tracePt t="23490" x="6831013" y="5030788"/>
          <p14:tracePt t="23498" x="6899275" y="5030788"/>
          <p14:tracePt t="23506" x="6932613" y="5030788"/>
          <p14:tracePt t="23515" x="6983413" y="5030788"/>
          <p14:tracePt t="23522" x="7026275" y="5030788"/>
          <p14:tracePt t="23532" x="7085013" y="5030788"/>
          <p14:tracePt t="23538" x="7137400" y="5022850"/>
          <p14:tracePt t="23548" x="7178675" y="4997450"/>
          <p14:tracePt t="23555" x="7256463" y="4962525"/>
          <p14:tracePt t="23562" x="7289800" y="4946650"/>
          <p14:tracePt t="23569" x="7340600" y="4919663"/>
          <p14:tracePt t="23577" x="7366000" y="4894263"/>
          <p14:tracePt t="23586" x="7391400" y="4878388"/>
          <p14:tracePt t="23593" x="7416800" y="4860925"/>
          <p14:tracePt t="23601" x="7434263" y="4852988"/>
          <p14:tracePt t="23609" x="7451725" y="4835525"/>
          <p14:tracePt t="23617" x="7467600" y="4818063"/>
          <p14:tracePt t="23625" x="7493000" y="4802188"/>
          <p14:tracePt t="23633" x="7518400" y="4775200"/>
          <p14:tracePt t="23641" x="7535863" y="4749800"/>
          <p14:tracePt t="23649" x="7561263" y="4716463"/>
          <p14:tracePt t="23657" x="7604125" y="4657725"/>
          <p14:tracePt t="23665" x="7629525" y="4614863"/>
          <p14:tracePt t="23673" x="7672388" y="4564063"/>
          <p14:tracePt t="23681" x="7697788" y="4538663"/>
          <p14:tracePt t="23689" x="7715250" y="4503738"/>
          <p14:tracePt t="23697" x="7731125" y="4478338"/>
          <p14:tracePt t="23705" x="7740650" y="4470400"/>
          <p14:tracePt t="23713" x="7756525" y="4452938"/>
          <p14:tracePt t="23721" x="7766050" y="4435475"/>
          <p14:tracePt t="23730" x="7791450" y="4410075"/>
          <p14:tracePt t="23737" x="7799388" y="4394200"/>
          <p14:tracePt t="23745" x="7816850" y="4376738"/>
          <p14:tracePt t="23753" x="7816850" y="4351338"/>
          <p14:tracePt t="23761" x="7816850" y="4341813"/>
          <p14:tracePt t="23769" x="7824788" y="4325938"/>
          <p14:tracePt t="23777" x="7832725" y="4316413"/>
          <p14:tracePt t="23785" x="7842250" y="4308475"/>
          <p14:tracePt t="23794" x="7842250" y="4291013"/>
          <p14:tracePt t="23802" x="7842250" y="4275138"/>
          <p14:tracePt t="23810" x="7850188" y="4275138"/>
          <p14:tracePt t="23817" x="7859713" y="4265613"/>
          <p14:tracePt t="23825" x="7867650" y="4249738"/>
          <p14:tracePt t="23842" x="7867650" y="4232275"/>
          <p14:tracePt t="23850" x="7875588" y="4214813"/>
          <p14:tracePt t="23857" x="7875588" y="4206875"/>
          <p14:tracePt t="23865" x="7885113" y="4189413"/>
          <p14:tracePt t="23873" x="7885113" y="4181475"/>
          <p14:tracePt t="23880" x="7885113" y="4171950"/>
          <p14:tracePt t="23889" x="7885113" y="4156075"/>
          <p14:tracePt t="23905" x="7885113" y="4138613"/>
          <p14:tracePt t="23913" x="7885113" y="4130675"/>
          <p14:tracePt t="23921" x="7885113" y="4113213"/>
          <p14:tracePt t="23929" x="7885113" y="4095750"/>
          <p14:tracePt t="23937" x="7885113" y="4087813"/>
          <p14:tracePt t="23946" x="7885113" y="4079875"/>
          <p14:tracePt t="23953" x="7885113" y="4070350"/>
          <p14:tracePt t="24010" x="7859713" y="4070350"/>
          <p14:tracePt t="24019" x="7824788" y="4070350"/>
          <p14:tracePt t="24025" x="7799388" y="4070350"/>
          <p14:tracePt t="24034" x="7731125" y="4070350"/>
          <p14:tracePt t="24042" x="7688263" y="4070350"/>
          <p14:tracePt t="24050" x="7612063" y="4079875"/>
          <p14:tracePt t="24057" x="7510463" y="4087813"/>
          <p14:tracePt t="24064" x="7434263" y="4105275"/>
          <p14:tracePt t="24073" x="7307263" y="4138613"/>
          <p14:tracePt t="24080" x="7239000" y="4146550"/>
          <p14:tracePt t="24089" x="7119938" y="4156075"/>
          <p14:tracePt t="24096" x="7051675" y="4171950"/>
          <p14:tracePt t="24105" x="6958013" y="4189413"/>
          <p14:tracePt t="24113" x="6915150" y="4197350"/>
          <p14:tracePt t="24121" x="6864350" y="4206875"/>
          <p14:tracePt t="24129" x="6848475" y="4214813"/>
          <p14:tracePt t="24137" x="6823075" y="4214813"/>
          <p14:tracePt t="24146" x="6805613" y="4224338"/>
          <p14:tracePt t="24153" x="6797675" y="4224338"/>
          <p14:tracePt t="24161" x="6762750" y="4240213"/>
          <p14:tracePt t="24169" x="6745288" y="4240213"/>
          <p14:tracePt t="24177" x="6719888" y="4249738"/>
          <p14:tracePt t="24185" x="6704013" y="4249738"/>
          <p14:tracePt t="24193" x="6678613" y="4257675"/>
          <p14:tracePt t="24201" x="6653213" y="4265613"/>
          <p14:tracePt t="24209" x="6635750" y="4275138"/>
          <p14:tracePt t="24217" x="6600825" y="4291013"/>
          <p14:tracePt t="24233" x="6584950" y="4308475"/>
          <p14:tracePt t="24241" x="6567488" y="4316413"/>
          <p14:tracePt t="24249" x="6559550" y="4333875"/>
          <p14:tracePt t="24257" x="6550025" y="4333875"/>
          <p14:tracePt t="24265" x="6534150" y="4341813"/>
          <p14:tracePt t="24273" x="6524625" y="4359275"/>
          <p14:tracePt t="24281" x="6508750" y="4376738"/>
          <p14:tracePt t="24289" x="6499225" y="4384675"/>
          <p14:tracePt t="24297" x="6491288" y="4410075"/>
          <p14:tracePt t="24305" x="6483350" y="4445000"/>
          <p14:tracePt t="24314" x="6483350" y="4478338"/>
          <p14:tracePt t="24321" x="6473825" y="4521200"/>
          <p14:tracePt t="24331" x="6473825" y="4554538"/>
          <p14:tracePt t="24337" x="6473825" y="4579938"/>
          <p14:tracePt t="24345" x="6473825" y="4622800"/>
          <p14:tracePt t="24353" x="6473825" y="4648200"/>
          <p14:tracePt t="24361" x="6473825" y="4673600"/>
          <p14:tracePt t="24370" x="6483350" y="4691063"/>
          <p14:tracePt t="24377" x="6491288" y="4724400"/>
          <p14:tracePt t="24385" x="6508750" y="4759325"/>
          <p14:tracePt t="24393" x="6524625" y="4810125"/>
          <p14:tracePt t="24402" x="6567488" y="4860925"/>
          <p14:tracePt t="24410" x="6610350" y="4911725"/>
          <p14:tracePt t="24417" x="6661150" y="4987925"/>
          <p14:tracePt t="24425" x="6704013" y="5030788"/>
          <p14:tracePt t="24434" x="6762750" y="5073650"/>
          <p14:tracePt t="24441" x="6780213" y="5091113"/>
          <p14:tracePt t="24450" x="6797675" y="5091113"/>
          <p14:tracePt t="24506" x="6788150" y="5091113"/>
          <p14:tracePt t="24521" x="6762750" y="5091113"/>
          <p14:tracePt t="24529" x="6745288" y="5091113"/>
          <p14:tracePt t="24537" x="6719888" y="5091113"/>
          <p14:tracePt t="24545" x="6686550" y="5091113"/>
          <p14:tracePt t="24552" x="6643688" y="5091113"/>
          <p14:tracePt t="24561" x="6575425" y="5091113"/>
          <p14:tracePt t="24569" x="6499225" y="5091113"/>
          <p14:tracePt t="24577" x="6389688" y="5091113"/>
          <p14:tracePt t="24585" x="6296025" y="5091113"/>
          <p14:tracePt t="24593" x="6151563" y="5081588"/>
          <p14:tracePt t="24601" x="6024563" y="5056188"/>
          <p14:tracePt t="24609" x="5888038" y="5030788"/>
          <p14:tracePt t="24617" x="5761038" y="5005388"/>
          <p14:tracePt t="24625" x="5692775" y="4987925"/>
          <p14:tracePt t="24633" x="5599113" y="4954588"/>
          <p14:tracePt t="24641" x="5565775" y="4937125"/>
          <p14:tracePt t="24649" x="5505450" y="4911725"/>
          <p14:tracePt t="24657" x="5487988" y="4911725"/>
          <p14:tracePt t="24665" x="5472113" y="4903788"/>
          <p14:tracePt t="24706" x="5480050" y="4894263"/>
          <p14:tracePt t="24714" x="5505450" y="4886325"/>
          <p14:tracePt t="24722" x="5573713" y="4878388"/>
          <p14:tracePt t="24732" x="5624513" y="4878388"/>
          <p14:tracePt t="24737" x="5743575" y="4878388"/>
          <p14:tracePt t="24746" x="5837238" y="4878388"/>
          <p14:tracePt t="24753" x="5938838" y="4878388"/>
          <p14:tracePt t="24762" x="6065838" y="4894263"/>
          <p14:tracePt t="24770" x="6176963" y="4894263"/>
          <p14:tracePt t="24778" x="6296025" y="4911725"/>
          <p14:tracePt t="24786" x="6380163" y="4911725"/>
          <p14:tracePt t="24794" x="6465888" y="4911725"/>
          <p14:tracePt t="24802" x="6499225" y="4903788"/>
          <p14:tracePt t="24810" x="6516688" y="4894263"/>
          <p14:tracePt t="24833" x="6516688" y="4886325"/>
          <p14:tracePt t="24842" x="6516688" y="4878388"/>
          <p14:tracePt t="24850" x="6516688" y="4868863"/>
          <p14:tracePt t="24858" x="6516688" y="4852988"/>
          <p14:tracePt t="24865" x="6516688" y="4835525"/>
          <p14:tracePt t="24873" x="6499225" y="4835525"/>
          <p14:tracePt t="24882" x="6483350" y="4818063"/>
          <p14:tracePt t="24889" x="6456363" y="4802188"/>
          <p14:tracePt t="24897" x="6415088" y="4784725"/>
          <p14:tracePt t="24905" x="6346825" y="4759325"/>
          <p14:tracePt t="24912" x="6278563" y="4741863"/>
          <p14:tracePt t="24921" x="6184900" y="4733925"/>
          <p14:tracePt t="24929" x="6108700" y="4716463"/>
          <p14:tracePt t="24937" x="6032500" y="4708525"/>
          <p14:tracePt t="24946" x="6007100" y="4699000"/>
          <p14:tracePt t="24953" x="5972175" y="4699000"/>
          <p14:tracePt t="24961" x="5938838" y="4699000"/>
          <p14:tracePt t="24969" x="5921375" y="4699000"/>
          <p14:tracePt t="25017" x="5938838" y="4708525"/>
          <p14:tracePt t="25025" x="5956300" y="4708525"/>
          <p14:tracePt t="25034" x="6040438" y="4724400"/>
          <p14:tracePt t="25042" x="6100763" y="4733925"/>
          <p14:tracePt t="25050" x="6235700" y="4741863"/>
          <p14:tracePt t="25058" x="6364288" y="4741863"/>
          <p14:tracePt t="25065" x="6653213" y="4691063"/>
          <p14:tracePt t="25073" x="6823075" y="4648200"/>
          <p14:tracePt t="25081" x="7094538" y="4554538"/>
          <p14:tracePt t="25089" x="7221538" y="4495800"/>
          <p14:tracePt t="25098" x="7315200" y="4445000"/>
          <p14:tracePt t="25105" x="7373938" y="4402138"/>
          <p14:tracePt t="25114" x="7391400" y="4394200"/>
          <p14:tracePt t="25121" x="7408863" y="4384675"/>
          <p14:tracePt t="25131" x="7408863" y="4376738"/>
          <p14:tracePt t="25137" x="7408863" y="4368800"/>
          <p14:tracePt t="25147" x="7408863" y="4359275"/>
          <p14:tracePt t="25153" x="7391400" y="4351338"/>
          <p14:tracePt t="25161" x="7373938" y="4341813"/>
          <p14:tracePt t="25169" x="7340600" y="4325938"/>
          <p14:tracePt t="25177" x="7289800" y="4308475"/>
          <p14:tracePt t="25186" x="7246938" y="4308475"/>
          <p14:tracePt t="25193" x="7188200" y="4308475"/>
          <p14:tracePt t="25201" x="7145338" y="4308475"/>
          <p14:tracePt t="25209" x="7085013" y="4308475"/>
          <p14:tracePt t="25217" x="7059613" y="4316413"/>
          <p14:tracePt t="25225" x="7026275" y="4333875"/>
          <p14:tracePt t="25233" x="7000875" y="4351338"/>
          <p14:tracePt t="25241" x="6992938" y="4359275"/>
          <p14:tracePt t="25250" x="6992938" y="4384675"/>
          <p14:tracePt t="25257" x="6992938" y="4419600"/>
          <p14:tracePt t="25265" x="7008813" y="4470400"/>
          <p14:tracePt t="25273" x="7059613" y="4513263"/>
          <p14:tracePt t="25281" x="7137400" y="4572000"/>
          <p14:tracePt t="25289" x="7213600" y="4579938"/>
          <p14:tracePt t="25297" x="7315200" y="4589463"/>
          <p14:tracePt t="25305" x="7400925" y="4589463"/>
          <p14:tracePt t="25314" x="7459663" y="4589463"/>
          <p14:tracePt t="25321" x="7545388" y="4572000"/>
          <p14:tracePt t="25331" x="7578725" y="4554538"/>
          <p14:tracePt t="25337" x="7629525" y="4513263"/>
          <p14:tracePt t="25345" x="7629525" y="4495800"/>
          <p14:tracePt t="25353" x="7637463" y="4460875"/>
          <p14:tracePt t="25362" x="7629525" y="4419600"/>
          <p14:tracePt t="25370" x="7561263" y="4351338"/>
          <p14:tracePt t="25377" x="7502525" y="4275138"/>
          <p14:tracePt t="25385" x="7408863" y="4189413"/>
          <p14:tracePt t="25393" x="7256463" y="4095750"/>
          <p14:tracePt t="25401" x="7137400" y="4019550"/>
          <p14:tracePt t="25409" x="6942138" y="3917950"/>
          <p14:tracePt t="25417" x="6788150" y="3867150"/>
          <p14:tracePt t="25425" x="6483350" y="3816350"/>
          <p14:tracePt t="25433" x="6296025" y="3790950"/>
          <p14:tracePt t="25441" x="6091238" y="3790950"/>
          <p14:tracePt t="25450" x="5827713" y="3790950"/>
          <p14:tracePt t="25457" x="5548313" y="3832225"/>
          <p14:tracePt t="25466" x="5318125" y="3892550"/>
          <p14:tracePt t="25473" x="5114925" y="3951288"/>
          <p14:tracePt t="25481" x="4987925" y="4011613"/>
          <p14:tracePt t="25489" x="4894263" y="4052888"/>
          <p14:tracePt t="25497" x="4818063" y="4113213"/>
          <p14:tracePt t="25505" x="4791075" y="4130675"/>
          <p14:tracePt t="25514" x="4783138" y="4164013"/>
          <p14:tracePt t="25521" x="4783138" y="4181475"/>
          <p14:tracePt t="25531" x="4791075" y="4197350"/>
          <p14:tracePt t="25539" x="4826000" y="4214813"/>
          <p14:tracePt t="25547" x="4868863" y="4224338"/>
          <p14:tracePt t="25553" x="4945063" y="4232275"/>
          <p14:tracePt t="25562" x="5013325" y="4240213"/>
          <p14:tracePt t="25569" x="5097463" y="4257675"/>
          <p14:tracePt t="25577" x="5173663" y="4257675"/>
          <p14:tracePt t="25585" x="5216525" y="4257675"/>
          <p14:tracePt t="25593" x="5284788" y="4257675"/>
          <p14:tracePt t="25602" x="5335588" y="4249738"/>
          <p14:tracePt t="25609" x="5368925" y="4240213"/>
          <p14:tracePt t="25617" x="5386388" y="4232275"/>
          <p14:tracePt t="25649" x="5360988" y="4232275"/>
          <p14:tracePt t="25657" x="5335588" y="4232275"/>
          <p14:tracePt t="25665" x="5276850" y="4232275"/>
          <p14:tracePt t="25673" x="5224463" y="4232275"/>
          <p14:tracePt t="25681" x="5148263" y="4232275"/>
          <p14:tracePt t="25689" x="5106988" y="4232275"/>
          <p14:tracePt t="25697" x="5064125" y="4232275"/>
          <p14:tracePt t="25705" x="5038725" y="4232275"/>
          <p14:tracePt t="25714" x="5029200" y="4232275"/>
          <p14:tracePt t="25912" x="5013325" y="4232275"/>
          <p14:tracePt t="25921" x="4978400" y="4232275"/>
          <p14:tracePt t="25929" x="4910138" y="4249738"/>
          <p14:tracePt t="25937" x="4808538" y="4257675"/>
          <p14:tracePt t="25945" x="4681538" y="4283075"/>
          <p14:tracePt t="25953" x="4418013" y="4341813"/>
          <p14:tracePt t="25962" x="4273550" y="4351338"/>
          <p14:tracePt t="25970" x="4121150" y="4351338"/>
          <p14:tracePt t="25977" x="4017963" y="4351338"/>
          <p14:tracePt t="25986" x="3933825" y="4351338"/>
          <p14:tracePt t="25993" x="3900488" y="4351338"/>
          <p14:tracePt t="26002" x="3883025" y="4359275"/>
          <p14:tracePt t="26015" x="3873500" y="4368800"/>
          <p14:tracePt t="26018" x="3873500" y="4384675"/>
          <p14:tracePt t="26025" x="3865563" y="4419600"/>
          <p14:tracePt t="26033" x="3865563" y="4478338"/>
          <p14:tracePt t="26041" x="3865563" y="4554538"/>
          <p14:tracePt t="26049" x="3900488" y="4622800"/>
          <p14:tracePt t="26057" x="3959225" y="4733925"/>
          <p14:tracePt t="26066" x="4010025" y="4784725"/>
          <p14:tracePt t="26074" x="4086225" y="4835525"/>
          <p14:tracePt t="26081" x="4187825" y="4886325"/>
          <p14:tracePt t="26089" x="4281488" y="4894263"/>
          <p14:tracePt t="26097" x="4392613" y="4911725"/>
          <p14:tracePt t="26105" x="4476750" y="4911725"/>
          <p14:tracePt t="26114" x="4595813" y="4878388"/>
          <p14:tracePt t="26121" x="4656138" y="4852988"/>
          <p14:tracePt t="26131" x="4681538" y="4827588"/>
          <p14:tracePt t="26137" x="4689475" y="4802188"/>
          <p14:tracePt t="26147" x="4689475" y="4775200"/>
          <p14:tracePt t="26153" x="4689475" y="4749800"/>
          <p14:tracePt t="26161" x="4673600" y="4708525"/>
          <p14:tracePt t="26169" x="4613275" y="4630738"/>
          <p14:tracePt t="26177" x="4562475" y="4579938"/>
          <p14:tracePt t="26186" x="4460875" y="4513263"/>
          <p14:tracePt t="26193" x="4384675" y="4452938"/>
          <p14:tracePt t="26202" x="4265613" y="4410075"/>
          <p14:tracePt t="26209" x="4171950" y="4376738"/>
          <p14:tracePt t="26217" x="4060825" y="4368800"/>
          <p14:tracePt t="26225" x="3976688" y="4368800"/>
          <p14:tracePt t="26233" x="3890963" y="4368800"/>
          <p14:tracePt t="26241" x="3771900" y="4368800"/>
          <p14:tracePt t="26249" x="3703638" y="4384675"/>
          <p14:tracePt t="26257" x="3636963" y="4419600"/>
          <p14:tracePt t="26266" x="3602038" y="4445000"/>
          <p14:tracePt t="26273" x="3568700" y="4495800"/>
          <p14:tracePt t="26281" x="3559175" y="4529138"/>
          <p14:tracePt t="26289" x="3559175" y="4572000"/>
          <p14:tracePt t="26297" x="3576638" y="4622800"/>
          <p14:tracePt t="26305" x="3627438" y="4683125"/>
          <p14:tracePt t="26314" x="3703638" y="4733925"/>
          <p14:tracePt t="26321" x="3781425" y="4775200"/>
          <p14:tracePt t="26331" x="3900488" y="4810125"/>
          <p14:tracePt t="26337" x="3984625" y="4835525"/>
          <p14:tracePt t="26347" x="4103688" y="4843463"/>
          <p14:tracePt t="26353" x="4171950" y="4843463"/>
          <p14:tracePt t="26362" x="4205288" y="4843463"/>
          <p14:tracePt t="26370" x="4214813" y="4843463"/>
          <p14:tracePt t="26458" x="4205288" y="4843463"/>
          <p14:tracePt t="26714" x="4197350" y="4843463"/>
          <p14:tracePt t="26722" x="4171950" y="4843463"/>
          <p14:tracePt t="26731" x="4146550" y="4835525"/>
          <p14:tracePt t="26738" x="4103688" y="4827588"/>
          <p14:tracePt t="26749" x="4060825" y="4827588"/>
          <p14:tracePt t="26754" x="4027488" y="4818063"/>
          <p14:tracePt t="26762" x="4002088" y="4818063"/>
          <p14:tracePt t="26794" x="4002088" y="4810125"/>
          <p14:tracePt t="26810" x="4010025" y="4810125"/>
          <p14:tracePt t="26818" x="4035425" y="4802188"/>
          <p14:tracePt t="26826" x="4044950" y="4802188"/>
          <p14:tracePt t="26834" x="4086225" y="4792663"/>
          <p14:tracePt t="26842" x="4111625" y="4784725"/>
          <p14:tracePt t="26852" x="4171950" y="4759325"/>
          <p14:tracePt t="26858" x="4214813" y="4741863"/>
          <p14:tracePt t="26865" x="4281488" y="4699000"/>
          <p14:tracePt t="26874" x="4316413" y="4691063"/>
          <p14:tracePt t="26882" x="4341813" y="4683125"/>
          <p14:tracePt t="26890" x="4359275" y="4673600"/>
          <p14:tracePt t="26905" x="4375150" y="4673600"/>
          <p14:tracePt t="26913" x="4384675" y="4665663"/>
          <p14:tracePt t="26921" x="4410075" y="4648200"/>
          <p14:tracePt t="26930" x="4451350" y="4614863"/>
          <p14:tracePt t="26937" x="4529138" y="4529138"/>
          <p14:tracePt t="26946" x="4595813" y="4452938"/>
          <p14:tracePt t="26953" x="4664075" y="4333875"/>
          <p14:tracePt t="26962" x="4732338" y="4257675"/>
          <p14:tracePt t="26970" x="4800600" y="4164013"/>
          <p14:tracePt t="26977" x="4884738" y="4052888"/>
          <p14:tracePt t="26985" x="4945063" y="3994150"/>
          <p14:tracePt t="26993" x="4995863" y="3908425"/>
          <p14:tracePt t="27002" x="5021263" y="3875088"/>
          <p14:tracePt t="27014" x="5038725" y="3849688"/>
          <p14:tracePt t="27017" x="5046663" y="3849688"/>
          <p14:tracePt t="27049" x="5054600" y="3849688"/>
          <p14:tracePt t="27065" x="5064125" y="3841750"/>
          <p14:tracePt t="27073" x="5080000" y="3841750"/>
          <p14:tracePt t="27081" x="5114925" y="3824288"/>
          <p14:tracePt t="27089" x="5122863" y="3824288"/>
          <p14:tracePt t="27098" x="5191125" y="3816350"/>
          <p14:tracePt t="27105" x="5249863" y="3816350"/>
          <p14:tracePt t="27113" x="5335588" y="3816350"/>
          <p14:tracePt t="27121" x="5462588" y="3816350"/>
          <p14:tracePt t="27130" x="5591175" y="3816350"/>
          <p14:tracePt t="27137" x="5819775" y="3816350"/>
          <p14:tracePt t="27146" x="6007100" y="3816350"/>
          <p14:tracePt t="27153" x="6346825" y="3892550"/>
          <p14:tracePt t="27161" x="6600825" y="3935413"/>
          <p14:tracePt t="27170" x="7018338" y="3994150"/>
          <p14:tracePt t="27177" x="7229475" y="4019550"/>
          <p14:tracePt t="27186" x="7400925" y="4062413"/>
          <p14:tracePt t="27193" x="7570788" y="4087813"/>
          <p14:tracePt t="27201" x="7654925" y="4095750"/>
          <p14:tracePt t="27209" x="7740650" y="4121150"/>
          <p14:tracePt t="27217" x="7766050" y="4121150"/>
          <p14:tracePt t="27225" x="7773988" y="4121150"/>
          <p14:tracePt t="27233" x="7781925" y="4121150"/>
          <p14:tracePt t="27346" x="7791450" y="4121150"/>
          <p14:tracePt t="27354" x="7799388" y="4121150"/>
          <p14:tracePt t="27362" x="7807325" y="4121150"/>
          <p14:tracePt t="27371" x="7824788" y="4113213"/>
          <p14:tracePt t="27386" x="7832725" y="4105275"/>
          <p14:tracePt t="27394" x="7850188" y="4105275"/>
          <p14:tracePt t="27409" x="7875588" y="4095750"/>
          <p14:tracePt t="27420" x="7900988" y="4087813"/>
          <p14:tracePt t="27426" x="7935913" y="4070350"/>
          <p14:tracePt t="27433" x="7961313" y="4062413"/>
          <p14:tracePt t="27442" x="8029575" y="4044950"/>
          <p14:tracePt t="27449" x="8045450" y="4037013"/>
          <p14:tracePt t="27458" x="8080375" y="4019550"/>
          <p14:tracePt t="27465" x="8105775" y="4011613"/>
          <p14:tracePt t="27474" x="8113713" y="4002088"/>
          <p14:tracePt t="27481" x="8121650" y="3994150"/>
          <p14:tracePt t="27498" x="8139113" y="3986213"/>
          <p14:tracePt t="27506" x="8156575" y="3976688"/>
          <p14:tracePt t="27514" x="8174038" y="3960813"/>
          <p14:tracePt t="27522" x="8189913" y="3951288"/>
          <p14:tracePt t="27531" x="8215313" y="3935413"/>
          <p14:tracePt t="27537" x="8250238" y="3925888"/>
          <p14:tracePt t="27548" x="8283575" y="3908425"/>
          <p14:tracePt t="27554" x="8334375" y="3892550"/>
          <p14:tracePt t="27561" x="8351838" y="3883025"/>
          <p14:tracePt t="27570" x="8377238" y="3875088"/>
          <p14:tracePt t="27578" x="8394700" y="3857625"/>
          <p14:tracePt t="27609" x="8385175" y="3857625"/>
          <p14:tracePt t="27617" x="8334375" y="3849688"/>
          <p14:tracePt t="27625" x="8266113" y="3832225"/>
          <p14:tracePt t="27633" x="8164513" y="3806825"/>
          <p14:tracePt t="27642" x="8020050" y="3781425"/>
          <p14:tracePt t="27651" x="7893050" y="3763963"/>
          <p14:tracePt t="27658" x="7731125" y="3738563"/>
          <p14:tracePt t="27665" x="7604125" y="3713163"/>
          <p14:tracePt t="27674" x="7426325" y="3687763"/>
          <p14:tracePt t="27681" x="7297738" y="3662363"/>
          <p14:tracePt t="27690" x="7188200" y="3629025"/>
          <p14:tracePt t="27698" x="7059613" y="3594100"/>
          <p14:tracePt t="27706" x="6950075" y="3560763"/>
          <p14:tracePt t="27714" x="6797675" y="3509963"/>
          <p14:tracePt t="27722" x="6694488" y="3467100"/>
          <p14:tracePt t="27731" x="6567488" y="3408363"/>
          <p14:tracePt t="27737" x="6456363" y="3373438"/>
          <p14:tracePt t="27747" x="6346825" y="3322638"/>
          <p14:tracePt t="27754" x="6270625" y="3289300"/>
          <p14:tracePt t="27761" x="6219825" y="3271838"/>
          <p14:tracePt t="27770" x="6159500" y="3238500"/>
          <p14:tracePt t="27778" x="6134100" y="3221038"/>
          <p14:tracePt t="27786" x="6108700" y="3203575"/>
          <p14:tracePt t="27794" x="6100763" y="3186113"/>
          <p14:tracePt t="27801" x="6091238" y="3178175"/>
          <p14:tracePt t="27817" x="6091238" y="3160713"/>
          <p14:tracePt t="27826" x="6083300" y="3144838"/>
          <p14:tracePt t="27833" x="6075363" y="3135313"/>
          <p14:tracePt t="27842" x="6065838" y="3109913"/>
          <p14:tracePt t="27850" x="6049963" y="3084513"/>
          <p14:tracePt t="27858" x="6032500" y="3041650"/>
          <p14:tracePt t="27865" x="6007100" y="3000375"/>
          <p14:tracePt t="27874" x="5938838" y="2949575"/>
          <p14:tracePt t="27881" x="5905500" y="2914650"/>
          <p14:tracePt t="27890" x="5827713" y="2863850"/>
          <p14:tracePt t="27897" x="5776913" y="2830513"/>
          <p14:tracePt t="27905" x="5708650" y="2787650"/>
          <p14:tracePt t="27914" x="5624513" y="2736850"/>
          <p14:tracePt t="27921" x="5530850" y="2701925"/>
          <p14:tracePt t="27931" x="5429250" y="2660650"/>
          <p14:tracePt t="27937" x="5353050" y="2625725"/>
          <p14:tracePt t="27947" x="5276850" y="2592388"/>
          <p14:tracePt t="27954" x="5224463" y="2574925"/>
          <p14:tracePt t="27961" x="5191125" y="2557463"/>
          <p14:tracePt t="27970" x="5173663" y="2541588"/>
          <p14:tracePt t="27977" x="5165725" y="2516188"/>
          <p14:tracePt t="27986" x="5148263" y="2473325"/>
          <p14:tracePt t="28242" x="5157788" y="2463800"/>
          <p14:tracePt t="28250" x="5157788" y="2430463"/>
          <p14:tracePt t="28273" x="5132388" y="2430463"/>
          <p14:tracePt t="28280" x="5106988" y="2430463"/>
          <p14:tracePt t="28289" x="5064125" y="2430463"/>
          <p14:tracePt t="28296" x="5038725" y="2422525"/>
          <p14:tracePt t="28305" x="5013325" y="2413000"/>
          <p14:tracePt t="28313" x="4995863" y="2405063"/>
          <p14:tracePt t="28321" x="4978400" y="2397125"/>
          <p14:tracePt t="28329" x="4970463" y="2397125"/>
          <p14:tracePt t="28346" x="4962525" y="2397125"/>
          <p14:tracePt t="28353" x="4953000" y="2397125"/>
          <p14:tracePt t="28370" x="4945063" y="2397125"/>
          <p14:tracePt t="28378" x="4935538" y="2397125"/>
          <p14:tracePt t="28402" x="4935538" y="2387600"/>
          <p14:tracePt t="28409" x="4945063" y="2387600"/>
          <p14:tracePt t="28425" x="4953000" y="2387600"/>
          <p14:tracePt t="28433" x="4953000" y="2379663"/>
          <p14:tracePt t="28555" x="4970463" y="2379663"/>
          <p14:tracePt t="28562" x="5013325" y="2387600"/>
          <p14:tracePt t="28571" x="5072063" y="2405063"/>
          <p14:tracePt t="28578" x="5208588" y="2413000"/>
          <p14:tracePt t="28587" x="5368925" y="2413000"/>
          <p14:tracePt t="28594" x="5556250" y="2413000"/>
          <p14:tracePt t="28601" x="5997575" y="2405063"/>
          <p14:tracePt t="28609" x="6329363" y="2354263"/>
          <p14:tracePt t="28617" x="6780213" y="2268538"/>
          <p14:tracePt t="28625" x="7034213" y="2209800"/>
          <p14:tracePt t="28633" x="7307263" y="2174875"/>
          <p14:tracePt t="28641" x="7477125" y="2133600"/>
          <p14:tracePt t="28649" x="7654925" y="2082800"/>
          <p14:tracePt t="28657" x="7859713" y="2022475"/>
          <p14:tracePt t="28665" x="7977188" y="1979613"/>
          <p14:tracePt t="28673" x="8062913" y="1954213"/>
          <p14:tracePt t="28681" x="8156575" y="1920875"/>
          <p14:tracePt t="28689" x="8258175" y="1885950"/>
          <p14:tracePt t="28697" x="8308975" y="1870075"/>
          <p14:tracePt t="28705" x="8394700" y="1835150"/>
          <p14:tracePt t="28713" x="8453438" y="1801813"/>
          <p14:tracePt t="28721" x="8504238" y="1784350"/>
          <p14:tracePt t="28730" x="8555038" y="1766888"/>
          <p14:tracePt t="28737" x="8589963" y="1758950"/>
          <p14:tracePt t="28746" x="8632825" y="1733550"/>
          <p14:tracePt t="28753" x="8658225" y="1733550"/>
          <p14:tracePt t="28763" x="8683625" y="1716088"/>
          <p14:tracePt t="28777" x="8691563" y="1716088"/>
          <p14:tracePt t="28793" x="8691563" y="1725613"/>
          <p14:tracePt t="28801" x="8674100" y="1766888"/>
          <p14:tracePt t="28809" x="8648700" y="1793875"/>
          <p14:tracePt t="28817" x="8589963" y="1835150"/>
          <p14:tracePt t="28825" x="8555038" y="1852613"/>
          <p14:tracePt t="29019" x="8580438" y="1852613"/>
          <p14:tracePt t="29026" x="8572500" y="1852613"/>
          <p14:tracePt t="29034" x="8564563" y="1852613"/>
          <p14:tracePt t="29050" x="8564563" y="1860550"/>
          <p14:tracePt t="29058" x="8564563" y="1870075"/>
          <p14:tracePt t="29072" x="8580438" y="1878013"/>
          <p14:tracePt t="29083" x="8605838" y="1885950"/>
          <p14:tracePt t="29090" x="8658225" y="1903413"/>
          <p14:tracePt t="29099" x="8709025" y="1928813"/>
          <p14:tracePt t="29106" x="8785225" y="1946275"/>
          <p14:tracePt t="29115" x="8853488" y="1954213"/>
          <p14:tracePt t="29121" x="8955088" y="1971675"/>
          <p14:tracePt t="29131" x="9031288" y="1979613"/>
          <p14:tracePt t="29137" x="9132888" y="1997075"/>
          <p14:tracePt t="29148" x="9193213" y="2014538"/>
          <p14:tracePt t="29153" x="9251950" y="2022475"/>
          <p14:tracePt t="29164" x="9345613" y="2030413"/>
          <p14:tracePt t="29170" x="9421813" y="2030413"/>
          <p14:tracePt t="29178" x="9523413" y="2030413"/>
          <p14:tracePt t="29186" x="9575800" y="2030413"/>
          <p14:tracePt t="29194" x="9659938" y="2030413"/>
          <p14:tracePt t="29202" x="9702800" y="2030413"/>
          <p14:tracePt t="29210" x="9753600" y="2030413"/>
          <p14:tracePt t="29217" x="9771063" y="2030413"/>
          <p14:tracePt t="29225" x="9779000" y="2030413"/>
          <p14:tracePt t="29233" x="9786938" y="2030413"/>
          <p14:tracePt t="29264" x="9796463" y="2030413"/>
          <p14:tracePt t="29266" x="9804400" y="2030413"/>
          <p14:tracePt t="29281" x="9812338" y="2030413"/>
          <p14:tracePt t="29378" x="9821863" y="2030413"/>
          <p14:tracePt t="29387" x="9829800" y="2030413"/>
          <p14:tracePt t="29394" x="9847263" y="2039938"/>
          <p14:tracePt t="29402" x="9864725" y="2047875"/>
          <p14:tracePt t="29410" x="9898063" y="2055813"/>
          <p14:tracePt t="29420" x="9940925" y="2073275"/>
          <p14:tracePt t="29426" x="9974263" y="2073275"/>
          <p14:tracePt t="29434" x="10009188" y="2073275"/>
          <p14:tracePt t="29442" x="10017125" y="2073275"/>
          <p14:tracePt t="29514" x="10017125" y="2065338"/>
          <p14:tracePt t="29522" x="10017125" y="2055813"/>
          <p14:tracePt t="29530" x="10009188" y="2055813"/>
          <p14:tracePt t="29539" x="9999663" y="2055813"/>
          <p14:tracePt t="29547" x="9999663" y="2047875"/>
          <p14:tracePt t="29554" x="9991725" y="2047875"/>
          <p14:tracePt t="30794" x="9983788" y="2047875"/>
          <p14:tracePt t="30803" x="9974263" y="2047875"/>
          <p14:tracePt t="30810" x="9966325" y="2047875"/>
          <p14:tracePt t="30818" x="9940925" y="2047875"/>
          <p14:tracePt t="30825" x="9906000" y="2047875"/>
          <p14:tracePt t="30833" x="9872663" y="2065338"/>
          <p14:tracePt t="30842" x="9829800" y="2090738"/>
          <p14:tracePt t="30849" x="9745663" y="2159000"/>
          <p14:tracePt t="30858" x="9694863" y="2227263"/>
          <p14:tracePt t="30865" x="9634538" y="2319338"/>
          <p14:tracePt t="30874" x="9583738" y="2506663"/>
          <p14:tracePt t="30881" x="9550400" y="2778125"/>
          <p14:tracePt t="30889" x="9532938" y="3211513"/>
          <p14:tracePt t="30896" x="9532938" y="3535363"/>
          <p14:tracePt t="30905" x="9601200" y="3951288"/>
          <p14:tracePt t="30913" x="9667875" y="4240213"/>
          <p14:tracePt t="30921" x="9736138" y="4427538"/>
          <p14:tracePt t="30929" x="9821863" y="4614863"/>
          <p14:tracePt t="30937" x="9880600" y="4699000"/>
          <p14:tracePt t="30945" x="9906000" y="4741863"/>
          <p14:tracePt t="30953" x="9931400" y="4767263"/>
          <p14:tracePt t="30962" x="9956800" y="4775200"/>
          <p14:tracePt t="30994" x="9956800" y="4767263"/>
          <p14:tracePt t="31014" x="9948863" y="4699000"/>
          <p14:tracePt t="31019" x="9931400" y="4657725"/>
          <p14:tracePt t="31026" x="9923463" y="4605338"/>
          <p14:tracePt t="31035" x="9906000" y="4538663"/>
          <p14:tracePt t="31041" x="9898063" y="4478338"/>
          <p14:tracePt t="31049" x="9898063" y="4445000"/>
          <p14:tracePt t="31058" x="9898063" y="4435475"/>
          <p14:tracePt t="31065" x="9898063" y="4427538"/>
          <p14:tracePt t="31226" x="9906000" y="4427538"/>
          <p14:tracePt t="31234" x="9915525" y="4427538"/>
          <p14:tracePt t="31242" x="9923463" y="4427538"/>
          <p14:tracePt t="31250" x="9931400" y="4427538"/>
          <p14:tracePt t="31258" x="9940925" y="4427538"/>
          <p14:tracePt t="31266" x="9948863" y="4427538"/>
          <p14:tracePt t="31313" x="9940925" y="4427538"/>
          <p14:tracePt t="31329" x="9931400" y="4427538"/>
          <p14:tracePt t="31378" x="9923463" y="4427538"/>
          <p14:tracePt t="31410" x="9915525" y="4427538"/>
          <p14:tracePt t="31418" x="9906000" y="4435475"/>
          <p14:tracePt t="31425" x="9898063" y="4435475"/>
          <p14:tracePt t="31435" x="9880600" y="4435475"/>
          <p14:tracePt t="31442" x="9872663" y="4435475"/>
          <p14:tracePt t="31449" x="9847263" y="4445000"/>
          <p14:tracePt t="31457" x="9829800" y="4445000"/>
          <p14:tracePt t="31466" x="9804400" y="4445000"/>
          <p14:tracePt t="31474" x="9779000" y="4445000"/>
          <p14:tracePt t="31482" x="9728200" y="4445000"/>
          <p14:tracePt t="31490" x="9702800" y="4445000"/>
          <p14:tracePt t="31497" x="9667875" y="4445000"/>
          <p14:tracePt t="31505" x="9634538" y="4445000"/>
          <p14:tracePt t="31514" x="9617075" y="4435475"/>
          <p14:tracePt t="31522" x="9601200" y="4435475"/>
          <p14:tracePt t="31530" x="9591675" y="4435475"/>
          <p14:tracePt t="31537" x="9591675" y="4427538"/>
          <p14:tracePt t="31547" x="9575800" y="4427538"/>
          <p14:tracePt t="31554" x="9550400" y="4427538"/>
          <p14:tracePt t="31561" x="9540875" y="4419600"/>
          <p14:tracePt t="31571" x="9498013" y="4419600"/>
          <p14:tracePt t="31578" x="9447213" y="4410075"/>
          <p14:tracePt t="31586" x="9405938" y="4402138"/>
          <p14:tracePt t="31594" x="9328150" y="4394200"/>
          <p14:tracePt t="31602" x="9286875" y="4384675"/>
          <p14:tracePt t="31610" x="9236075" y="4359275"/>
          <p14:tracePt t="31617" x="9209088" y="4351338"/>
          <p14:tracePt t="31625" x="9167813" y="4333875"/>
          <p14:tracePt t="31634" x="9142413" y="4325938"/>
          <p14:tracePt t="31642" x="9132888" y="4325938"/>
          <p14:tracePt t="31650" x="9124950" y="4316413"/>
          <p14:tracePt t="31657" x="9107488" y="4308475"/>
          <p14:tracePt t="31681" x="9099550" y="4300538"/>
          <p14:tracePt t="31697" x="9091613" y="4300538"/>
          <p14:tracePt t="32146" x="9074150" y="4300538"/>
          <p14:tracePt t="32154" x="9064625" y="4300538"/>
          <p14:tracePt t="32162" x="9056688" y="4300538"/>
          <p14:tracePt t="32171" x="9039225" y="4300538"/>
          <p14:tracePt t="32179" x="9023350" y="4300538"/>
          <p14:tracePt t="32186" x="8988425" y="4300538"/>
          <p14:tracePt t="32194" x="8955088" y="4300538"/>
          <p14:tracePt t="32202" x="8912225" y="4300538"/>
          <p14:tracePt t="32209" x="8853488" y="4300538"/>
          <p14:tracePt t="32217" x="8810625" y="4291013"/>
          <p14:tracePt t="32225" x="8734425" y="4265613"/>
          <p14:tracePt t="32233" x="8683625" y="4240213"/>
          <p14:tracePt t="32242" x="8605838" y="4206875"/>
          <p14:tracePt t="32250" x="8547100" y="4189413"/>
          <p14:tracePt t="32258" x="8496300" y="4156075"/>
          <p14:tracePt t="32265" x="8470900" y="4156075"/>
          <p14:tracePt t="32322" x="8462963" y="4156075"/>
          <p14:tracePt t="32337" x="8453438" y="4156075"/>
          <p14:tracePt t="32354" x="8445500" y="4156075"/>
          <p14:tracePt t="32361" x="8435975" y="4156075"/>
          <p14:tracePt t="32370" x="8428038" y="4164013"/>
          <p14:tracePt t="32378" x="8420100" y="4164013"/>
          <p14:tracePt t="32386" x="8402638" y="4171950"/>
          <p14:tracePt t="32394" x="8394700" y="4171950"/>
          <p14:tracePt t="32402" x="8385175" y="4171950"/>
          <p14:tracePt t="32409" x="8369300" y="4171950"/>
          <p14:tracePt t="32417" x="8359775" y="4181475"/>
          <p14:tracePt t="32425" x="8351838" y="4181475"/>
          <p14:tracePt t="32433" x="8334375" y="4189413"/>
          <p14:tracePt t="32442" x="8326438" y="4197350"/>
          <p14:tracePt t="32450" x="8318500" y="4197350"/>
          <p14:tracePt t="32458" x="8308975" y="4197350"/>
          <p14:tracePt t="32481" x="8308975" y="4206875"/>
          <p14:tracePt t="32490" x="8308975" y="4214813"/>
          <p14:tracePt t="32497" x="8308975" y="4224338"/>
          <p14:tracePt t="32506" x="8326438" y="4232275"/>
          <p14:tracePt t="32515" x="8351838" y="4249738"/>
          <p14:tracePt t="32522" x="8369300" y="4265613"/>
          <p14:tracePt t="32530" x="8428038" y="4283075"/>
          <p14:tracePt t="32537" x="8478838" y="4300538"/>
          <p14:tracePt t="32547" x="8521700" y="4308475"/>
          <p14:tracePt t="32554" x="8580438" y="4341813"/>
          <p14:tracePt t="32566" x="8640763" y="4351338"/>
          <p14:tracePt t="32572" x="8734425" y="4368800"/>
          <p14:tracePt t="32577" x="8777288" y="4376738"/>
          <p14:tracePt t="32586" x="8861425" y="4394200"/>
          <p14:tracePt t="32594" x="8937625" y="4402138"/>
          <p14:tracePt t="32601" x="9013825" y="4419600"/>
          <p14:tracePt t="32609" x="9074150" y="4427538"/>
          <p14:tracePt t="32617" x="9117013" y="4435475"/>
          <p14:tracePt t="32626" x="9150350" y="4435475"/>
          <p14:tracePt t="32633" x="9167813" y="4445000"/>
          <p14:tracePt t="32642" x="9183688" y="4445000"/>
          <p14:tracePt t="32649" x="9201150" y="4452938"/>
          <p14:tracePt t="32658" x="9209088" y="4452938"/>
          <p14:tracePt t="32666" x="9218613" y="4452938"/>
          <p14:tracePt t="32674" x="9236075" y="4460875"/>
          <p14:tracePt t="32690" x="9251950" y="4470400"/>
          <p14:tracePt t="32697" x="9261475" y="4470400"/>
          <p14:tracePt t="32714" x="9269413" y="4470400"/>
          <p14:tracePt t="32721" x="9277350" y="4470400"/>
          <p14:tracePt t="32736" x="9286875" y="4470400"/>
          <p14:tracePt t="32753" x="9294813" y="4470400"/>
          <p14:tracePt t="32842" x="9302750" y="4470400"/>
          <p14:tracePt t="32858" x="9337675" y="4460875"/>
          <p14:tracePt t="32866" x="9371013" y="4452938"/>
          <p14:tracePt t="32874" x="9413875" y="4435475"/>
          <p14:tracePt t="32882" x="9447213" y="4419600"/>
          <p14:tracePt t="32890" x="9523413" y="4410075"/>
          <p14:tracePt t="32898" x="9566275" y="4402138"/>
          <p14:tracePt t="32906" x="9617075" y="4394200"/>
          <p14:tracePt t="32913" x="9694863" y="4359275"/>
          <p14:tracePt t="32921" x="9753600" y="4325938"/>
          <p14:tracePt t="32929" x="9829800" y="4283075"/>
          <p14:tracePt t="32936" x="9880600" y="4265613"/>
          <p14:tracePt t="32944" x="9940925" y="4240213"/>
          <p14:tracePt t="32953" x="9974263" y="4224338"/>
          <p14:tracePt t="32961" x="10009188" y="4206875"/>
          <p14:tracePt t="32969" x="10017125" y="4206875"/>
          <p14:tracePt t="32976" x="10025063" y="4197350"/>
          <p14:tracePt t="32984" x="10034588" y="4197350"/>
          <p14:tracePt t="33050" x="10042525" y="4197350"/>
          <p14:tracePt t="33058" x="10050463" y="4197350"/>
          <p14:tracePt t="33065" x="10067925" y="4189413"/>
          <p14:tracePt t="33073" x="10101263" y="4181475"/>
          <p14:tracePt t="33080" x="10136188" y="4181475"/>
          <p14:tracePt t="33089" x="10212388" y="4171950"/>
          <p14:tracePt t="33096" x="10271125" y="4146550"/>
          <p14:tracePt t="33105" x="10356850" y="4138613"/>
          <p14:tracePt t="33113" x="10433050" y="4130675"/>
          <p14:tracePt t="33121" x="10493375" y="4105275"/>
          <p14:tracePt t="33128" x="10577513" y="4095750"/>
          <p14:tracePt t="33137" x="10620375" y="4095750"/>
          <p14:tracePt t="33145" x="10653713" y="4087813"/>
          <p14:tracePt t="33153" x="10671175" y="4079875"/>
          <p14:tracePt t="33164" x="10679113" y="4079875"/>
          <p14:tracePt t="33210" x="10679113" y="4070350"/>
          <p14:tracePt t="33218" x="10679113" y="4052888"/>
          <p14:tracePt t="33226" x="10671175" y="4052888"/>
          <p14:tracePt t="33233" x="10663238" y="4037013"/>
          <p14:tracePt t="33242" x="10637838" y="4019550"/>
          <p14:tracePt t="33249" x="10602913" y="3994150"/>
          <p14:tracePt t="33257" x="10560050" y="3968750"/>
          <p14:tracePt t="33266" x="10526713" y="3960813"/>
          <p14:tracePt t="33274" x="10483850" y="3943350"/>
          <p14:tracePt t="33281" x="10450513" y="3935413"/>
          <p14:tracePt t="33290" x="10390188" y="3935413"/>
          <p14:tracePt t="33297" x="10331450" y="3935413"/>
          <p14:tracePt t="33305" x="10263188" y="3935413"/>
          <p14:tracePt t="33314" x="10212388" y="3943350"/>
          <p14:tracePt t="33322" x="10144125" y="3951288"/>
          <p14:tracePt t="33330" x="10110788" y="3951288"/>
          <p14:tracePt t="33337" x="10067925" y="3960813"/>
          <p14:tracePt t="33346" x="10034588" y="3968750"/>
          <p14:tracePt t="33354" x="10009188" y="3968750"/>
          <p14:tracePt t="33364" x="9966325" y="3976688"/>
          <p14:tracePt t="33370" x="9931400" y="3976688"/>
          <p14:tracePt t="33377" x="9880600" y="3976688"/>
          <p14:tracePt t="33386" x="9821863" y="3976688"/>
          <p14:tracePt t="33393" x="9753600" y="3976688"/>
          <p14:tracePt t="33402" x="9685338" y="3976688"/>
          <p14:tracePt t="33409" x="9626600" y="3976688"/>
          <p14:tracePt t="33417" x="9550400" y="3976688"/>
          <p14:tracePt t="33426" x="9507538" y="3976688"/>
          <p14:tracePt t="33433" x="9447213" y="3976688"/>
          <p14:tracePt t="33442" x="9413875" y="3976688"/>
          <p14:tracePt t="33449" x="9388475" y="3976688"/>
          <p14:tracePt t="33458" x="9363075" y="3976688"/>
          <p14:tracePt t="33465" x="9328150" y="3976688"/>
          <p14:tracePt t="33474" x="9302750" y="3976688"/>
          <p14:tracePt t="33481" x="9286875" y="3976688"/>
          <p14:tracePt t="33490" x="9251950" y="3976688"/>
          <p14:tracePt t="33497" x="9218613" y="3986213"/>
          <p14:tracePt t="33506" x="9158288" y="3994150"/>
          <p14:tracePt t="33513" x="9117013" y="4002088"/>
          <p14:tracePt t="33522" x="9013825" y="4019550"/>
          <p14:tracePt t="33530" x="8912225" y="4037013"/>
          <p14:tracePt t="33537" x="8828088" y="4044950"/>
          <p14:tracePt t="33546" x="8724900" y="4070350"/>
          <p14:tracePt t="33554" x="8666163" y="4095750"/>
          <p14:tracePt t="33566" x="8589963" y="4138613"/>
          <p14:tracePt t="33572" x="8547100" y="4156075"/>
          <p14:tracePt t="33577" x="8504238" y="4171950"/>
          <p14:tracePt t="33586" x="8478838" y="4189413"/>
          <p14:tracePt t="33593" x="8453438" y="4197350"/>
          <p14:tracePt t="33602" x="8445500" y="4206875"/>
          <p14:tracePt t="33609" x="8428038" y="4214813"/>
          <p14:tracePt t="33617" x="8420100" y="4224338"/>
          <p14:tracePt t="33625" x="8410575" y="4232275"/>
          <p14:tracePt t="33633" x="8402638" y="4240213"/>
          <p14:tracePt t="33642" x="8385175" y="4265613"/>
          <p14:tracePt t="33651" x="8359775" y="4300538"/>
          <p14:tracePt t="33658" x="8343900" y="4341813"/>
          <p14:tracePt t="33665" x="8318500" y="4402138"/>
          <p14:tracePt t="33674" x="8301038" y="4445000"/>
          <p14:tracePt t="33681" x="8291513" y="4521200"/>
          <p14:tracePt t="33690" x="8291513" y="4579938"/>
          <p14:tracePt t="33697" x="8291513" y="4640263"/>
          <p14:tracePt t="33705" x="8301038" y="4683125"/>
          <p14:tracePt t="33713" x="8318500" y="4708525"/>
          <p14:tracePt t="33722" x="8334375" y="4741863"/>
          <p14:tracePt t="33730" x="8351838" y="4759325"/>
          <p14:tracePt t="33737" x="8369300" y="4775200"/>
          <p14:tracePt t="33746" x="8385175" y="4775200"/>
          <p14:tracePt t="33754" x="8420100" y="4810125"/>
          <p14:tracePt t="33762" x="8462963" y="4827588"/>
          <p14:tracePt t="33770" x="8504238" y="4843463"/>
          <p14:tracePt t="33778" x="8580438" y="4860925"/>
          <p14:tracePt t="33786" x="8615363" y="4878388"/>
          <p14:tracePt t="33794" x="8674100" y="4903788"/>
          <p14:tracePt t="33802" x="8709025" y="4919663"/>
          <p14:tracePt t="33809" x="8759825" y="4937125"/>
          <p14:tracePt t="33817" x="8793163" y="4946650"/>
          <p14:tracePt t="33826" x="8853488" y="4979988"/>
          <p14:tracePt t="33833" x="8894763" y="4979988"/>
          <p14:tracePt t="33842" x="8947150" y="4987925"/>
          <p14:tracePt t="33849" x="8988425" y="4987925"/>
          <p14:tracePt t="33858" x="9023350" y="4987925"/>
          <p14:tracePt t="33865" x="9056688" y="4987925"/>
          <p14:tracePt t="33874" x="9082088" y="4987925"/>
          <p14:tracePt t="33881" x="9107488" y="4987925"/>
          <p14:tracePt t="33890" x="9132888" y="4987925"/>
          <p14:tracePt t="33898" x="9175750" y="4972050"/>
          <p14:tracePt t="33906" x="9209088" y="4954588"/>
          <p14:tracePt t="33912" x="9244013" y="4946650"/>
          <p14:tracePt t="33921" x="9302750" y="4911725"/>
          <p14:tracePt t="33929" x="9337675" y="4911725"/>
          <p14:tracePt t="33936" x="9380538" y="4903788"/>
          <p14:tracePt t="33945" x="9405938" y="4903788"/>
          <p14:tracePt t="33953" x="9413875" y="4903788"/>
          <p14:tracePt t="34009" x="9405938" y="4903788"/>
          <p14:tracePt t="34025" x="9396413" y="4903788"/>
          <p14:tracePt t="34434" x="9405938" y="4894263"/>
          <p14:tracePt t="34442" x="9439275" y="4878388"/>
          <p14:tracePt t="34450" x="9464675" y="4860925"/>
          <p14:tracePt t="34457" x="9498013" y="4843463"/>
          <p14:tracePt t="34464" x="9523413" y="4843463"/>
          <p14:tracePt t="34473" x="9540875" y="4835525"/>
          <p14:tracePt t="34480" x="9558338" y="4827588"/>
          <p14:tracePt t="34489" x="9566275" y="4827588"/>
          <p14:tracePt t="34496" x="9583738" y="4818063"/>
          <p14:tracePt t="34505" x="9609138" y="4810125"/>
          <p14:tracePt t="34513" x="9659938" y="4802188"/>
          <p14:tracePt t="34521" x="9728200" y="4784725"/>
          <p14:tracePt t="34529" x="9796463" y="4767263"/>
          <p14:tracePt t="34537" x="9872663" y="4749800"/>
          <p14:tracePt t="34545" x="9974263" y="4724400"/>
          <p14:tracePt t="34554" x="10034588" y="4716463"/>
          <p14:tracePt t="34566" x="10067925" y="4716463"/>
          <p14:tracePt t="34568" x="10093325" y="4708525"/>
          <p14:tracePt t="34579" x="10110788" y="4699000"/>
          <p14:tracePt t="34586" x="10118725" y="4691063"/>
          <p14:tracePt t="34665" x="10126663" y="4691063"/>
          <p14:tracePt t="34690" x="10136188" y="4691063"/>
          <p14:tracePt t="34698" x="10144125" y="4691063"/>
          <p14:tracePt t="34714" x="10161588" y="4699000"/>
          <p14:tracePt t="34721" x="10179050" y="4708525"/>
          <p14:tracePt t="34731" x="10194925" y="4716463"/>
          <p14:tracePt t="34738" x="10229850" y="4724400"/>
          <p14:tracePt t="34748" x="10263188" y="4741863"/>
          <p14:tracePt t="34754" x="10288588" y="4759325"/>
          <p14:tracePt t="34765" x="10331450" y="4767263"/>
          <p14:tracePt t="34770" x="10356850" y="4775200"/>
          <p14:tracePt t="34778" x="10364788" y="4775200"/>
          <p14:tracePt t="34786" x="10374313" y="4775200"/>
          <p14:tracePt t="34810" x="10374313" y="4784725"/>
          <p14:tracePt t="34826" x="10348913" y="4784725"/>
          <p14:tracePt t="34833" x="10298113" y="4784725"/>
          <p14:tracePt t="34842" x="10194925" y="4784725"/>
          <p14:tracePt t="34849" x="10085388" y="4784725"/>
          <p14:tracePt t="34858" x="9906000" y="4749800"/>
          <p14:tracePt t="34866" x="9710738" y="4724400"/>
          <p14:tracePt t="34874" x="9431338" y="4673600"/>
          <p14:tracePt t="34881" x="9261475" y="4640263"/>
          <p14:tracePt t="34890" x="8980488" y="4589463"/>
          <p14:tracePt t="34898" x="8853488" y="4564063"/>
          <p14:tracePt t="34905" x="8716963" y="4564063"/>
          <p14:tracePt t="34914" x="8564563" y="4564063"/>
          <p14:tracePt t="34921" x="8462963" y="4564063"/>
          <p14:tracePt t="34929" x="8351838" y="4564063"/>
          <p14:tracePt t="34936" x="8275638" y="4564063"/>
          <p14:tracePt t="34945" x="8199438" y="4579938"/>
          <p14:tracePt t="34953" x="8174038" y="4579938"/>
          <p14:tracePt t="34961" x="8147050" y="4589463"/>
          <p14:tracePt t="34969" x="8131175" y="4589463"/>
          <p14:tracePt t="35026" x="8147050" y="4589463"/>
          <p14:tracePt t="35033" x="8164513" y="4589463"/>
          <p14:tracePt t="35042" x="8199438" y="4589463"/>
          <p14:tracePt t="35050" x="8232775" y="4589463"/>
          <p14:tracePt t="35058" x="8275638" y="4589463"/>
          <p14:tracePt t="35066" x="8301038" y="4605338"/>
          <p14:tracePt t="35074" x="8308975" y="4614863"/>
          <p14:tracePt t="35082" x="8326438" y="4614863"/>
          <p14:tracePt t="35089" x="8326438" y="4622800"/>
          <p14:tracePt t="35650" x="8326438" y="4630738"/>
          <p14:tracePt t="35658" x="8318500" y="4630738"/>
          <p14:tracePt t="35664" x="8291513" y="4630738"/>
          <p14:tracePt t="35673" x="8258175" y="4640263"/>
          <p14:tracePt t="35680" x="8207375" y="4648200"/>
          <p14:tracePt t="35689" x="8164513" y="4657725"/>
          <p14:tracePt t="35696" x="8131175" y="4665663"/>
          <p14:tracePt t="35705" x="8096250" y="4673600"/>
          <p14:tracePt t="35712" x="8070850" y="4691063"/>
          <p14:tracePt t="35721" x="8037513" y="4708525"/>
          <p14:tracePt t="35729" x="8020050" y="4716463"/>
          <p14:tracePt t="35737" x="8004175" y="4724400"/>
          <p14:tracePt t="35745" x="7994650" y="4724400"/>
          <p14:tracePt t="35794" x="8020050" y="4724400"/>
          <p14:tracePt t="35803" x="8080375" y="4716463"/>
          <p14:tracePt t="35810" x="8189913" y="4708525"/>
          <p14:tracePt t="35818" x="8266113" y="4699000"/>
          <p14:tracePt t="35826" x="8359775" y="4683125"/>
          <p14:tracePt t="35834" x="8478838" y="4683125"/>
          <p14:tracePt t="35842" x="8547100" y="4683125"/>
          <p14:tracePt t="35849" x="8605838" y="4683125"/>
          <p14:tracePt t="35858" x="8648700" y="4683125"/>
          <p14:tracePt t="35865" x="8716963" y="4683125"/>
          <p14:tracePt t="35874" x="8750300" y="4683125"/>
          <p14:tracePt t="35881" x="8810625" y="4683125"/>
          <p14:tracePt t="35889" x="8853488" y="4665663"/>
          <p14:tracePt t="35897" x="8912225" y="4648200"/>
          <p14:tracePt t="35905" x="9023350" y="4589463"/>
          <p14:tracePt t="35914" x="9107488" y="4529138"/>
          <p14:tracePt t="35921" x="9201150" y="4435475"/>
          <p14:tracePt t="35930" x="9269413" y="4384675"/>
          <p14:tracePt t="35937" x="9337675" y="4316413"/>
          <p14:tracePt t="35947" x="9363075" y="4283075"/>
          <p14:tracePt t="35954" x="9380538" y="4249738"/>
          <p14:tracePt t="35963" x="9405938" y="4224338"/>
          <p14:tracePt t="35970" x="9413875" y="4206875"/>
          <p14:tracePt t="35980" x="9421813" y="4197350"/>
          <p14:tracePt t="36013" x="9439275" y="4189413"/>
          <p14:tracePt t="36017" x="9456738" y="4181475"/>
          <p14:tracePt t="36025" x="9464675" y="4171950"/>
          <p14:tracePt t="36033" x="9490075" y="4164013"/>
          <p14:tracePt t="36042" x="9515475" y="4156075"/>
          <p14:tracePt t="36050" x="9566275" y="4146550"/>
          <p14:tracePt t="36058" x="9617075" y="4138613"/>
          <p14:tracePt t="36065" x="9677400" y="4130675"/>
          <p14:tracePt t="36073" x="9702800" y="4130675"/>
          <p14:tracePt t="36081" x="9736138" y="4121150"/>
          <p14:tracePt t="36089" x="9761538" y="4121150"/>
          <p14:tracePt t="36097" x="9786938" y="4113213"/>
          <p14:tracePt t="36105" x="9812338" y="4113213"/>
          <p14:tracePt t="36114" x="9839325" y="4113213"/>
          <p14:tracePt t="36121" x="9880600" y="4121150"/>
          <p14:tracePt t="36130" x="9923463" y="4138613"/>
          <p14:tracePt t="36137" x="9991725" y="4171950"/>
          <p14:tracePt t="36147" x="10067925" y="4197350"/>
          <p14:tracePt t="36154" x="10169525" y="4240213"/>
          <p14:tracePt t="36163" x="10237788" y="4257675"/>
          <p14:tracePt t="36170" x="10323513" y="4291013"/>
          <p14:tracePt t="36180" x="10374313" y="4325938"/>
          <p14:tracePt t="36186" x="10415588" y="4333875"/>
          <p14:tracePt t="36194" x="10442575" y="4359275"/>
          <p14:tracePt t="36203" x="10458450" y="4368800"/>
          <p14:tracePt t="36210" x="10467975" y="4376738"/>
          <p14:tracePt t="36217" x="10467975" y="4384675"/>
          <p14:tracePt t="36225" x="10467975" y="4402138"/>
          <p14:tracePt t="36242" x="10458450" y="4427538"/>
          <p14:tracePt t="36249" x="10458450" y="4435475"/>
          <p14:tracePt t="36258" x="10450513" y="4460875"/>
          <p14:tracePt t="36266" x="10450513" y="4495800"/>
          <p14:tracePt t="36273" x="10450513" y="4521200"/>
          <p14:tracePt t="36282" x="10450513" y="4538663"/>
          <p14:tracePt t="36290" x="10450513" y="4554538"/>
          <p14:tracePt t="36298" x="10442575" y="4572000"/>
          <p14:tracePt t="36305" x="10425113" y="4572000"/>
          <p14:tracePt t="36313" x="10415588" y="4572000"/>
          <p14:tracePt t="36321" x="10407650" y="4572000"/>
          <p14:tracePt t="36330" x="10399713" y="4529138"/>
          <p14:tracePt t="36337" x="10399713" y="4513263"/>
          <p14:tracePt t="36610" x="10407650" y="4513263"/>
          <p14:tracePt t="36618" x="10415588" y="4529138"/>
          <p14:tracePt t="36626" x="10433050" y="4538663"/>
          <p14:tracePt t="36634" x="10458450" y="4554538"/>
          <p14:tracePt t="36642" x="10475913" y="4572000"/>
          <p14:tracePt t="36651" x="10493375" y="4589463"/>
          <p14:tracePt t="36658" x="10509250" y="4622800"/>
          <p14:tracePt t="36666" x="10526713" y="4640263"/>
          <p14:tracePt t="36673" x="10534650" y="4657725"/>
          <p14:tracePt t="36681" x="10552113" y="4683125"/>
          <p14:tracePt t="36690" x="10560050" y="4699000"/>
          <p14:tracePt t="36697" x="10560050" y="4708525"/>
          <p14:tracePt t="36714" x="10569575" y="4708525"/>
          <p14:tracePt t="36721" x="10577513" y="4708525"/>
          <p14:tracePt t="36737" x="10585450" y="4716463"/>
          <p14:tracePt t="36746" x="10612438" y="4724400"/>
          <p14:tracePt t="36754" x="10628313" y="4724400"/>
          <p14:tracePt t="36763" x="10653713" y="4733925"/>
          <p14:tracePt t="36770" x="10671175" y="4741863"/>
          <p14:tracePt t="36780" x="10688638" y="4749800"/>
          <p14:tracePt t="36786" x="10714038" y="4749800"/>
          <p14:tracePt t="36794" x="10721975" y="4749800"/>
          <p14:tracePt t="36802" x="10729913" y="4749800"/>
          <p14:tracePt t="36810" x="10739438" y="4749800"/>
          <p14:tracePt t="36834" x="10747375" y="4749800"/>
          <p14:tracePt t="36890" x="10739438" y="4749800"/>
          <p14:tracePt t="36906" x="10721975" y="4749800"/>
          <p14:tracePt t="36914" x="10704513" y="4749800"/>
          <p14:tracePt t="36922" x="10696575" y="4749800"/>
          <p14:tracePt t="36931" x="10671175" y="4749800"/>
          <p14:tracePt t="36938" x="10663238" y="4749800"/>
          <p14:tracePt t="36947" x="10653713" y="4749800"/>
          <p14:tracePt t="36954" x="10645775" y="4759325"/>
          <p14:tracePt t="36994" x="10637838" y="4759325"/>
          <p14:tracePt t="37122" x="10628313" y="4759325"/>
          <p14:tracePt t="37129" x="10612438" y="4759325"/>
          <p14:tracePt t="37138" x="10602913" y="4759325"/>
          <p14:tracePt t="37146" x="10585450" y="4759325"/>
          <p14:tracePt t="37154" x="10577513" y="4759325"/>
          <p14:tracePt t="37164" x="10569575" y="4759325"/>
          <p14:tracePt t="37171" x="10560050" y="4759325"/>
          <p14:tracePt t="37210" x="10560050" y="4749800"/>
          <p14:tracePt t="37218" x="10552113" y="4741863"/>
          <p14:tracePt t="37225" x="10552113" y="4733925"/>
          <p14:tracePt t="37234" x="10544175" y="4708525"/>
          <p14:tracePt t="37242" x="10534650" y="4691063"/>
          <p14:tracePt t="37250" x="10534650" y="4683125"/>
          <p14:tracePt t="37258" x="10518775" y="4665663"/>
          <p14:tracePt t="37266" x="10518775" y="4657725"/>
          <p14:tracePt t="37273" x="10509250" y="4648200"/>
          <p14:tracePt t="37289" x="10501313" y="4640263"/>
          <p14:tracePt t="37305" x="10501313" y="4630738"/>
          <p14:tracePt t="37314" x="10501313" y="4622800"/>
          <p14:tracePt t="37321" x="10493375" y="4614863"/>
          <p14:tracePt t="37329" x="10493375" y="4605338"/>
          <p14:tracePt t="37337" x="10483850" y="4597400"/>
          <p14:tracePt t="37346" x="10483850" y="4589463"/>
          <p14:tracePt t="37353" x="10475913" y="4572000"/>
          <p14:tracePt t="37362" x="10467975" y="4564063"/>
          <p14:tracePt t="37370" x="10458450" y="4564063"/>
          <p14:tracePt t="37379" x="10450513" y="4546600"/>
          <p14:tracePt t="37386" x="10433050" y="4538663"/>
          <p14:tracePt t="37393" x="10425113" y="4538663"/>
          <p14:tracePt t="37401" x="10415588" y="4529138"/>
          <p14:tracePt t="37409" x="10407650" y="4529138"/>
          <p14:tracePt t="37417" x="10399713" y="4521200"/>
          <p14:tracePt t="37433" x="10390188" y="4513263"/>
          <p14:tracePt t="37441" x="10374313" y="4513263"/>
          <p14:tracePt t="37457" x="10364788" y="4503738"/>
          <p14:tracePt t="37465" x="10356850" y="4495800"/>
          <p14:tracePt t="37473" x="10348913" y="4486275"/>
          <p14:tracePt t="37481" x="10339388" y="4478338"/>
          <p14:tracePt t="37489" x="10323513" y="4460875"/>
          <p14:tracePt t="37497" x="10323513" y="4452938"/>
          <p14:tracePt t="37506" x="10323513" y="4445000"/>
          <p14:tracePt t="37512" x="10306050" y="4445000"/>
          <p14:tracePt t="37521" x="10306050" y="4435475"/>
          <p14:tracePt t="37561" x="10323513" y="4445000"/>
          <p14:tracePt t="37570" x="10339388" y="4452938"/>
          <p14:tracePt t="37817" x="10306050" y="4452938"/>
          <p14:tracePt t="37824" x="10298113" y="4452938"/>
          <p14:tracePt t="37833" x="10271125" y="4452938"/>
          <p14:tracePt t="37841" x="10245725" y="4445000"/>
          <p14:tracePt t="37849" x="10220325" y="4427538"/>
          <p14:tracePt t="37856" x="10212388" y="4410075"/>
          <p14:tracePt t="37864" x="10186988" y="4394200"/>
          <p14:tracePt t="37873" x="10169525" y="4384675"/>
          <p14:tracePt t="37880" x="10153650" y="4368800"/>
          <p14:tracePt t="37889" x="10153650" y="4351338"/>
          <p14:tracePt t="37896" x="10144125" y="4351338"/>
          <p14:tracePt t="37905" x="10144125" y="4341813"/>
          <p14:tracePt t="37912" x="10144125" y="4333875"/>
          <p14:tracePt t="37921" x="10136188" y="4316413"/>
          <p14:tracePt t="37929" x="10136188" y="4300538"/>
          <p14:tracePt t="37937" x="10110788" y="4265613"/>
          <p14:tracePt t="37945" x="10101263" y="4232275"/>
          <p14:tracePt t="37954" x="10085388" y="4181475"/>
          <p14:tracePt t="37962" x="10059988" y="4138613"/>
          <p14:tracePt t="37970" x="10042525" y="4087813"/>
          <p14:tracePt t="37977" x="10025063" y="4027488"/>
          <p14:tracePt t="37986" x="9999663" y="3976688"/>
          <p14:tracePt t="37996" x="9974263" y="3917950"/>
          <p14:tracePt t="38001" x="9956800" y="3883025"/>
          <p14:tracePt t="38009" x="9931400" y="3824288"/>
          <p14:tracePt t="38017" x="9906000" y="3781425"/>
          <p14:tracePt t="38025" x="9880600" y="3748088"/>
          <p14:tracePt t="38033" x="9855200" y="3722688"/>
          <p14:tracePt t="38041" x="9829800" y="3697288"/>
          <p14:tracePt t="38049" x="9812338" y="3662363"/>
          <p14:tracePt t="38057" x="9796463" y="3646488"/>
          <p14:tracePt t="38065" x="9779000" y="3629025"/>
          <p14:tracePt t="38073" x="9753600" y="3619500"/>
          <p14:tracePt t="38081" x="9745663" y="3603625"/>
          <p14:tracePt t="38089" x="9728200" y="3586163"/>
          <p14:tracePt t="38097" x="9710738" y="3568700"/>
          <p14:tracePt t="38105" x="9702800" y="3568700"/>
          <p14:tracePt t="38113" x="9702800" y="3560763"/>
          <p14:tracePt t="38121" x="9702800" y="3552825"/>
          <p14:tracePt t="38129" x="9702800" y="3543300"/>
          <p14:tracePt t="38154" x="9702800" y="3535363"/>
          <p14:tracePt t="38266" x="9694863" y="3535363"/>
          <p14:tracePt t="38353" x="9685338" y="3535363"/>
          <p14:tracePt t="39760" x="9677400" y="3535363"/>
          <p14:tracePt t="39769" x="9667875" y="3543300"/>
          <p14:tracePt t="39777" x="9659938" y="3560763"/>
          <p14:tracePt t="39784" x="9634538" y="3560763"/>
          <p14:tracePt t="39793" x="9601200" y="3560763"/>
          <p14:tracePt t="39801" x="9566275" y="3560763"/>
          <p14:tracePt t="39809" x="9523413" y="3560763"/>
          <p14:tracePt t="39816" x="9472613" y="3560763"/>
          <p14:tracePt t="39826" x="9388475" y="3560763"/>
          <p14:tracePt t="39833" x="9226550" y="3543300"/>
          <p14:tracePt t="39842" x="9107488" y="3517900"/>
          <p14:tracePt t="39850" x="8828088" y="3475038"/>
          <p14:tracePt t="39858" x="8658225" y="3433763"/>
          <p14:tracePt t="39865" x="8359775" y="3348038"/>
          <p14:tracePt t="39874" x="8215313" y="3297238"/>
          <p14:tracePt t="39881" x="7943850" y="3195638"/>
          <p14:tracePt t="39890" x="7773988" y="3160713"/>
          <p14:tracePt t="39897" x="7646988" y="3109913"/>
          <p14:tracePt t="39905" x="7485063" y="3076575"/>
          <p14:tracePt t="39914" x="7366000" y="3051175"/>
          <p14:tracePt t="39921" x="7239000" y="3025775"/>
          <p14:tracePt t="39930" x="7153275" y="3016250"/>
          <p14:tracePt t="39938" x="7069138" y="3008313"/>
          <p14:tracePt t="39946" x="7018338" y="3000375"/>
          <p14:tracePt t="39954" x="6983413" y="2990850"/>
          <p14:tracePt t="40010" x="6992938" y="2990850"/>
          <p14:tracePt t="40025" x="7018338" y="2990850"/>
          <p14:tracePt t="40033" x="7043738" y="2990850"/>
          <p14:tracePt t="40041" x="7059613" y="2990850"/>
          <p14:tracePt t="40048" x="7085013" y="3000375"/>
          <p14:tracePt t="40057" x="7102475" y="3033713"/>
          <p14:tracePt t="40064" x="7145338" y="3084513"/>
          <p14:tracePt t="40073" x="7170738" y="3127375"/>
          <p14:tracePt t="40081" x="7229475" y="3211513"/>
          <p14:tracePt t="40089" x="7281863" y="3271838"/>
          <p14:tracePt t="40096" x="7323138" y="3340100"/>
          <p14:tracePt t="40105" x="7416800" y="3433763"/>
          <p14:tracePt t="40113" x="7502525" y="3509963"/>
          <p14:tracePt t="40121" x="7596188" y="3594100"/>
          <p14:tracePt t="40128" x="7672388" y="3646488"/>
          <p14:tracePt t="40137" x="7766050" y="3705225"/>
          <p14:tracePt t="40144" x="7832725" y="3738563"/>
          <p14:tracePt t="40153" x="7926388" y="3756025"/>
          <p14:tracePt t="40161" x="8004175" y="3806825"/>
          <p14:tracePt t="40169" x="8105775" y="3841750"/>
          <p14:tracePt t="40178" x="8164513" y="3867150"/>
          <p14:tracePt t="40185" x="8240713" y="3892550"/>
          <p14:tracePt t="40194" x="8334375" y="3925888"/>
          <p14:tracePt t="40201" x="8377238" y="3943350"/>
          <p14:tracePt t="40209" x="8428038" y="3976688"/>
          <p14:tracePt t="40217" x="8453438" y="3976688"/>
          <p14:tracePt t="40225" x="8488363" y="3994150"/>
          <p14:tracePt t="40233" x="8504238" y="4011613"/>
          <p14:tracePt t="40241" x="8521700" y="4027488"/>
          <p14:tracePt t="40249" x="8547100" y="4052888"/>
          <p14:tracePt t="40257" x="8597900" y="4087813"/>
          <p14:tracePt t="40265" x="8674100" y="4146550"/>
          <p14:tracePt t="40273" x="8742363" y="4214813"/>
          <p14:tracePt t="40283" x="8828088" y="4308475"/>
          <p14:tracePt t="40289" x="8894763" y="4376738"/>
          <p14:tracePt t="40298" x="8997950" y="4445000"/>
          <p14:tracePt t="40305" x="9056688" y="4486275"/>
          <p14:tracePt t="40313" x="9107488" y="4529138"/>
          <p14:tracePt t="40321" x="9167813" y="4572000"/>
          <p14:tracePt t="40329" x="9193213" y="4579938"/>
          <p14:tracePt t="40337" x="9244013" y="4579938"/>
          <p14:tracePt t="40346" x="9261475" y="4579938"/>
          <p14:tracePt t="40354" x="9286875" y="4564063"/>
          <p14:tracePt t="40362" x="9312275" y="4554538"/>
          <p14:tracePt t="40369" x="9337675" y="4529138"/>
          <p14:tracePt t="40379" x="9353550" y="4503738"/>
          <p14:tracePt t="40385" x="9380538" y="4470400"/>
          <p14:tracePt t="40394" x="9405938" y="4419600"/>
          <p14:tracePt t="40401" x="9439275" y="4359275"/>
          <p14:tracePt t="40409" x="9482138" y="4257675"/>
          <p14:tracePt t="40417" x="9507538" y="4171950"/>
          <p14:tracePt t="40425" x="9532938" y="4027488"/>
          <p14:tracePt t="40433" x="9532938" y="3908425"/>
          <p14:tracePt t="40441" x="9532938" y="3738563"/>
          <p14:tracePt t="40449" x="9523413" y="3629025"/>
          <p14:tracePt t="40457" x="9515475" y="3543300"/>
          <p14:tracePt t="40465" x="9482138" y="3449638"/>
          <p14:tracePt t="40473" x="9456738" y="3398838"/>
          <p14:tracePt t="40482" x="9431338" y="3355975"/>
          <p14:tracePt t="40489" x="9431338" y="3330575"/>
          <p14:tracePt t="40497" x="9431338" y="3322638"/>
          <p14:tracePt t="40513" x="9431338" y="3314700"/>
          <p14:tracePt t="40571" x="9421813" y="3373438"/>
          <p14:tracePt t="40578" x="9405938" y="3459163"/>
          <p14:tracePt t="40589" x="9396413" y="3603625"/>
          <p14:tracePt t="40597" x="9396413" y="3730625"/>
          <p14:tracePt t="40601" x="9396413" y="3867150"/>
          <p14:tracePt t="40610" x="9396413" y="4105275"/>
          <p14:tracePt t="40617" x="9396413" y="4232275"/>
          <p14:tracePt t="40625" x="9396413" y="4402138"/>
          <p14:tracePt t="40633" x="9396413" y="4470400"/>
          <p14:tracePt t="40641" x="9396413" y="4554538"/>
          <p14:tracePt t="40649" x="9396413" y="4605338"/>
          <p14:tracePt t="40657" x="9396413" y="4622800"/>
          <p14:tracePt t="40698" x="9413875" y="4579938"/>
          <p14:tracePt t="40705" x="9447213" y="4503738"/>
          <p14:tracePt t="40714" x="9472613" y="4376738"/>
          <p14:tracePt t="40721" x="9482138" y="4257675"/>
          <p14:tracePt t="40730" x="9523413" y="4095750"/>
          <p14:tracePt t="40738" x="9523413" y="3968750"/>
          <p14:tracePt t="40746" x="9523413" y="3841750"/>
          <p14:tracePt t="40754" x="9515475" y="3705225"/>
          <p14:tracePt t="40762" x="9498013" y="3603625"/>
          <p14:tracePt t="40770" x="9482138" y="3502025"/>
          <p14:tracePt t="40779" x="9472613" y="3441700"/>
          <p14:tracePt t="40786" x="9464675" y="3382963"/>
          <p14:tracePt t="40794" x="9464675" y="3355975"/>
          <p14:tracePt t="40801" x="9464675" y="3330575"/>
          <p14:tracePt t="40810" x="9464675" y="3322638"/>
          <p14:tracePt t="40817" x="9464675" y="3314700"/>
          <p14:tracePt t="40858" x="9464675" y="3348038"/>
          <p14:tracePt t="40865" x="9464675" y="3408363"/>
          <p14:tracePt t="40873" x="9464675" y="3517900"/>
          <p14:tracePt t="40881" x="9464675" y="3629025"/>
          <p14:tracePt t="40889" x="9464675" y="3748088"/>
          <p14:tracePt t="40897" x="9472613" y="3875088"/>
          <p14:tracePt t="40905" x="9472613" y="3968750"/>
          <p14:tracePt t="40913" x="9472613" y="4113213"/>
          <p14:tracePt t="40921" x="9482138" y="4214813"/>
          <p14:tracePt t="40929" x="9498013" y="4283075"/>
          <p14:tracePt t="40937" x="9507538" y="4316413"/>
          <p14:tracePt t="40994" x="9507538" y="4300538"/>
          <p14:tracePt t="41005" x="9507538" y="4275138"/>
          <p14:tracePt t="41010" x="9515475" y="4240213"/>
          <p14:tracePt t="41018" x="9523413" y="4181475"/>
          <p14:tracePt t="41026" x="9540875" y="4130675"/>
          <p14:tracePt t="41034" x="9550400" y="4087813"/>
          <p14:tracePt t="41041" x="9550400" y="4052888"/>
          <p14:tracePt t="41049" x="9550400" y="4027488"/>
          <p14:tracePt t="41057" x="9540875" y="4011613"/>
          <p14:tracePt t="41064" x="9515475" y="3994150"/>
          <p14:tracePt t="41073" x="9456738" y="3994150"/>
          <p14:tracePt t="41362" x="9456738" y="4002088"/>
          <p14:tracePt t="41387" x="9447213" y="4002088"/>
          <p14:tracePt t="41394" x="9439275" y="4002088"/>
          <p14:tracePt t="41403" x="9431338" y="4002088"/>
          <p14:tracePt t="41442" x="9431338" y="3994150"/>
          <p14:tracePt t="41450" x="9421813" y="3986213"/>
          <p14:tracePt t="41458" x="9413875" y="3976688"/>
          <p14:tracePt t="41466" x="9396413" y="3951288"/>
          <p14:tracePt t="41474" x="9371013" y="3900488"/>
          <p14:tracePt t="41481" x="9353550" y="3857625"/>
          <p14:tracePt t="41489" x="9337675" y="3756025"/>
          <p14:tracePt t="41497" x="9328150" y="3671888"/>
          <p14:tracePt t="41505" x="9328150" y="3543300"/>
          <p14:tracePt t="41513" x="9328150" y="3459163"/>
          <p14:tracePt t="41521" x="9320213" y="3340100"/>
          <p14:tracePt t="41529" x="9320213" y="3254375"/>
          <p14:tracePt t="41537" x="9320213" y="3186113"/>
          <p14:tracePt t="41545" x="9312275" y="3127375"/>
          <p14:tracePt t="41554" x="9312275" y="3067050"/>
          <p14:tracePt t="41562" x="9312275" y="2982913"/>
          <p14:tracePt t="41570" x="9312275" y="2922588"/>
          <p14:tracePt t="41579" x="9320213" y="2863850"/>
          <p14:tracePt t="41586" x="9337675" y="2820988"/>
          <p14:tracePt t="41595" x="9380538" y="2736850"/>
          <p14:tracePt t="41603" x="9413875" y="2693988"/>
          <p14:tracePt t="41609" x="9447213" y="2651125"/>
          <p14:tracePt t="41617" x="9515475" y="2582863"/>
          <p14:tracePt t="41625" x="9566275" y="2557463"/>
          <p14:tracePt t="41633" x="9617075" y="2506663"/>
          <p14:tracePt t="41641" x="9652000" y="2489200"/>
          <p14:tracePt t="41649" x="9702800" y="2447925"/>
          <p14:tracePt t="41657" x="9728200" y="2438400"/>
          <p14:tracePt t="41665" x="9753600" y="2422525"/>
          <p14:tracePt t="41673" x="9779000" y="2405063"/>
          <p14:tracePt t="41682" x="9796463" y="2397125"/>
          <p14:tracePt t="41689" x="9839325" y="2371725"/>
          <p14:tracePt t="41697" x="9872663" y="2344738"/>
          <p14:tracePt t="41705" x="9923463" y="2278063"/>
          <p14:tracePt t="41713" x="9974263" y="2235200"/>
          <p14:tracePt t="41721" x="10025063" y="2184400"/>
          <p14:tracePt t="41729" x="10042525" y="2166938"/>
          <p14:tracePt t="41737" x="10059988" y="2149475"/>
          <p14:tracePt t="41745" x="10059988" y="2141538"/>
          <p14:tracePt t="41754" x="10067925" y="2133600"/>
          <p14:tracePt t="41777" x="10067925" y="2124075"/>
          <p14:tracePt t="41955" x="10067925" y="2133600"/>
          <p14:tracePt t="41962" x="10067925" y="2141538"/>
          <p14:tracePt t="41971" x="10067925" y="2149475"/>
          <p14:tracePt t="41979" x="10067925" y="2166938"/>
          <p14:tracePt t="41986" x="10059988" y="2174875"/>
          <p14:tracePt t="42003" x="10050463" y="2184400"/>
          <p14:tracePt t="42019" x="10050463" y="2192338"/>
          <p14:tracePt t="42025" x="10050463" y="2200275"/>
          <p14:tracePt t="42050" x="10042525" y="2200275"/>
          <p14:tracePt t="42105" x="10034588" y="2200275"/>
          <p14:tracePt t="42113" x="10009188" y="2200275"/>
          <p14:tracePt t="42122" x="9966325" y="2200275"/>
          <p14:tracePt t="42129" x="9923463" y="2209800"/>
          <p14:tracePt t="42138" x="9872663" y="2217738"/>
          <p14:tracePt t="42146" x="9847263" y="2243138"/>
          <p14:tracePt t="42154" x="9821863" y="2293938"/>
          <p14:tracePt t="42163" x="9796463" y="2344738"/>
          <p14:tracePt t="42170" x="9779000" y="2405063"/>
          <p14:tracePt t="42179" x="9779000" y="2438400"/>
          <p14:tracePt t="42186" x="9796463" y="2455863"/>
          <p14:tracePt t="42193" x="9839325" y="2455863"/>
          <p14:tracePt t="42201" x="9880600" y="2463800"/>
          <p14:tracePt t="42209" x="9940925" y="2463800"/>
          <p14:tracePt t="42217" x="9983788" y="2430463"/>
          <p14:tracePt t="42225" x="10009188" y="2397125"/>
          <p14:tracePt t="42233" x="10017125" y="2379663"/>
          <p14:tracePt t="42242" x="10025063" y="2371725"/>
          <p14:tracePt t="42249" x="10025063" y="2344738"/>
          <p14:tracePt t="42257" x="10025063" y="2319338"/>
          <p14:tracePt t="42265" x="10025063" y="2278063"/>
          <p14:tracePt t="42274" x="10017125" y="2243138"/>
          <p14:tracePt t="42281" x="9991725" y="2227263"/>
          <p14:tracePt t="42290" x="9974263" y="2209800"/>
          <p14:tracePt t="42297" x="9931400" y="2200275"/>
          <p14:tracePt t="42305" x="9906000" y="2200275"/>
          <p14:tracePt t="42313" x="9855200" y="2200275"/>
          <p14:tracePt t="42321" x="9804400" y="2217738"/>
          <p14:tracePt t="42330" x="9771063" y="2243138"/>
          <p14:tracePt t="42337" x="9728200" y="2293938"/>
          <p14:tracePt t="42346" x="9720263" y="2319338"/>
          <p14:tracePt t="42354" x="9702800" y="2354263"/>
          <p14:tracePt t="42363" x="9702800" y="2371725"/>
          <p14:tracePt t="42370" x="9710738" y="2397125"/>
          <p14:tracePt t="42379" x="9728200" y="2413000"/>
          <p14:tracePt t="42386" x="9745663" y="2422525"/>
          <p14:tracePt t="42395" x="9753600" y="2422525"/>
          <p14:tracePt t="42402" x="9761538" y="2422525"/>
          <p14:tracePt t="42409" x="9771063" y="2422525"/>
          <p14:tracePt t="42418" x="9796463" y="2405063"/>
          <p14:tracePt t="42425" x="9821863" y="2379663"/>
          <p14:tracePt t="42433" x="9847263" y="2354263"/>
          <p14:tracePt t="42441" x="9855200" y="2344738"/>
          <p14:tracePt t="42449" x="9872663" y="2328863"/>
          <p14:tracePt t="42458" x="9872663" y="2319338"/>
          <p14:tracePt t="42514" x="9864725" y="2328863"/>
          <p14:tracePt t="42522" x="9855200" y="2336800"/>
          <p14:tracePt t="42753" x="9864725" y="2336800"/>
          <p14:tracePt t="42768" x="9880600" y="2336800"/>
          <p14:tracePt t="42777" x="9906000" y="2319338"/>
          <p14:tracePt t="42785" x="9923463" y="2311400"/>
          <p14:tracePt t="42793" x="9931400" y="2303463"/>
          <p14:tracePt t="42801" x="9940925" y="2293938"/>
          <p14:tracePt t="42825" x="9940925" y="2286000"/>
          <p14:tracePt t="42833" x="9948863" y="2278063"/>
          <p14:tracePt t="43033" x="9940925" y="2286000"/>
          <p14:tracePt t="43041" x="9940925" y="2293938"/>
          <p14:tracePt t="43056" x="9940925" y="2303463"/>
          <p14:tracePt t="43064" x="9940925" y="2311400"/>
          <p14:tracePt t="43096" x="9931400" y="2319338"/>
          <p14:tracePt t="43146" x="9931400" y="2328863"/>
          <p14:tracePt t="43290" x="9915525" y="2336800"/>
          <p14:tracePt t="43298" x="9915525" y="2344738"/>
          <p14:tracePt t="43305" x="9890125" y="2371725"/>
          <p14:tracePt t="43312" x="9864725" y="2397125"/>
          <p14:tracePt t="43320" x="9821863" y="2438400"/>
          <p14:tracePt t="43328" x="9786938" y="2473325"/>
          <p14:tracePt t="43337" x="9745663" y="2516188"/>
          <p14:tracePt t="43344" x="9710738" y="2549525"/>
          <p14:tracePt t="43353" x="9667875" y="2592388"/>
          <p14:tracePt t="43360" x="9617075" y="2643188"/>
          <p14:tracePt t="43369" x="9583738" y="2676525"/>
          <p14:tracePt t="43377" x="9515475" y="2762250"/>
          <p14:tracePt t="43385" x="9464675" y="2795588"/>
          <p14:tracePt t="43393" x="9380538" y="2906713"/>
          <p14:tracePt t="43401" x="9312275" y="3008313"/>
          <p14:tracePt t="43409" x="9226550" y="3119438"/>
          <p14:tracePt t="43417" x="9064625" y="3305175"/>
          <p14:tracePt t="43425" x="8955088" y="3449638"/>
          <p14:tracePt t="43433" x="8810625" y="3679825"/>
          <p14:tracePt t="43441" x="8734425" y="3824288"/>
          <p14:tracePt t="43449" x="8632825" y="4019550"/>
          <p14:tracePt t="43457" x="8580438" y="4121150"/>
          <p14:tracePt t="43464" x="8539163" y="4240213"/>
          <p14:tracePt t="43473" x="8513763" y="4308475"/>
          <p14:tracePt t="43480" x="8488363" y="4359275"/>
          <p14:tracePt t="43489" x="8453438" y="4427538"/>
          <p14:tracePt t="43497" x="8435975" y="4460875"/>
          <p14:tracePt t="43505" x="8420100" y="4470400"/>
          <p14:tracePt t="43513" x="8420100" y="4486275"/>
          <p14:tracePt t="43521" x="8402638" y="4503738"/>
          <p14:tracePt t="43529" x="8394700" y="4521200"/>
          <p14:tracePt t="43537" x="8385175" y="4521200"/>
          <p14:tracePt t="43545" x="8377238" y="4529138"/>
          <p14:tracePt t="43554" x="8377238" y="4538663"/>
          <p14:tracePt t="43598" x="8402638" y="4503738"/>
          <p14:tracePt t="43604" x="8428038" y="4470400"/>
          <p14:tracePt t="43610" x="8488363" y="4376738"/>
          <p14:tracePt t="43617" x="8539163" y="4300538"/>
          <p14:tracePt t="43625" x="8597900" y="4224338"/>
          <p14:tracePt t="43633" x="8716963" y="4062413"/>
          <p14:tracePt t="43642" x="8785225" y="3968750"/>
          <p14:tracePt t="43650" x="8912225" y="3806825"/>
          <p14:tracePt t="43657" x="8980488" y="3722688"/>
          <p14:tracePt t="43666" x="9064625" y="3586163"/>
          <p14:tracePt t="43674" x="9107488" y="3509963"/>
          <p14:tracePt t="43682" x="9158288" y="3416300"/>
          <p14:tracePt t="43690" x="9183688" y="3373438"/>
          <p14:tracePt t="43697" x="9218613" y="3322638"/>
          <p14:tracePt t="43706" x="9251950" y="3246438"/>
          <p14:tracePt t="43713" x="9277350" y="3178175"/>
          <p14:tracePt t="43721" x="9312275" y="3119438"/>
          <p14:tracePt t="43730" x="9337675" y="3084513"/>
          <p14:tracePt t="43738" x="9371013" y="3033713"/>
          <p14:tracePt t="43746" x="9396413" y="3008313"/>
          <p14:tracePt t="43754" x="9405938" y="2982913"/>
          <p14:tracePt t="43763" x="9431338" y="2957513"/>
          <p14:tracePt t="43770" x="9447213" y="2949575"/>
          <p14:tracePt t="43779" x="9456738" y="2949575"/>
          <p14:tracePt t="43786" x="9456738" y="2940050"/>
          <p14:tracePt t="43842" x="9464675" y="2949575"/>
          <p14:tracePt t="43850" x="9472613" y="2974975"/>
          <p14:tracePt t="43857" x="9482138" y="3067050"/>
          <p14:tracePt t="43867" x="9498013" y="3203575"/>
          <p14:tracePt t="43874" x="9523413" y="3365500"/>
          <p14:tracePt t="43881" x="9550400" y="3611563"/>
          <p14:tracePt t="43890" x="9550400" y="3756025"/>
          <p14:tracePt t="43897" x="9566275" y="3883025"/>
          <p14:tracePt t="43905" x="9583738" y="3994150"/>
          <p14:tracePt t="43913" x="9609138" y="4070350"/>
          <p14:tracePt t="43921" x="9617075" y="4130675"/>
          <p14:tracePt t="43930" x="9634538" y="4146550"/>
          <p14:tracePt t="43938" x="9652000" y="4146550"/>
          <p14:tracePt t="43954" x="9677400" y="4121150"/>
          <p14:tracePt t="43962" x="9694863" y="4079875"/>
          <p14:tracePt t="43970" x="9736138" y="4027488"/>
          <p14:tracePt t="43979" x="9804400" y="3917950"/>
          <p14:tracePt t="43986" x="9847263" y="3832225"/>
          <p14:tracePt t="43995" x="9898063" y="3697288"/>
          <p14:tracePt t="44002" x="9915525" y="3629025"/>
          <p14:tracePt t="44010" x="9940925" y="3492500"/>
          <p14:tracePt t="44018" x="9948863" y="3408363"/>
          <p14:tracePt t="44025" x="9966325" y="3322638"/>
          <p14:tracePt t="44033" x="9974263" y="3289300"/>
          <p14:tracePt t="44041" x="9974263" y="3279775"/>
          <p14:tracePt t="44081" x="9974263" y="3289300"/>
          <p14:tracePt t="44089" x="9974263" y="3322638"/>
          <p14:tracePt t="44097" x="9991725" y="3390900"/>
          <p14:tracePt t="44105" x="10009188" y="3449638"/>
          <p14:tracePt t="44113" x="10042525" y="3509963"/>
          <p14:tracePt t="44121" x="10101263" y="3578225"/>
          <p14:tracePt t="44129" x="10194925" y="3611563"/>
          <p14:tracePt t="44137" x="10271125" y="3619500"/>
          <p14:tracePt t="44145" x="10313988" y="3619500"/>
          <p14:tracePt t="44154" x="10364788" y="3603625"/>
          <p14:tracePt t="44161" x="10374313" y="3586163"/>
          <p14:tracePt t="44170" x="10374313" y="3568700"/>
          <p14:tracePt t="44178" x="10382250" y="3543300"/>
          <p14:tracePt t="44185" x="10382250" y="3527425"/>
          <p14:tracePt t="44194" x="10382250" y="3484563"/>
          <p14:tracePt t="44201" x="10382250" y="3449638"/>
          <p14:tracePt t="44210" x="10374313" y="3424238"/>
          <p14:tracePt t="44217" x="10364788" y="3398838"/>
          <p14:tracePt t="44227" x="10356850" y="3382963"/>
          <p14:tracePt t="44233" x="10348913" y="3373438"/>
          <p14:tracePt t="44265" x="10339388" y="3373438"/>
          <p14:tracePt t="44289" x="10339388" y="3390900"/>
          <p14:tracePt t="44297" x="10339388" y="3398838"/>
          <p14:tracePt t="44305" x="10339388" y="3408363"/>
          <p14:tracePt t="44313" x="10339388" y="3416300"/>
          <p14:tracePt t="44602" x="10339388" y="3424238"/>
          <p14:tracePt t="44746" x="10331450" y="3424238"/>
          <p14:tracePt t="44755" x="10313988" y="3424238"/>
          <p14:tracePt t="44762" x="10288588" y="3433763"/>
          <p14:tracePt t="44771" x="10271125" y="3433763"/>
          <p14:tracePt t="44781" x="10263188" y="3433763"/>
          <p14:tracePt t="44787" x="10245725" y="3433763"/>
          <p14:tracePt t="44803" x="10237788" y="3433763"/>
          <p14:tracePt t="44842" x="10237788" y="3441700"/>
          <p14:tracePt t="44849" x="10229850" y="3449638"/>
          <p14:tracePt t="44858" x="10229850" y="3467100"/>
          <p14:tracePt t="44865" x="10229850" y="3484563"/>
          <p14:tracePt t="44873" x="10229850" y="3502025"/>
          <p14:tracePt t="44881" x="10229850" y="3517900"/>
          <p14:tracePt t="44890" x="10220325" y="3535363"/>
          <p14:tracePt t="44897" x="10220325" y="3543300"/>
          <p14:tracePt t="44905" x="10212388" y="3552825"/>
          <p14:tracePt t="44913" x="10186988" y="3568700"/>
          <p14:tracePt t="44921" x="10179050" y="3578225"/>
          <p14:tracePt t="44929" x="10136188" y="3619500"/>
          <p14:tracePt t="44938" x="10110788" y="3646488"/>
          <p14:tracePt t="44946" x="10067925" y="3671888"/>
          <p14:tracePt t="44954" x="10025063" y="3697288"/>
          <p14:tracePt t="44962" x="9999663" y="3722688"/>
          <p14:tracePt t="44970" x="9991725" y="3730625"/>
          <p14:tracePt t="44979" x="9974263" y="3748088"/>
          <p14:tracePt t="44986" x="9956800" y="3763963"/>
          <p14:tracePt t="45002" x="9948863" y="3773488"/>
          <p14:tracePt t="45011" x="9948863" y="3781425"/>
          <p14:tracePt t="45018" x="9948863" y="3790950"/>
          <p14:tracePt t="45025" x="9940925" y="3790950"/>
          <p14:tracePt t="45042" x="9931400" y="3798888"/>
          <p14:tracePt t="45057" x="9923463" y="3798888"/>
          <p14:tracePt t="45065" x="9915525" y="3798888"/>
          <p14:tracePt t="45073" x="9906000" y="3798888"/>
          <p14:tracePt t="45081" x="9855200" y="3806825"/>
          <p14:tracePt t="45089" x="9796463" y="3816350"/>
          <p14:tracePt t="45097" x="9753600" y="3824288"/>
          <p14:tracePt t="45105" x="9667875" y="3849688"/>
          <p14:tracePt t="45113" x="9591675" y="3857625"/>
          <p14:tracePt t="45121" x="9532938" y="3867150"/>
          <p14:tracePt t="45129" x="9456738" y="3875088"/>
          <p14:tracePt t="45137" x="9396413" y="3892550"/>
          <p14:tracePt t="45145" x="9302750" y="3900488"/>
          <p14:tracePt t="45154" x="9244013" y="3908425"/>
          <p14:tracePt t="45161" x="9150350" y="3917950"/>
          <p14:tracePt t="45170" x="9064625" y="3917950"/>
          <p14:tracePt t="45178" x="8972550" y="3917950"/>
          <p14:tracePt t="45185" x="8878888" y="3908425"/>
          <p14:tracePt t="45195" x="8793163" y="3857625"/>
          <p14:tracePt t="45201" x="8699500" y="3832225"/>
          <p14:tracePt t="45210" x="8615363" y="3781425"/>
          <p14:tracePt t="45217" x="8496300" y="3713163"/>
          <p14:tracePt t="45225" x="8402638" y="3671888"/>
          <p14:tracePt t="45233" x="8275638" y="3603625"/>
          <p14:tracePt t="45241" x="8181975" y="3578225"/>
          <p14:tracePt t="45249" x="8062913" y="3527425"/>
          <p14:tracePt t="45258" x="8004175" y="3492500"/>
          <p14:tracePt t="45265" x="7900988" y="3459163"/>
          <p14:tracePt t="45273" x="7824788" y="3433763"/>
          <p14:tracePt t="45281" x="7748588" y="3398838"/>
          <p14:tracePt t="45289" x="7637463" y="3382963"/>
          <p14:tracePt t="45298" x="7545388" y="3373438"/>
          <p14:tracePt t="45305" x="7416800" y="3348038"/>
          <p14:tracePt t="45313" x="7315200" y="3330575"/>
          <p14:tracePt t="45321" x="7213600" y="3297238"/>
          <p14:tracePt t="45329" x="7127875" y="3246438"/>
          <p14:tracePt t="45337" x="7034213" y="3203575"/>
          <p14:tracePt t="45345" x="6958013" y="3144838"/>
          <p14:tracePt t="45354" x="6864350" y="3109913"/>
          <p14:tracePt t="45361" x="6762750" y="3067050"/>
          <p14:tracePt t="45370" x="6661150" y="3025775"/>
          <p14:tracePt t="45379" x="6534150" y="2974975"/>
          <p14:tracePt t="45385" x="6440488" y="2940050"/>
          <p14:tracePt t="45395" x="6338888" y="2881313"/>
          <p14:tracePt t="45401" x="6278563" y="2863850"/>
          <p14:tracePt t="45409" x="6167438" y="2813050"/>
          <p14:tracePt t="45417" x="6108700" y="2787650"/>
          <p14:tracePt t="45425" x="6057900" y="2770188"/>
          <p14:tracePt t="45433" x="6015038" y="2744788"/>
          <p14:tracePt t="45441" x="5964238" y="2744788"/>
          <p14:tracePt t="45449" x="5938838" y="2736850"/>
          <p14:tracePt t="45457" x="5921375" y="2736850"/>
          <p14:tracePt t="45465" x="5913438" y="2736850"/>
          <p14:tracePt t="45522" x="5905500" y="2736850"/>
          <p14:tracePt t="45530" x="5905500" y="2727325"/>
          <p14:tracePt t="45538" x="5888038" y="2727325"/>
          <p14:tracePt t="45547" x="5880100" y="2719388"/>
          <p14:tracePt t="45555" x="5845175" y="2711450"/>
          <p14:tracePt t="45563" x="5827713" y="2693988"/>
          <p14:tracePt t="45571" x="5786438" y="2676525"/>
          <p14:tracePt t="45581" x="5735638" y="2651125"/>
          <p14:tracePt t="45586" x="5683250" y="2617788"/>
          <p14:tracePt t="45600" x="5632450" y="2566988"/>
          <p14:tracePt t="45605" x="5599113" y="2541588"/>
          <p14:tracePt t="45609" x="5548313" y="2524125"/>
          <p14:tracePt t="45617" x="5530850" y="2506663"/>
          <p14:tracePt t="45625" x="5522913" y="2498725"/>
          <p14:tracePt t="45665" x="5538788" y="2498725"/>
          <p14:tracePt t="45673" x="5556250" y="2498725"/>
          <p14:tracePt t="45681" x="5591175" y="2498725"/>
          <p14:tracePt t="45689" x="5624513" y="2498725"/>
          <p14:tracePt t="45697" x="5657850" y="2498725"/>
          <p14:tracePt t="45705" x="5675313" y="2498725"/>
          <p14:tracePt t="45713" x="5700713" y="2506663"/>
          <p14:tracePt t="45721" x="5718175" y="2506663"/>
          <p14:tracePt t="45745" x="5726113" y="2506663"/>
          <p14:tracePt t="45802" x="5726113" y="2498725"/>
          <p14:tracePt t="45810" x="5700713" y="2498725"/>
          <p14:tracePt t="45818" x="5675313" y="2489200"/>
          <p14:tracePt t="45825" x="5649913" y="2473325"/>
          <p14:tracePt t="45834" x="5616575" y="2463800"/>
          <p14:tracePt t="45842" x="5599113" y="2455863"/>
          <p14:tracePt t="45850" x="5591175" y="2447925"/>
          <p14:tracePt t="45882" x="5607050" y="2447925"/>
          <p14:tracePt t="45890" x="5624513" y="2447925"/>
          <p14:tracePt t="45898" x="5683250" y="2463800"/>
          <p14:tracePt t="45906" x="5786438" y="2516188"/>
          <p14:tracePt t="45914" x="5905500" y="2557463"/>
          <p14:tracePt t="45921" x="6007100" y="2582863"/>
          <p14:tracePt t="45929" x="6116638" y="2592388"/>
          <p14:tracePt t="45938" x="6245225" y="2617788"/>
          <p14:tracePt t="45946" x="6338888" y="2625725"/>
          <p14:tracePt t="45954" x="6423025" y="2651125"/>
          <p14:tracePt t="45962" x="6465888" y="2651125"/>
          <p14:tracePt t="45970" x="6491288" y="2651125"/>
          <p14:tracePt t="46010" x="6483350" y="2651125"/>
          <p14:tracePt t="46016" x="6465888" y="2651125"/>
          <p14:tracePt t="46026" x="6405563" y="2643188"/>
          <p14:tracePt t="46034" x="6364288" y="2633663"/>
          <p14:tracePt t="46043" x="6303963" y="2633663"/>
          <p14:tracePt t="46049" x="6278563" y="2633663"/>
          <p14:tracePt t="46057" x="6270625" y="2633663"/>
          <p14:tracePt t="46081" x="6296025" y="2660650"/>
          <p14:tracePt t="46089" x="6346825" y="2701925"/>
          <p14:tracePt t="46097" x="6483350" y="2778125"/>
          <p14:tracePt t="46105" x="6584950" y="2820988"/>
          <p14:tracePt t="46114" x="6754813" y="2889250"/>
          <p14:tracePt t="46121" x="6889750" y="2932113"/>
          <p14:tracePt t="46129" x="7018338" y="2957513"/>
          <p14:tracePt t="46137" x="7178675" y="2990850"/>
          <p14:tracePt t="46145" x="7281863" y="3008313"/>
          <p14:tracePt t="46154" x="7426325" y="3033713"/>
          <p14:tracePt t="46162" x="7518400" y="3033713"/>
          <p14:tracePt t="46170" x="7646988" y="3033713"/>
          <p14:tracePt t="46178" x="7740650" y="3041650"/>
          <p14:tracePt t="46185" x="7867650" y="3067050"/>
          <p14:tracePt t="46195" x="7977188" y="3101975"/>
          <p14:tracePt t="46201" x="8088313" y="3144838"/>
          <p14:tracePt t="46209" x="8258175" y="3228975"/>
          <p14:tracePt t="46217" x="8359775" y="3305175"/>
          <p14:tracePt t="46225" x="8470900" y="3382963"/>
          <p14:tracePt t="46233" x="8547100" y="3441700"/>
          <p14:tracePt t="46241" x="8615363" y="3535363"/>
          <p14:tracePt t="46249" x="8658225" y="3603625"/>
          <p14:tracePt t="46257" x="8724900" y="3671888"/>
          <p14:tracePt t="46265" x="8759825" y="3713163"/>
          <p14:tracePt t="46273" x="8767763" y="3738563"/>
          <p14:tracePt t="46281" x="8785225" y="3763963"/>
          <p14:tracePt t="46289" x="8793163" y="3773488"/>
          <p14:tracePt t="46299" x="8810625" y="3781425"/>
          <p14:tracePt t="46313" x="8828088" y="3781425"/>
          <p14:tracePt t="46321" x="8836025" y="3781425"/>
          <p14:tracePt t="46328" x="8853488" y="3781425"/>
          <p14:tracePt t="46337" x="8869363" y="3781425"/>
          <p14:tracePt t="46393" x="8878888" y="3781425"/>
          <p14:tracePt t="46401" x="8894763" y="3781425"/>
          <p14:tracePt t="46410" x="8937625" y="3816350"/>
          <p14:tracePt t="46418" x="9013825" y="3867150"/>
          <p14:tracePt t="46425" x="9175750" y="3976688"/>
          <p14:tracePt t="46434" x="9363075" y="4044950"/>
          <p14:tracePt t="46442" x="9720263" y="4197350"/>
          <p14:tracePt t="46449" x="9915525" y="4300538"/>
          <p14:tracePt t="46458" x="10153650" y="4402138"/>
          <p14:tracePt t="46466" x="10245725" y="4445000"/>
          <p14:tracePt t="46474" x="10306050" y="4460875"/>
          <p14:tracePt t="46482" x="10339388" y="4470400"/>
          <p14:tracePt t="46530" x="10331450" y="4470400"/>
          <p14:tracePt t="46538" x="10306050" y="4452938"/>
          <p14:tracePt t="46546" x="10271125" y="4435475"/>
          <p14:tracePt t="46554" x="10255250" y="4419600"/>
          <p14:tracePt t="46563" x="10245725" y="4410075"/>
          <p14:tracePt t="46570" x="10237788" y="4402138"/>
          <p14:tracePt t="46580" x="10220325" y="4402138"/>
          <p14:tracePt t="46778" x="10229850" y="4402138"/>
          <p14:tracePt t="46785" x="10237788" y="4402138"/>
          <p14:tracePt t="46803" x="10255250" y="4402138"/>
          <p14:tracePt t="46811" x="10263188" y="4402138"/>
          <p14:tracePt t="46826" x="10280650" y="4402138"/>
          <p14:tracePt t="46850" x="10288588" y="4402138"/>
          <p14:tracePt t="46866" x="10280650" y="4402138"/>
          <p14:tracePt t="46882" x="10255250" y="4402138"/>
          <p14:tracePt t="46890" x="10229850" y="4394200"/>
          <p14:tracePt t="46897" x="10229850" y="4384675"/>
          <p14:tracePt t="46905" x="10220325" y="4376738"/>
          <p14:tracePt t="46914" x="10204450" y="4359275"/>
          <p14:tracePt t="46929" x="10204450" y="4351338"/>
          <p14:tracePt t="46961" x="10212388" y="4351338"/>
          <p14:tracePt t="47034" x="10194925" y="4351338"/>
          <p14:tracePt t="47041" x="10186988" y="4351338"/>
          <p14:tracePt t="47049" x="10179050" y="4351338"/>
          <p14:tracePt t="47057" x="10161588" y="4341813"/>
          <p14:tracePt t="47064" x="10153650" y="4333875"/>
          <p14:tracePt t="47073" x="10136188" y="4325938"/>
          <p14:tracePt t="47080" x="10126663" y="4325938"/>
          <p14:tracePt t="47089" x="10118725" y="4325938"/>
          <p14:tracePt t="47096" x="10110788" y="4316413"/>
          <p14:tracePt t="47104" x="10101263" y="4316413"/>
          <p14:tracePt t="47113" x="10101263" y="4308475"/>
          <p14:tracePt t="47138" x="10093325" y="4308475"/>
          <p14:tracePt t="47249" x="10093325" y="4300538"/>
          <p14:tracePt t="47257" x="10093325" y="4291013"/>
          <p14:tracePt t="47265" x="10093325" y="4283075"/>
          <p14:tracePt t="47273" x="10093325" y="4257675"/>
          <p14:tracePt t="47280" x="10093325" y="4240213"/>
          <p14:tracePt t="47289" x="10067925" y="4197350"/>
          <p14:tracePt t="47297" x="10042525" y="4146550"/>
          <p14:tracePt t="47305" x="9991725" y="4070350"/>
          <p14:tracePt t="47312" x="9948863" y="4037013"/>
          <p14:tracePt t="47320" x="9890125" y="3986213"/>
          <p14:tracePt t="47328" x="9812338" y="3935413"/>
          <p14:tracePt t="47337" x="9728200" y="3892550"/>
          <p14:tracePt t="47344" x="9685338" y="3867150"/>
          <p14:tracePt t="47353" x="9652000" y="3849688"/>
          <p14:tracePt t="47361" x="9601200" y="3832225"/>
          <p14:tracePt t="47369" x="9575800" y="3824288"/>
          <p14:tracePt t="47378" x="9566275" y="3824288"/>
          <p14:tracePt t="47384" x="9550400" y="3824288"/>
          <p14:tracePt t="47393" x="9540875" y="3824288"/>
          <p14:tracePt t="47449" x="9540875" y="3832225"/>
          <p14:tracePt t="47464" x="9540875" y="3841750"/>
          <p14:tracePt t="47473" x="9558338" y="3857625"/>
          <p14:tracePt t="47481" x="9583738" y="3857625"/>
          <p14:tracePt t="47489" x="9626600" y="3857625"/>
          <p14:tracePt t="47496" x="9652000" y="3857625"/>
          <p14:tracePt t="47505" x="9677400" y="3857625"/>
          <p14:tracePt t="47512" x="9702800" y="3857625"/>
          <p14:tracePt t="47577" x="9677400" y="3841750"/>
          <p14:tracePt t="47585" x="9642475" y="3832225"/>
          <p14:tracePt t="47594" x="9550400" y="3806825"/>
          <p14:tracePt t="47607" x="9490075" y="3798888"/>
          <p14:tracePt t="47608" x="9421813" y="3790950"/>
          <p14:tracePt t="47617" x="9328150" y="3781425"/>
          <p14:tracePt t="47626" x="9269413" y="3763963"/>
          <p14:tracePt t="47634" x="9226550" y="3763963"/>
          <p14:tracePt t="47642" x="9209088" y="3763963"/>
          <p14:tracePt t="47650" x="9201150" y="3763963"/>
          <p14:tracePt t="47706" x="9209088" y="3763963"/>
          <p14:tracePt t="47714" x="9226550" y="3763963"/>
          <p14:tracePt t="47721" x="9244013" y="3773488"/>
          <p14:tracePt t="47730" x="9251950" y="3773488"/>
          <p14:tracePt t="47738" x="9261475" y="3781425"/>
          <p14:tracePt t="48130" x="9269413" y="3781425"/>
          <p14:tracePt t="48138" x="9294813" y="3790950"/>
          <p14:tracePt t="48146" x="9337675" y="3798888"/>
          <p14:tracePt t="48155" x="9405938" y="3824288"/>
          <p14:tracePt t="48163" x="9464675" y="3849688"/>
          <p14:tracePt t="48171" x="9515475" y="3875088"/>
          <p14:tracePt t="48180" x="9540875" y="3883025"/>
          <p14:tracePt t="48185" x="9550400" y="3892550"/>
          <p14:tracePt t="48196" x="9558338" y="3892550"/>
          <p14:tracePt t="48202" x="9566275" y="3892550"/>
          <p14:tracePt t="48210" x="9566275" y="3900488"/>
          <p14:tracePt t="48218" x="9575800" y="3908425"/>
          <p14:tracePt t="48226" x="9591675" y="3908425"/>
          <p14:tracePt t="48233" x="9601200" y="3917950"/>
          <p14:tracePt t="48242" x="9617075" y="3917950"/>
          <p14:tracePt t="48249" x="9634538" y="3917950"/>
          <p14:tracePt t="48418" x="9634538" y="3925888"/>
          <p14:tracePt t="48425" x="9634538" y="3935413"/>
          <p14:tracePt t="48433" x="9652000" y="3935413"/>
          <p14:tracePt t="48442" x="9685338" y="3968750"/>
          <p14:tracePt t="48450" x="9710738" y="3986213"/>
          <p14:tracePt t="48457" x="9753600" y="4011613"/>
          <p14:tracePt t="48465" x="9847263" y="4027488"/>
          <p14:tracePt t="48473" x="9948863" y="4044950"/>
          <p14:tracePt t="48481" x="10034588" y="4062413"/>
          <p14:tracePt t="48489" x="10118725" y="4062413"/>
          <p14:tracePt t="48497" x="10204450" y="4062413"/>
          <p14:tracePt t="48505" x="10245725" y="4062413"/>
          <p14:tracePt t="48513" x="10280650" y="4062413"/>
          <p14:tracePt t="48521" x="10298113" y="4062413"/>
          <p14:tracePt t="48570" x="10280650" y="4062413"/>
          <p14:tracePt t="48578" x="10245725" y="4070350"/>
          <p14:tracePt t="48585" x="10169525" y="4113213"/>
          <p14:tracePt t="48594" x="10093325" y="4146550"/>
          <p14:tracePt t="48601" x="9974263" y="4197350"/>
          <p14:tracePt t="48615" x="9872663" y="4240213"/>
          <p14:tracePt t="48620" x="9771063" y="4275138"/>
          <p14:tracePt t="48625" x="9652000" y="4325938"/>
          <p14:tracePt t="48633" x="9550400" y="4368800"/>
          <p14:tracePt t="48641" x="9447213" y="4402138"/>
          <p14:tracePt t="48649" x="9396413" y="4435475"/>
          <p14:tracePt t="48657" x="9345613" y="4452938"/>
          <p14:tracePt t="48665" x="9337675" y="4460875"/>
          <p14:tracePt t="48673" x="9328150" y="4470400"/>
          <p14:tracePt t="48689" x="9328150" y="4486275"/>
          <p14:tracePt t="48697" x="9337675" y="4513263"/>
          <p14:tracePt t="48705" x="9363075" y="4529138"/>
          <p14:tracePt t="48713" x="9431338" y="4597400"/>
          <p14:tracePt t="48721" x="9490075" y="4640263"/>
          <p14:tracePt t="48729" x="9609138" y="4691063"/>
          <p14:tracePt t="48738" x="9720263" y="4699000"/>
          <p14:tracePt t="48745" x="9839325" y="4724400"/>
          <p14:tracePt t="48753" x="9906000" y="4724400"/>
          <p14:tracePt t="48762" x="9940925" y="4724400"/>
          <p14:tracePt t="48769" x="9974263" y="4724400"/>
          <p14:tracePt t="48785" x="9974263" y="4716463"/>
          <p14:tracePt t="48801" x="9974263" y="4708525"/>
          <p14:tracePt t="48809" x="9966325" y="4708525"/>
          <p14:tracePt t="48817" x="9923463" y="4673600"/>
          <p14:tracePt t="48825" x="9847263" y="4657725"/>
          <p14:tracePt t="48833" x="9753600" y="4614863"/>
          <p14:tracePt t="48841" x="9566275" y="4546600"/>
          <p14:tracePt t="48849" x="9396413" y="4503738"/>
          <p14:tracePt t="48857" x="9175750" y="4478338"/>
          <p14:tracePt t="48865" x="9005888" y="4435475"/>
          <p14:tracePt t="48873" x="8759825" y="4402138"/>
          <p14:tracePt t="48881" x="8648700" y="4402138"/>
          <p14:tracePt t="48889" x="8555038" y="4402138"/>
          <p14:tracePt t="48897" x="8504238" y="4402138"/>
          <p14:tracePt t="48905" x="8478838" y="4410075"/>
          <p14:tracePt t="48913" x="8470900" y="4427538"/>
          <p14:tracePt t="48921" x="8470900" y="4445000"/>
          <p14:tracePt t="48929" x="8470900" y="4460875"/>
          <p14:tracePt t="48937" x="8478838" y="4513263"/>
          <p14:tracePt t="48945" x="8539163" y="4572000"/>
          <p14:tracePt t="48954" x="8605838" y="4630738"/>
          <p14:tracePt t="48961" x="8699500" y="4683125"/>
          <p14:tracePt t="48970" x="8785225" y="4733925"/>
          <p14:tracePt t="48978" x="8878888" y="4767263"/>
          <p14:tracePt t="48985" x="8997950" y="4784725"/>
          <p14:tracePt t="48994" x="9064625" y="4802188"/>
          <p14:tracePt t="49001" x="9167813" y="4802188"/>
          <p14:tracePt t="49012" x="9209088" y="4802188"/>
          <p14:tracePt t="49017" x="9261475" y="4775200"/>
          <p14:tracePt t="49025" x="9277350" y="4767263"/>
          <p14:tracePt t="49033" x="9277350" y="4759325"/>
          <p14:tracePt t="49041" x="9277350" y="4749800"/>
          <p14:tracePt t="49049" x="9277350" y="4741863"/>
          <p14:tracePt t="49056" x="9261475" y="4691063"/>
          <p14:tracePt t="49064" x="9209088" y="4648200"/>
          <p14:tracePt t="49073" x="9107488" y="4572000"/>
          <p14:tracePt t="49080" x="9005888" y="4521200"/>
          <p14:tracePt t="49089" x="8886825" y="4460875"/>
          <p14:tracePt t="49096" x="8767763" y="4445000"/>
          <p14:tracePt t="49105" x="8683625" y="4427538"/>
          <p14:tracePt t="49113" x="8597900" y="4427538"/>
          <p14:tracePt t="49121" x="8555038" y="4427538"/>
          <p14:tracePt t="49129" x="8504238" y="4452938"/>
          <p14:tracePt t="49138" x="8478838" y="4460875"/>
          <p14:tracePt t="49145" x="8470900" y="4486275"/>
          <p14:tracePt t="49154" x="8462963" y="4513263"/>
          <p14:tracePt t="49162" x="8462963" y="4546600"/>
          <p14:tracePt t="49170" x="8488363" y="4597400"/>
          <p14:tracePt t="49178" x="8521700" y="4630738"/>
          <p14:tracePt t="49185" x="8597900" y="4691063"/>
          <p14:tracePt t="49194" x="8666163" y="4733925"/>
          <p14:tracePt t="49201" x="8724900" y="4759325"/>
          <p14:tracePt t="49209" x="8777288" y="4784725"/>
          <p14:tracePt t="49217" x="8818563" y="4784725"/>
          <p14:tracePt t="49225" x="8843963" y="4784725"/>
          <p14:tracePt t="49233" x="8861425" y="4784725"/>
          <p14:tracePt t="49241" x="8869363" y="4784725"/>
          <p14:tracePt t="49306" x="8869363" y="4775200"/>
          <p14:tracePt t="50160" x="8878888" y="4775200"/>
          <p14:tracePt t="50168" x="8904288" y="4775200"/>
          <p14:tracePt t="50176" x="8937625" y="4784725"/>
          <p14:tracePt t="50184" x="8972550" y="4792663"/>
          <p14:tracePt t="50193" x="9005888" y="4810125"/>
          <p14:tracePt t="50200" x="9031288" y="4818063"/>
          <p14:tracePt t="50208" x="9048750" y="4827588"/>
          <p14:tracePt t="50216" x="9056688" y="4827588"/>
          <p14:tracePt t="50224" x="9074150" y="4835525"/>
          <p14:tracePt t="50232" x="9082088" y="4843463"/>
          <p14:tracePt t="50241" x="9099550" y="4843463"/>
          <p14:tracePt t="50248" x="9117013" y="4843463"/>
          <p14:tracePt t="50256" x="9132888" y="4843463"/>
          <p14:tracePt t="50264" x="9183688" y="4852988"/>
          <p14:tracePt t="50272" x="9209088" y="4852988"/>
          <p14:tracePt t="50280" x="9277350" y="4868863"/>
          <p14:tracePt t="50288" x="9345613" y="4868863"/>
          <p14:tracePt t="50296" x="9439275" y="4868863"/>
          <p14:tracePt t="50304" x="9507538" y="4860925"/>
          <p14:tracePt t="50312" x="9626600" y="4843463"/>
          <p14:tracePt t="50320" x="9694863" y="4827588"/>
          <p14:tracePt t="50328" x="9779000" y="4818063"/>
          <p14:tracePt t="50336" x="9829800" y="4810125"/>
          <p14:tracePt t="50344" x="9872663" y="4802188"/>
          <p14:tracePt t="50352" x="9906000" y="4802188"/>
          <p14:tracePt t="50360" x="9931400" y="4792663"/>
          <p14:tracePt t="50368" x="9948863" y="4792663"/>
          <p14:tracePt t="50377" x="9983788" y="4792663"/>
          <p14:tracePt t="50384" x="10025063" y="4784725"/>
          <p14:tracePt t="50393" x="10059988" y="4775200"/>
          <p14:tracePt t="50400" x="10110788" y="4759325"/>
          <p14:tracePt t="50408" x="10161588" y="4724400"/>
          <p14:tracePt t="50416" x="10194925" y="4708525"/>
          <p14:tracePt t="50424" x="10220325" y="4683125"/>
          <p14:tracePt t="50432" x="10245725" y="4648200"/>
          <p14:tracePt t="50440" x="10263188" y="4622800"/>
          <p14:tracePt t="50448" x="10271125" y="4605338"/>
          <p14:tracePt t="50456" x="10280650" y="4589463"/>
          <p14:tracePt t="50464" x="10280650" y="4579938"/>
          <p14:tracePt t="50472" x="10280650" y="4572000"/>
          <p14:tracePt t="50488" x="10280650" y="4564063"/>
          <p14:tracePt t="50496" x="10288588" y="4546600"/>
          <p14:tracePt t="50504" x="10306050" y="4521200"/>
          <p14:tracePt t="50512" x="10323513" y="4503738"/>
          <p14:tracePt t="50520" x="10331450" y="4478338"/>
          <p14:tracePt t="50528" x="10348913" y="4445000"/>
          <p14:tracePt t="50537" x="10348913" y="4419600"/>
          <p14:tracePt t="50544" x="10348913" y="4384675"/>
          <p14:tracePt t="50552" x="10331450" y="4341813"/>
          <p14:tracePt t="50560" x="10298113" y="4300538"/>
          <p14:tracePt t="50568" x="10271125" y="4257675"/>
          <p14:tracePt t="50577" x="10229850" y="4206875"/>
          <p14:tracePt t="50584" x="10186988" y="4156075"/>
          <p14:tracePt t="50593" x="10161588" y="4113213"/>
          <p14:tracePt t="50601" x="10110788" y="4087813"/>
          <p14:tracePt t="50609" x="10093325" y="4070350"/>
          <p14:tracePt t="50617" x="10075863" y="4062413"/>
          <p14:tracePt t="50624" x="10050463" y="4044950"/>
          <p14:tracePt t="50633" x="10034588" y="4027488"/>
          <p14:tracePt t="50641" x="10009188" y="4027488"/>
          <p14:tracePt t="50649" x="9999663" y="4027488"/>
          <p14:tracePt t="50657" x="9966325" y="4027488"/>
          <p14:tracePt t="50665" x="9940925" y="4027488"/>
          <p14:tracePt t="50673" x="9898063" y="4027488"/>
          <p14:tracePt t="50681" x="9855200" y="4027488"/>
          <p14:tracePt t="50689" x="9796463" y="4027488"/>
          <p14:tracePt t="50697" x="9710738" y="4027488"/>
          <p14:tracePt t="50705" x="9667875" y="4027488"/>
          <p14:tracePt t="50714" x="9601200" y="4027488"/>
          <p14:tracePt t="50722" x="9540875" y="4027488"/>
          <p14:tracePt t="50730" x="9498013" y="4027488"/>
          <p14:tracePt t="50738" x="9464675" y="4027488"/>
          <p14:tracePt t="50746" x="9421813" y="4027488"/>
          <p14:tracePt t="50754" x="9380538" y="4027488"/>
          <p14:tracePt t="50762" x="9345613" y="4027488"/>
          <p14:tracePt t="50770" x="9277350" y="4027488"/>
          <p14:tracePt t="50779" x="9236075" y="4027488"/>
          <p14:tracePt t="50785" x="9167813" y="4027488"/>
          <p14:tracePt t="50795" x="9124950" y="4027488"/>
          <p14:tracePt t="50802" x="9031288" y="4037013"/>
          <p14:tracePt t="50812" x="9005888" y="4044950"/>
          <p14:tracePt t="50818" x="8947150" y="4052888"/>
          <p14:tracePt t="50825" x="8894763" y="4079875"/>
          <p14:tracePt t="50833" x="8869363" y="4087813"/>
          <p14:tracePt t="50842" x="8836025" y="4095750"/>
          <p14:tracePt t="50850" x="8810625" y="4113213"/>
          <p14:tracePt t="50858" x="8777288" y="4130675"/>
          <p14:tracePt t="50865" x="8759825" y="4138613"/>
          <p14:tracePt t="50874" x="8724900" y="4156075"/>
          <p14:tracePt t="50882" x="8699500" y="4171950"/>
          <p14:tracePt t="50890" x="8640763" y="4189413"/>
          <p14:tracePt t="50897" x="8597900" y="4206875"/>
          <p14:tracePt t="50905" x="8564563" y="4214813"/>
          <p14:tracePt t="50913" x="8513763" y="4240213"/>
          <p14:tracePt t="50922" x="8470900" y="4249738"/>
          <p14:tracePt t="50929" x="8410575" y="4265613"/>
          <p14:tracePt t="50938" x="8359775" y="4275138"/>
          <p14:tracePt t="50945" x="8283575" y="4283075"/>
          <p14:tracePt t="50954" x="8240713" y="4283075"/>
          <p14:tracePt t="50962" x="8156575" y="4308475"/>
          <p14:tracePt t="50970" x="8113713" y="4316413"/>
          <p14:tracePt t="50978" x="8088313" y="4325938"/>
          <p14:tracePt t="50985" x="8054975" y="4341813"/>
          <p14:tracePt t="50995" x="8045450" y="4351338"/>
          <p14:tracePt t="51002" x="8037513" y="4359275"/>
          <p14:tracePt t="51013" x="8037513" y="4368800"/>
          <p14:tracePt t="51018" x="8029575" y="4384675"/>
          <p14:tracePt t="51025" x="8029575" y="4394200"/>
          <p14:tracePt t="51033" x="8020050" y="4402138"/>
          <p14:tracePt t="51042" x="8020050" y="4419600"/>
          <p14:tracePt t="51064" x="8020050" y="4445000"/>
          <p14:tracePt t="51066" x="8020050" y="4470400"/>
          <p14:tracePt t="51074" x="8012113" y="4486275"/>
          <p14:tracePt t="51081" x="8004175" y="4513263"/>
          <p14:tracePt t="51090" x="8004175" y="4538663"/>
          <p14:tracePt t="51098" x="8004175" y="4554538"/>
          <p14:tracePt t="51105" x="8004175" y="4579938"/>
          <p14:tracePt t="51115" x="8004175" y="4605338"/>
          <p14:tracePt t="51122" x="8012113" y="4630738"/>
          <p14:tracePt t="51129" x="8029575" y="4665663"/>
          <p14:tracePt t="51138" x="8054975" y="4683125"/>
          <p14:tracePt t="51146" x="8088313" y="4724400"/>
          <p14:tracePt t="51154" x="8121650" y="4741863"/>
          <p14:tracePt t="51162" x="8189913" y="4784725"/>
          <p14:tracePt t="51170" x="8240713" y="4818063"/>
          <p14:tracePt t="51178" x="8318500" y="4860925"/>
          <p14:tracePt t="51185" x="8402638" y="4894263"/>
          <p14:tracePt t="51195" x="8496300" y="4929188"/>
          <p14:tracePt t="51200" x="8615363" y="4972050"/>
          <p14:tracePt t="51210" x="8724900" y="5005388"/>
          <p14:tracePt t="51216" x="8853488" y="5030788"/>
          <p14:tracePt t="51225" x="8972550" y="5038725"/>
          <p14:tracePt t="51233" x="9099550" y="5064125"/>
          <p14:tracePt t="51241" x="9183688" y="5091113"/>
          <p14:tracePt t="51249" x="9286875" y="5099050"/>
          <p14:tracePt t="51257" x="9345613" y="5099050"/>
          <p14:tracePt t="51265" x="9405938" y="5099050"/>
          <p14:tracePt t="51273" x="9472613" y="5099050"/>
          <p14:tracePt t="51281" x="9507538" y="5099050"/>
          <p14:tracePt t="51289" x="9550400" y="5091113"/>
          <p14:tracePt t="51297" x="9591675" y="5073650"/>
          <p14:tracePt t="51305" x="9634538" y="5073650"/>
          <p14:tracePt t="51313" x="9652000" y="5064125"/>
          <p14:tracePt t="51321" x="9685338" y="5056188"/>
          <p14:tracePt t="51330" x="9710738" y="5056188"/>
          <p14:tracePt t="51338" x="9736138" y="5048250"/>
          <p14:tracePt t="51345" x="9745663" y="5048250"/>
          <p14:tracePt t="51354" x="9753600" y="5038725"/>
          <p14:tracePt t="51362" x="9761538" y="5038725"/>
          <p14:tracePt t="51873" x="9753600" y="5038725"/>
          <p14:tracePt t="51930" x="9745663" y="5038725"/>
          <p14:tracePt t="51939" x="9736138" y="5038725"/>
          <p14:tracePt t="51946" x="9728200" y="5038725"/>
          <p14:tracePt t="51953" x="9702800" y="5038725"/>
          <p14:tracePt t="51961" x="9685338" y="5038725"/>
          <p14:tracePt t="51969" x="9667875" y="5038725"/>
          <p14:tracePt t="51977" x="9659938" y="5038725"/>
          <p14:tracePt t="51985" x="9652000" y="5038725"/>
          <p14:tracePt t="52001" x="9642475" y="5038725"/>
          <p14:tracePt t="52073" x="9642475" y="5030788"/>
          <p14:tracePt t="52081" x="9659938" y="5005388"/>
          <p14:tracePt t="52089" x="9659938" y="4987925"/>
          <p14:tracePt t="52097" x="9667875" y="4954588"/>
          <p14:tracePt t="52104" x="9667875" y="4919663"/>
          <p14:tracePt t="52112" x="9659938" y="4886325"/>
          <p14:tracePt t="52121" x="9642475" y="4835525"/>
          <p14:tracePt t="52128" x="9591675" y="4802188"/>
          <p14:tracePt t="52137" x="9550400" y="4759325"/>
          <p14:tracePt t="52144" x="9507538" y="4733925"/>
          <p14:tracePt t="52154" x="9439275" y="4691063"/>
          <p14:tracePt t="52161" x="9388475" y="4657725"/>
          <p14:tracePt t="52168" x="9328150" y="4640263"/>
          <p14:tracePt t="52177" x="9302750" y="4622800"/>
          <p14:tracePt t="52184" x="9294813" y="4622800"/>
          <p14:tracePt t="52193" x="9286875" y="4622800"/>
          <p14:tracePt t="52290" x="9277350" y="4622800"/>
          <p14:tracePt t="53225" x="9269413" y="4622800"/>
          <p14:tracePt t="53249" x="9261475" y="4622800"/>
          <p14:tracePt t="53257" x="9251950" y="4630738"/>
          <p14:tracePt t="53265" x="9236075" y="4640263"/>
          <p14:tracePt t="53273" x="9218613" y="4648200"/>
          <p14:tracePt t="53280" x="9209088" y="4648200"/>
          <p14:tracePt t="53289" x="9183688" y="4648200"/>
          <p14:tracePt t="53297" x="9158288" y="4648200"/>
          <p14:tracePt t="53304" x="9124950" y="4657725"/>
          <p14:tracePt t="53313" x="9099550" y="4657725"/>
          <p14:tracePt t="53322" x="9039225" y="4665663"/>
          <p14:tracePt t="53329" x="8997950" y="4683125"/>
          <p14:tracePt t="53337" x="8904288" y="4691063"/>
          <p14:tracePt t="53344" x="8810625" y="4716463"/>
          <p14:tracePt t="53354" x="8674100" y="4724400"/>
          <p14:tracePt t="53361" x="8470900" y="4767263"/>
          <p14:tracePt t="53369" x="8301038" y="4767263"/>
          <p14:tracePt t="53378" x="7977188" y="4767263"/>
          <p14:tracePt t="53385" x="7807325" y="4767263"/>
          <p14:tracePt t="53394" x="7604125" y="4767263"/>
          <p14:tracePt t="53401" x="7459663" y="4749800"/>
          <p14:tracePt t="53411" x="7297738" y="4724400"/>
          <p14:tracePt t="53417" x="7229475" y="4716463"/>
          <p14:tracePt t="53425" x="7170738" y="4716463"/>
          <p14:tracePt t="53433" x="7137400" y="4716463"/>
          <p14:tracePt t="53449" x="7162800" y="4716463"/>
          <p14:tracePt t="53457" x="7239000" y="4716463"/>
          <p14:tracePt t="53465" x="7383463" y="4741863"/>
          <p14:tracePt t="53473" x="7545388" y="4775200"/>
          <p14:tracePt t="53481" x="7731125" y="4802188"/>
          <p14:tracePt t="53489" x="7986713" y="4852988"/>
          <p14:tracePt t="53497" x="8240713" y="4894263"/>
          <p14:tracePt t="53505" x="8428038" y="4929188"/>
          <p14:tracePt t="53513" x="8615363" y="4954588"/>
          <p14:tracePt t="53522" x="8921750" y="4987925"/>
          <p14:tracePt t="53529" x="9082088" y="5013325"/>
          <p14:tracePt t="53538" x="9286875" y="5013325"/>
          <p14:tracePt t="53545" x="9302750" y="5013325"/>
          <p14:tracePt t="53665" x="9312275" y="5013325"/>
          <p14:tracePt t="53673" x="9320213" y="5013325"/>
          <p14:tracePt t="53705" x="9302750" y="5013325"/>
          <p14:tracePt t="53722" x="9269413" y="5022850"/>
          <p14:tracePt t="53729" x="9251950" y="5022850"/>
          <p14:tracePt t="53739" x="9209088" y="5022850"/>
          <p14:tracePt t="53746" x="9175750" y="5022850"/>
          <p14:tracePt t="53754" x="9124950" y="5013325"/>
          <p14:tracePt t="53762" x="9091613" y="5005388"/>
          <p14:tracePt t="53770" x="9048750" y="5005388"/>
          <p14:tracePt t="53778" x="9005888" y="4997450"/>
          <p14:tracePt t="53787" x="8955088" y="4987925"/>
          <p14:tracePt t="53792" x="8861425" y="4972050"/>
          <p14:tracePt t="53801" x="8785225" y="4954588"/>
          <p14:tracePt t="53809" x="8640763" y="4937125"/>
          <p14:tracePt t="53817" x="8529638" y="4919663"/>
          <p14:tracePt t="53825" x="8385175" y="4894263"/>
          <p14:tracePt t="53833" x="8266113" y="4878388"/>
          <p14:tracePt t="53840" x="8088313" y="4852988"/>
          <p14:tracePt t="53849" x="7961313" y="4818063"/>
          <p14:tracePt t="53857" x="7832725" y="4767263"/>
          <p14:tracePt t="53865" x="7654925" y="4691063"/>
          <p14:tracePt t="53873" x="7527925" y="4648200"/>
          <p14:tracePt t="53881" x="7332663" y="4579938"/>
          <p14:tracePt t="53889" x="7204075" y="4564063"/>
          <p14:tracePt t="53897" x="7059613" y="4521200"/>
          <p14:tracePt t="53905" x="6967538" y="4513263"/>
          <p14:tracePt t="53914" x="6831013" y="4486275"/>
          <p14:tracePt t="53922" x="6762750" y="4478338"/>
          <p14:tracePt t="53929" x="6704013" y="4470400"/>
          <p14:tracePt t="53938" x="6626225" y="4460875"/>
          <p14:tracePt t="53945" x="6592888" y="4452938"/>
          <p14:tracePt t="53954" x="6567488" y="4445000"/>
          <p14:tracePt t="53961" x="6542088" y="4435475"/>
          <p14:tracePt t="53969" x="6508750" y="4427538"/>
          <p14:tracePt t="53978" x="6483350" y="4419600"/>
          <p14:tracePt t="53985" x="6448425" y="4402138"/>
          <p14:tracePt t="53994" x="6389688" y="4384675"/>
          <p14:tracePt t="54002" x="6354763" y="4368800"/>
          <p14:tracePt t="54012" x="6296025" y="4341813"/>
          <p14:tracePt t="54017" x="6261100" y="4325938"/>
          <p14:tracePt t="54025" x="6184900" y="4316413"/>
          <p14:tracePt t="54033" x="6126163" y="4308475"/>
          <p14:tracePt t="54041" x="6049963" y="4291013"/>
          <p14:tracePt t="54049" x="5964238" y="4283075"/>
          <p14:tracePt t="54057" x="5895975" y="4275138"/>
          <p14:tracePt t="54065" x="5761038" y="4249738"/>
          <p14:tracePt t="54074" x="5692775" y="4232275"/>
          <p14:tracePt t="54081" x="5565775" y="4214813"/>
          <p14:tracePt t="54089" x="5472113" y="4197350"/>
          <p14:tracePt t="54097" x="5343525" y="4171950"/>
          <p14:tracePt t="54105" x="5267325" y="4138613"/>
          <p14:tracePt t="54112" x="5165725" y="4105275"/>
          <p14:tracePt t="54121" x="5089525" y="4095750"/>
          <p14:tracePt t="54128" x="5021263" y="4070350"/>
          <p14:tracePt t="54137" x="4945063" y="4062413"/>
          <p14:tracePt t="54144" x="4868863" y="4052888"/>
          <p14:tracePt t="54153" x="4757738" y="4052888"/>
          <p14:tracePt t="54161" x="4664075" y="4052888"/>
          <p14:tracePt t="54168" x="4537075" y="4052888"/>
          <p14:tracePt t="54177" x="4435475" y="4052888"/>
          <p14:tracePt t="54184" x="4291013" y="4052888"/>
          <p14:tracePt t="54193" x="4205288" y="4052888"/>
          <p14:tracePt t="54201" x="4121150" y="4052888"/>
          <p14:tracePt t="54211" x="4027488" y="4044950"/>
          <p14:tracePt t="54217" x="3967163" y="4027488"/>
          <p14:tracePt t="54226" x="3865563" y="4011613"/>
          <p14:tracePt t="54233" x="3806825" y="4002088"/>
          <p14:tracePt t="54241" x="3713163" y="3986213"/>
          <p14:tracePt t="54249" x="3652838" y="3968750"/>
          <p14:tracePt t="54257" x="3568700" y="3960813"/>
          <p14:tracePt t="54265" x="3508375" y="3943350"/>
          <p14:tracePt t="54273" x="3432175" y="3935413"/>
          <p14:tracePt t="54281" x="3348038" y="3925888"/>
          <p14:tracePt t="54289" x="3279775" y="3917950"/>
          <p14:tracePt t="54297" x="3186113" y="3892550"/>
          <p14:tracePt t="54305" x="3127375" y="3892550"/>
          <p14:tracePt t="54313" x="3059113" y="3892550"/>
          <p14:tracePt t="54322" x="2998788" y="3892550"/>
          <p14:tracePt t="54329" x="2940050" y="3892550"/>
          <p14:tracePt t="54338" x="2914650" y="3892550"/>
          <p14:tracePt t="54345" x="2863850" y="3900488"/>
          <p14:tracePt t="54354" x="2820988" y="3908425"/>
          <p14:tracePt t="54362" x="2786063" y="3925888"/>
          <p14:tracePt t="54369" x="2719388" y="3960813"/>
          <p14:tracePt t="54378" x="2676525" y="3976688"/>
          <p14:tracePt t="54385" x="2600325" y="4011613"/>
          <p14:tracePt t="54395" x="2549525" y="4044950"/>
          <p14:tracePt t="54401" x="2497138" y="4079875"/>
          <p14:tracePt t="54411" x="2446338" y="4105275"/>
          <p14:tracePt t="54417" x="2395538" y="4130675"/>
          <p14:tracePt t="54425" x="2370138" y="4156075"/>
          <p14:tracePt t="54433" x="2352675" y="4171950"/>
          <p14:tracePt t="54441" x="2319338" y="4181475"/>
          <p14:tracePt t="54449" x="2286000" y="4197350"/>
          <p14:tracePt t="54457" x="2217738" y="4214813"/>
          <p14:tracePt t="54465" x="2174875" y="4249738"/>
          <p14:tracePt t="54473" x="2106613" y="4265613"/>
          <p14:tracePt t="54481" x="2073275" y="4300538"/>
          <p14:tracePt t="54489" x="2047875" y="4316413"/>
          <p14:tracePt t="54497" x="2038350" y="4333875"/>
          <p14:tracePt t="54505" x="2030413" y="4351338"/>
          <p14:tracePt t="54514" x="2030413" y="4359275"/>
          <p14:tracePt t="54538" x="2030413" y="4368800"/>
          <p14:tracePt t="54546" x="2022475" y="4384675"/>
          <p14:tracePt t="54554" x="2012950" y="4402138"/>
          <p14:tracePt t="54562" x="1997075" y="4452938"/>
          <p14:tracePt t="54569" x="1971675" y="4554538"/>
          <p14:tracePt t="54578" x="1962150" y="4622800"/>
          <p14:tracePt t="54585" x="1928813" y="4716463"/>
          <p14:tracePt t="54595" x="1911350" y="4749800"/>
          <p14:tracePt t="54601" x="1911350" y="4767263"/>
          <p14:tracePt t="54611" x="1911350" y="4784725"/>
          <p14:tracePt t="54617" x="1911350" y="4792663"/>
          <p14:tracePt t="54634" x="1920875" y="4802188"/>
          <p14:tracePt t="54641" x="1971675" y="4818063"/>
          <p14:tracePt t="54649" x="2012950" y="4843463"/>
          <p14:tracePt t="54657" x="2090738" y="4868863"/>
          <p14:tracePt t="54665" x="2157413" y="4903788"/>
          <p14:tracePt t="54673" x="2243138" y="4946650"/>
          <p14:tracePt t="54681" x="2293938" y="4979988"/>
          <p14:tracePt t="54689" x="2336800" y="5013325"/>
          <p14:tracePt t="54697" x="2387600" y="5056188"/>
          <p14:tracePt t="54705" x="2420938" y="5073650"/>
          <p14:tracePt t="54713" x="2446338" y="5099050"/>
          <p14:tracePt t="54722" x="2463800" y="5106988"/>
          <p14:tracePt t="54731" x="2497138" y="5116513"/>
          <p14:tracePt t="54737" x="2524125" y="5124450"/>
          <p14:tracePt t="54745" x="2574925" y="5132388"/>
          <p14:tracePt t="54754" x="2625725" y="5132388"/>
          <p14:tracePt t="54761" x="2668588" y="5141913"/>
          <p14:tracePt t="54769" x="2752725" y="5167313"/>
          <p14:tracePt t="54777" x="2811463" y="5175250"/>
          <p14:tracePt t="54785" x="2905125" y="5183188"/>
          <p14:tracePt t="54795" x="2965450" y="5192713"/>
          <p14:tracePt t="54801" x="3033713" y="5208588"/>
          <p14:tracePt t="54811" x="3067050" y="5226050"/>
          <p14:tracePt t="54817" x="3117850" y="5251450"/>
          <p14:tracePt t="54825" x="3152775" y="5260975"/>
          <p14:tracePt t="54833" x="3203575" y="5276850"/>
          <p14:tracePt t="54841" x="3262313" y="5294313"/>
          <p14:tracePt t="54849" x="3305175" y="5302250"/>
          <p14:tracePt t="54857" x="3348038" y="5302250"/>
          <p14:tracePt t="54865" x="3406775" y="5294313"/>
          <p14:tracePt t="54873" x="3482975" y="5276850"/>
          <p14:tracePt t="54881" x="3543300" y="5243513"/>
          <p14:tracePt t="54889" x="3611563" y="5226050"/>
          <p14:tracePt t="54897" x="3678238" y="5192713"/>
          <p14:tracePt t="54905" x="3729038" y="5175250"/>
          <p14:tracePt t="54913" x="3806825" y="5149850"/>
          <p14:tracePt t="54922" x="3865563" y="5141913"/>
          <p14:tracePt t="54930" x="3941763" y="5132388"/>
          <p14:tracePt t="54938" x="4010025" y="5124450"/>
          <p14:tracePt t="54945" x="4111625" y="5106988"/>
          <p14:tracePt t="54954" x="4214813" y="5091113"/>
          <p14:tracePt t="54961" x="4298950" y="5073650"/>
          <p14:tracePt t="54969" x="4418013" y="5056188"/>
          <p14:tracePt t="54978" x="4486275" y="5038725"/>
          <p14:tracePt t="54985" x="4579938" y="5022850"/>
          <p14:tracePt t="54994" x="4613275" y="5005388"/>
          <p14:tracePt t="55000" x="4638675" y="4997450"/>
          <p14:tracePt t="55009" x="4638675" y="4987925"/>
          <p14:tracePt t="55571" x="4638675" y="4979988"/>
          <p14:tracePt t="55576" x="4664075" y="4954588"/>
          <p14:tracePt t="55584" x="4689475" y="4929188"/>
          <p14:tracePt t="55592" x="4724400" y="4868863"/>
          <p14:tracePt t="55601" x="4724400" y="4818063"/>
          <p14:tracePt t="55609" x="4724400" y="4792663"/>
          <p14:tracePt t="55617" x="4706938" y="4741863"/>
          <p14:tracePt t="55627" x="4699000" y="4708525"/>
          <p14:tracePt t="55632" x="4699000" y="4691063"/>
          <p14:tracePt t="55842" x="4732338" y="4691063"/>
          <p14:tracePt t="55850" x="4791075" y="4716463"/>
          <p14:tracePt t="55858" x="4851400" y="4741863"/>
          <p14:tracePt t="55864" x="4894263" y="4741863"/>
          <p14:tracePt t="55872" x="4919663" y="4741863"/>
          <p14:tracePt t="55881" x="4945063" y="4741863"/>
          <p14:tracePt t="55888" x="4970463" y="4741863"/>
          <p14:tracePt t="55896" x="4987925" y="4733925"/>
          <p14:tracePt t="55904" x="5021263" y="4724400"/>
          <p14:tracePt t="55912" x="5054600" y="4716463"/>
          <p14:tracePt t="55921" x="5114925" y="4683125"/>
          <p14:tracePt t="55928" x="5157788" y="4657725"/>
          <p14:tracePt t="55937" x="5208588" y="4614863"/>
          <p14:tracePt t="55945" x="5259388" y="4579938"/>
          <p14:tracePt t="55954" x="5259388" y="4554538"/>
          <p14:tracePt t="55961" x="5276850" y="4529138"/>
          <p14:tracePt t="55969" x="5276850" y="4503738"/>
          <p14:tracePt t="55977" x="5276850" y="4478338"/>
          <p14:tracePt t="55984" x="5276850" y="4445000"/>
          <p14:tracePt t="55993" x="5276850" y="4402138"/>
          <p14:tracePt t="56001" x="5267325" y="4376738"/>
          <p14:tracePt t="56010" x="5267325" y="4333875"/>
          <p14:tracePt t="56017" x="5267325" y="4316413"/>
          <p14:tracePt t="56024" x="5267325" y="4300538"/>
          <p14:tracePt t="56033" x="5259388" y="4283075"/>
          <p14:tracePt t="56041" x="5249863" y="4257675"/>
          <p14:tracePt t="56049" x="5233988" y="4240213"/>
          <p14:tracePt t="56057" x="5216525" y="4224338"/>
          <p14:tracePt t="56065" x="5191125" y="4197350"/>
          <p14:tracePt t="56074" x="5173663" y="4181475"/>
          <p14:tracePt t="56081" x="5122863" y="4164013"/>
          <p14:tracePt t="56090" x="5064125" y="4138613"/>
          <p14:tracePt t="56097" x="4978400" y="4113213"/>
          <p14:tracePt t="56105" x="4884738" y="4087813"/>
          <p14:tracePt t="56113" x="4783138" y="4062413"/>
          <p14:tracePt t="56122" x="4656138" y="4027488"/>
          <p14:tracePt t="56130" x="4537075" y="3994150"/>
          <p14:tracePt t="56138" x="4392613" y="3943350"/>
          <p14:tracePt t="56145" x="4298950" y="3908425"/>
          <p14:tracePt t="56154" x="4214813" y="3867150"/>
          <p14:tracePt t="56161" x="4121150" y="3841750"/>
          <p14:tracePt t="56169" x="4010025" y="3832225"/>
          <p14:tracePt t="56178" x="3933825" y="3824288"/>
          <p14:tracePt t="56185" x="3848100" y="3824288"/>
          <p14:tracePt t="56194" x="3763963" y="3824288"/>
          <p14:tracePt t="56201" x="3713163" y="3824288"/>
          <p14:tracePt t="56211" x="3627438" y="3824288"/>
          <p14:tracePt t="56217" x="3576638" y="3824288"/>
          <p14:tracePt t="56227" x="3525838" y="3824288"/>
          <p14:tracePt t="56233" x="3482975" y="3824288"/>
          <p14:tracePt t="56242" x="3432175" y="3824288"/>
          <p14:tracePt t="56249" x="3373438" y="3832225"/>
          <p14:tracePt t="56257" x="3330575" y="3841750"/>
          <p14:tracePt t="56265" x="3279775" y="3849688"/>
          <p14:tracePt t="56273" x="3244850" y="3867150"/>
          <p14:tracePt t="56281" x="3186113" y="3883025"/>
          <p14:tracePt t="56289" x="3168650" y="3883025"/>
          <p14:tracePt t="56297" x="3143250" y="3883025"/>
          <p14:tracePt t="56306" x="3117850" y="3883025"/>
          <p14:tracePt t="56313" x="3100388" y="3883025"/>
          <p14:tracePt t="56322" x="3084513" y="3892550"/>
          <p14:tracePt t="56329" x="3067050" y="3908425"/>
          <p14:tracePt t="56338" x="3024188" y="3925888"/>
          <p14:tracePt t="56345" x="2973388" y="3960813"/>
          <p14:tracePt t="56354" x="2905125" y="4011613"/>
          <p14:tracePt t="56361" x="2846388" y="4052888"/>
          <p14:tracePt t="56369" x="2752725" y="4121150"/>
          <p14:tracePt t="56378" x="2684463" y="4164013"/>
          <p14:tracePt t="56385" x="2651125" y="4197350"/>
          <p14:tracePt t="56394" x="2616200" y="4214813"/>
          <p14:tracePt t="56401" x="2600325" y="4224338"/>
          <p14:tracePt t="56411" x="2565400" y="4240213"/>
          <p14:tracePt t="56417" x="2549525" y="4257675"/>
          <p14:tracePt t="56425" x="2506663" y="4300538"/>
          <p14:tracePt t="56433" x="2463800" y="4325938"/>
          <p14:tracePt t="56442" x="2430463" y="4351338"/>
          <p14:tracePt t="56449" x="2405063" y="4368800"/>
          <p14:tracePt t="56458" x="2387600" y="4384675"/>
          <p14:tracePt t="56465" x="2379663" y="4394200"/>
          <p14:tracePt t="56473" x="2370138" y="4394200"/>
          <p14:tracePt t="56481" x="2352675" y="4410075"/>
          <p14:tracePt t="56497" x="2352675" y="4419600"/>
          <p14:tracePt t="56513" x="2344738" y="4419600"/>
          <p14:tracePt t="56522" x="2327275" y="4427538"/>
          <p14:tracePt t="56529" x="2327275" y="4435475"/>
          <p14:tracePt t="56538" x="2311400" y="4445000"/>
          <p14:tracePt t="56546" x="2301875" y="4452938"/>
          <p14:tracePt t="57225" x="2311400" y="4470400"/>
          <p14:tracePt t="57233" x="2362200" y="4513263"/>
          <p14:tracePt t="57241" x="2413000" y="4564063"/>
          <p14:tracePt t="57249" x="2471738" y="4605338"/>
          <p14:tracePt t="57257" x="2557463" y="4691063"/>
          <p14:tracePt t="57265" x="2600325" y="4716463"/>
          <p14:tracePt t="57273" x="2668588" y="4775200"/>
          <p14:tracePt t="57281" x="2693988" y="4792663"/>
          <p14:tracePt t="57289" x="2735263" y="4827588"/>
          <p14:tracePt t="57297" x="2770188" y="4835525"/>
          <p14:tracePt t="57304" x="2820988" y="4852988"/>
          <p14:tracePt t="57313" x="2879725" y="4886325"/>
          <p14:tracePt t="57322" x="2930525" y="4903788"/>
          <p14:tracePt t="57330" x="3008313" y="4929188"/>
          <p14:tracePt t="57336" x="3049588" y="4946650"/>
          <p14:tracePt t="57344" x="3127375" y="4954588"/>
          <p14:tracePt t="57353" x="3203575" y="4962525"/>
          <p14:tracePt t="57360" x="3270250" y="4979988"/>
          <p14:tracePt t="57369" x="3355975" y="4987925"/>
          <p14:tracePt t="57377" x="3424238" y="5005388"/>
          <p14:tracePt t="57385" x="3508375" y="5022850"/>
          <p14:tracePt t="57393" x="3551238" y="5030788"/>
          <p14:tracePt t="57401" x="3627438" y="5038725"/>
          <p14:tracePt t="57409" x="3662363" y="5038725"/>
          <p14:tracePt t="57417" x="3703638" y="5048250"/>
          <p14:tracePt t="57426" x="3721100" y="5048250"/>
          <p14:tracePt t="57433" x="3756025" y="5048250"/>
          <p14:tracePt t="57442" x="3789363" y="5048250"/>
          <p14:tracePt t="57449" x="3822700" y="5048250"/>
          <p14:tracePt t="57457" x="3865563" y="5048250"/>
          <p14:tracePt t="57465" x="3890963" y="5048250"/>
          <p14:tracePt t="57473" x="3959225" y="5048250"/>
          <p14:tracePt t="57481" x="4002088" y="5048250"/>
          <p14:tracePt t="57489" x="4060825" y="5048250"/>
          <p14:tracePt t="57497" x="4095750" y="5048250"/>
          <p14:tracePt t="57505" x="4111625" y="5048250"/>
          <p14:tracePt t="57513" x="4121150" y="5048250"/>
          <p14:tracePt t="57578" x="4129088" y="5048250"/>
          <p14:tracePt t="57594" x="4146550" y="5038725"/>
          <p14:tracePt t="57601" x="4187825" y="5013325"/>
          <p14:tracePt t="57609" x="4214813" y="4987925"/>
          <p14:tracePt t="57617" x="4265613" y="4946650"/>
          <p14:tracePt t="57625" x="4291013" y="4937125"/>
          <p14:tracePt t="57633" x="4316413" y="4911725"/>
          <p14:tracePt t="57641" x="4324350" y="4894263"/>
          <p14:tracePt t="57649" x="4324350" y="4878388"/>
          <p14:tracePt t="57657" x="4332288" y="4860925"/>
          <p14:tracePt t="57665" x="4341813" y="4843463"/>
          <p14:tracePt t="57673" x="4359275" y="4818063"/>
          <p14:tracePt t="57681" x="4367213" y="4792663"/>
          <p14:tracePt t="57689" x="4375150" y="4775200"/>
          <p14:tracePt t="57697" x="4384675" y="4749800"/>
          <p14:tracePt t="57705" x="4400550" y="4724400"/>
          <p14:tracePt t="57713" x="4400550" y="4699000"/>
          <p14:tracePt t="57722" x="4410075" y="4683125"/>
          <p14:tracePt t="57729" x="4410075" y="4657725"/>
          <p14:tracePt t="57738" x="4410075" y="4630738"/>
          <p14:tracePt t="57745" x="4410075" y="4622800"/>
          <p14:tracePt t="57753" x="4410075" y="4614863"/>
          <p14:tracePt t="57761" x="4410075" y="4589463"/>
          <p14:tracePt t="57769" x="4400550" y="4589463"/>
          <p14:tracePt t="57777" x="4392613" y="4579938"/>
          <p14:tracePt t="57785" x="4392613" y="4572000"/>
          <p14:tracePt t="57793" x="4384675" y="4572000"/>
          <p14:tracePt t="57811" x="4384675" y="4564063"/>
          <p14:tracePt t="57865" x="4384675" y="4554538"/>
          <p14:tracePt t="57874" x="4392613" y="4554538"/>
          <p14:tracePt t="57930" x="4400550" y="4554538"/>
          <p14:tracePt t="57946" x="4400550" y="4546600"/>
          <p14:tracePt t="57955" x="4384675" y="4538663"/>
          <p14:tracePt t="58137" x="4392613" y="4538663"/>
          <p14:tracePt t="58145" x="4367213" y="4546600"/>
          <p14:tracePt t="58153" x="4359275" y="4546600"/>
          <p14:tracePt t="58161" x="4332288" y="4546600"/>
          <p14:tracePt t="58169" x="4316413" y="4538663"/>
          <p14:tracePt t="58177" x="4306888" y="4529138"/>
          <p14:tracePt t="58185" x="4306888" y="4521200"/>
          <p14:tracePt t="58194" x="4298950" y="4513263"/>
          <p14:tracePt t="58217" x="4298950" y="4495800"/>
          <p14:tracePt t="58233" x="4298950" y="4486275"/>
          <p14:tracePt t="58241" x="4298950" y="4478338"/>
          <p14:tracePt t="58249" x="4298950" y="4470400"/>
          <p14:tracePt t="58257" x="4298950" y="4460875"/>
          <p14:tracePt t="58265" x="4298950" y="4452938"/>
          <p14:tracePt t="58273" x="4298950" y="4435475"/>
          <p14:tracePt t="58281" x="4306888" y="4419600"/>
          <p14:tracePt t="58289" x="4316413" y="4410075"/>
          <p14:tracePt t="58297" x="4324350" y="4394200"/>
          <p14:tracePt t="58305" x="4349750" y="4359275"/>
          <p14:tracePt t="58313" x="4367213" y="4341813"/>
          <p14:tracePt t="58322" x="4375150" y="4316413"/>
          <p14:tracePt t="58329" x="4392613" y="4308475"/>
          <p14:tracePt t="58338" x="4400550" y="4291013"/>
          <p14:tracePt t="58345" x="4400550" y="4275138"/>
          <p14:tracePt t="58354" x="4410075" y="4257675"/>
          <p14:tracePt t="58361" x="4418013" y="4240213"/>
          <p14:tracePt t="58369" x="4425950" y="4224338"/>
          <p14:tracePt t="58377" x="4451350" y="4206875"/>
          <p14:tracePt t="58385" x="4476750" y="4189413"/>
          <p14:tracePt t="58394" x="4511675" y="4164013"/>
          <p14:tracePt t="58401" x="4537075" y="4156075"/>
          <p14:tracePt t="58411" x="4554538" y="4146550"/>
          <p14:tracePt t="58417" x="4579938" y="4130675"/>
          <p14:tracePt t="58427" x="4595813" y="4130675"/>
          <p14:tracePt t="58434" x="4613275" y="4130675"/>
          <p14:tracePt t="58442" x="4630738" y="4130675"/>
          <p14:tracePt t="58449" x="4656138" y="4130675"/>
          <p14:tracePt t="58457" x="4699000" y="4130675"/>
          <p14:tracePt t="58465" x="4749800" y="4130675"/>
          <p14:tracePt t="58473" x="4818063" y="4146550"/>
          <p14:tracePt t="58481" x="4876800" y="4156075"/>
          <p14:tracePt t="58489" x="4945063" y="4164013"/>
          <p14:tracePt t="58497" x="5003800" y="4171950"/>
          <p14:tracePt t="58506" x="5064125" y="4189413"/>
          <p14:tracePt t="58513" x="5106988" y="4189413"/>
          <p14:tracePt t="58522" x="5157788" y="4197350"/>
          <p14:tracePt t="58530" x="5183188" y="4206875"/>
          <p14:tracePt t="58538" x="5199063" y="4206875"/>
          <p14:tracePt t="58546" x="5216525" y="4206875"/>
          <p14:tracePt t="58553" x="5224463" y="4206875"/>
          <p14:tracePt t="58562" x="5233988" y="4206875"/>
          <p14:tracePt t="58569" x="5249863" y="4206875"/>
          <p14:tracePt t="58577" x="5259388" y="4206875"/>
          <p14:tracePt t="58585" x="5276850" y="4206875"/>
          <p14:tracePt t="58594" x="5310188" y="4206875"/>
          <p14:tracePt t="58601" x="5335588" y="4206875"/>
          <p14:tracePt t="58611" x="5368925" y="4224338"/>
          <p14:tracePt t="58617" x="5421313" y="4232275"/>
          <p14:tracePt t="58625" x="5487988" y="4240213"/>
          <p14:tracePt t="58636" x="5548313" y="4240213"/>
          <p14:tracePt t="58642" x="5581650" y="4249738"/>
          <p14:tracePt t="58649" x="5641975" y="4249738"/>
          <p14:tracePt t="58657" x="5667375" y="4249738"/>
          <p14:tracePt t="58665" x="5708650" y="4249738"/>
          <p14:tracePt t="58673" x="5726113" y="4249738"/>
          <p14:tracePt t="58681" x="5751513" y="4249738"/>
          <p14:tracePt t="58689" x="5761038" y="4249738"/>
          <p14:tracePt t="58697" x="5786438" y="4240213"/>
          <p14:tracePt t="58706" x="5819775" y="4232275"/>
          <p14:tracePt t="58713" x="5862638" y="4224338"/>
          <p14:tracePt t="58722" x="5964238" y="4214813"/>
          <p14:tracePt t="58730" x="6049963" y="4197350"/>
          <p14:tracePt t="58738" x="6235700" y="4164013"/>
          <p14:tracePt t="58745" x="6364288" y="4146550"/>
          <p14:tracePt t="58753" x="6516688" y="4146550"/>
          <p14:tracePt t="58761" x="6643688" y="4146550"/>
          <p14:tracePt t="58769" x="6770688" y="4146550"/>
          <p14:tracePt t="58777" x="6915150" y="4156075"/>
          <p14:tracePt t="58785" x="6983413" y="4164013"/>
          <p14:tracePt t="58794" x="7059613" y="4164013"/>
          <p14:tracePt t="58801" x="7102475" y="4164013"/>
          <p14:tracePt t="58810" x="7127875" y="4164013"/>
          <p14:tracePt t="58817" x="7137400" y="4164013"/>
          <p14:tracePt t="58881" x="7094538" y="4164013"/>
          <p14:tracePt t="58889" x="7077075" y="4171950"/>
          <p14:tracePt t="58897" x="7018338" y="4171950"/>
          <p14:tracePt t="58905" x="6967538" y="4171950"/>
          <p14:tracePt t="58913" x="6907213" y="4171950"/>
          <p14:tracePt t="58922" x="6831013" y="4171950"/>
          <p14:tracePt t="58929" x="6762750" y="4181475"/>
          <p14:tracePt t="58938" x="6669088" y="4206875"/>
          <p14:tracePt t="58945" x="6626225" y="4214813"/>
          <p14:tracePt t="58953" x="6567488" y="4224338"/>
          <p14:tracePt t="58961" x="6534150" y="4232275"/>
          <p14:tracePt t="58969" x="6508750" y="4249738"/>
          <p14:tracePt t="58985" x="6508750" y="4257675"/>
          <p14:tracePt t="58993" x="6516688" y="4257675"/>
          <p14:tracePt t="59011" x="6600825" y="4257675"/>
          <p14:tracePt t="59017" x="6661150" y="4249738"/>
          <p14:tracePt t="59026" x="6762750" y="4240213"/>
          <p14:tracePt t="59033" x="6864350" y="4214813"/>
          <p14:tracePt t="59042" x="6967538" y="4206875"/>
          <p14:tracePt t="59049" x="7034213" y="4197350"/>
          <p14:tracePt t="59057" x="7102475" y="4171950"/>
          <p14:tracePt t="59065" x="7127875" y="4164013"/>
          <p14:tracePt t="59073" x="7137400" y="4164013"/>
          <p14:tracePt t="59081" x="7145338" y="4164013"/>
          <p14:tracePt t="59097" x="7153275" y="4156075"/>
          <p14:tracePt t="59113" x="7145338" y="4156075"/>
          <p14:tracePt t="59121" x="7127875" y="4156075"/>
          <p14:tracePt t="59129" x="7112000" y="4156075"/>
          <p14:tracePt t="59137" x="7051675" y="4156075"/>
          <p14:tracePt t="59145" x="6983413" y="4164013"/>
          <p14:tracePt t="59153" x="6881813" y="4181475"/>
          <p14:tracePt t="59161" x="6788150" y="4197350"/>
          <p14:tracePt t="59169" x="6704013" y="4224338"/>
          <p14:tracePt t="59177" x="6661150" y="4232275"/>
          <p14:tracePt t="59185" x="6653213" y="4232275"/>
          <p14:tracePt t="59201" x="6653213" y="4240213"/>
          <p14:tracePt t="59210" x="6669088" y="4240213"/>
          <p14:tracePt t="59217" x="6704013" y="4240213"/>
          <p14:tracePt t="59225" x="6770688" y="4257675"/>
          <p14:tracePt t="59233" x="6856413" y="4265613"/>
          <p14:tracePt t="59241" x="6967538" y="4275138"/>
          <p14:tracePt t="59249" x="7051675" y="4275138"/>
          <p14:tracePt t="59257" x="7127875" y="4275138"/>
          <p14:tracePt t="59265" x="7153275" y="4275138"/>
          <p14:tracePt t="59273" x="7170738" y="4275138"/>
          <p14:tracePt t="59306" x="7178675" y="4275138"/>
          <p14:tracePt t="59514" x="7170738" y="4275138"/>
          <p14:tracePt t="59890" x="7145338" y="4275138"/>
          <p14:tracePt t="59898" x="7102475" y="4283075"/>
          <p14:tracePt t="59906" x="6983413" y="4325938"/>
          <p14:tracePt t="59915" x="6881813" y="4333875"/>
          <p14:tracePt t="59922" x="6770688" y="4359275"/>
          <p14:tracePt t="59930" x="6653213" y="4368800"/>
          <p14:tracePt t="59939" x="6524625" y="4376738"/>
          <p14:tracePt t="59946" x="6372225" y="4376738"/>
          <p14:tracePt t="59955" x="6245225" y="4376738"/>
          <p14:tracePt t="59963" x="6032500" y="4376738"/>
          <p14:tracePt t="59970" x="5853113" y="4376738"/>
          <p14:tracePt t="59978" x="5556250" y="4351338"/>
          <p14:tracePt t="59986" x="5310188" y="4325938"/>
          <p14:tracePt t="59995" x="5029200" y="4275138"/>
          <p14:tracePt t="60003" x="4868863" y="4249738"/>
          <p14:tracePt t="60014" x="4724400" y="4224338"/>
          <p14:tracePt t="60019" x="4562475" y="4189413"/>
          <p14:tracePt t="60028" x="4486275" y="4156075"/>
          <p14:tracePt t="60033" x="4392613" y="4113213"/>
          <p14:tracePt t="60041" x="4349750" y="4087813"/>
          <p14:tracePt t="60049" x="4316413" y="4052888"/>
          <p14:tracePt t="60058" x="4306888" y="4037013"/>
          <p14:tracePt t="60065" x="4306888" y="4019550"/>
          <p14:tracePt t="60073" x="4306888" y="3986213"/>
          <p14:tracePt t="60081" x="4306888" y="3960813"/>
          <p14:tracePt t="60089" x="4306888" y="3951288"/>
          <p14:tracePt t="60097" x="4306888" y="3943350"/>
          <p14:tracePt t="60106" x="4306888" y="3935413"/>
          <p14:tracePt t="60145" x="4306888" y="3925888"/>
          <p14:tracePt t="60154" x="4324350" y="3925888"/>
          <p14:tracePt t="60161" x="4332288" y="3900488"/>
          <p14:tracePt t="60170" x="4359275" y="3883025"/>
          <p14:tracePt t="60178" x="4384675" y="3857625"/>
          <p14:tracePt t="60185" x="4392613" y="3857625"/>
          <p14:tracePt t="60195" x="4410075" y="3841750"/>
          <p14:tracePt t="60323" x="4418013" y="3841750"/>
          <p14:tracePt t="60330" x="4425950" y="3841750"/>
          <p14:tracePt t="60355" x="4425950" y="3832225"/>
          <p14:tracePt t="60378" x="4410075" y="3824288"/>
          <p14:tracePt t="60394" x="4400550" y="3816350"/>
          <p14:tracePt t="60402" x="4392613" y="3816350"/>
          <p14:tracePt t="60418" x="4375150" y="3816350"/>
          <p14:tracePt t="60427" x="4349750" y="3816350"/>
          <p14:tracePt t="60434" x="4341813" y="3806825"/>
          <p14:tracePt t="60441" x="4306888" y="3806825"/>
          <p14:tracePt t="60450" x="4265613" y="3798888"/>
          <p14:tracePt t="60457" x="4230688" y="3790950"/>
          <p14:tracePt t="60466" x="4197350" y="3781425"/>
          <p14:tracePt t="60476" x="4162425" y="3781425"/>
          <p14:tracePt t="60482" x="4146550" y="3773488"/>
          <p14:tracePt t="60490" x="4121150" y="3773488"/>
          <p14:tracePt t="60497" x="4111625" y="3773488"/>
          <p14:tracePt t="60506" x="4111625" y="3763963"/>
          <p14:tracePt t="60513" x="4103688" y="3763963"/>
          <p14:tracePt t="60522" x="4095750" y="3763963"/>
          <p14:tracePt t="60529" x="4086225" y="3763963"/>
          <p14:tracePt t="60545" x="4078288" y="3763963"/>
          <p14:tracePt t="61082" x="4070350" y="3763963"/>
          <p14:tracePt t="61098" x="4060825" y="3763963"/>
          <p14:tracePt t="61107" x="4044950" y="3763963"/>
          <p14:tracePt t="61114" x="4027488" y="3773488"/>
          <p14:tracePt t="61122" x="4002088" y="3790950"/>
          <p14:tracePt t="61128" x="3951288" y="3824288"/>
          <p14:tracePt t="61137" x="3900488" y="3857625"/>
          <p14:tracePt t="61144" x="3848100" y="3900488"/>
          <p14:tracePt t="61153" x="3797300" y="3935413"/>
          <p14:tracePt t="61160" x="3771900" y="3960813"/>
          <p14:tracePt t="61169" x="3771900" y="3976688"/>
          <p14:tracePt t="61177" x="3771900" y="3994150"/>
          <p14:tracePt t="61193" x="3771900" y="4002088"/>
          <p14:tracePt t="61201" x="3771900" y="4011613"/>
          <p14:tracePt t="61210" x="3781425" y="4027488"/>
          <p14:tracePt t="61217" x="3806825" y="4052888"/>
          <p14:tracePt t="61226" x="3873500" y="4105275"/>
          <p14:tracePt t="61233" x="3900488" y="4156075"/>
          <p14:tracePt t="61242" x="3941763" y="4214813"/>
          <p14:tracePt t="61249" x="3976688" y="4265613"/>
          <p14:tracePt t="61257" x="4002088" y="4333875"/>
          <p14:tracePt t="61265" x="4035425" y="4368800"/>
          <p14:tracePt t="61273" x="4060825" y="4402138"/>
          <p14:tracePt t="61281" x="4086225" y="4419600"/>
          <p14:tracePt t="61288" x="4095750" y="4445000"/>
          <p14:tracePt t="61297" x="4111625" y="4452938"/>
          <p14:tracePt t="61305" x="4121150" y="4452938"/>
          <p14:tracePt t="61312" x="4129088" y="4452938"/>
          <p14:tracePt t="61474" x="4121150" y="4460875"/>
          <p14:tracePt t="61482" x="4121150" y="4470400"/>
          <p14:tracePt t="61489" x="4095750" y="4478338"/>
          <p14:tracePt t="61497" x="4070350" y="4495800"/>
          <p14:tracePt t="61505" x="4035425" y="4513263"/>
          <p14:tracePt t="61512" x="4017963" y="4521200"/>
          <p14:tracePt t="61520" x="3992563" y="4521200"/>
          <p14:tracePt t="61528" x="3967163" y="4529138"/>
          <p14:tracePt t="61537" x="3951288" y="4538663"/>
          <p14:tracePt t="61544" x="3941763" y="4546600"/>
          <p14:tracePt t="61553" x="3933825" y="4546600"/>
          <p14:tracePt t="61561" x="3933825" y="4554538"/>
          <p14:tracePt t="61569" x="3925888" y="4554538"/>
          <p14:tracePt t="61644" x="3925888" y="4564063"/>
          <p14:tracePt t="61658" x="3941763" y="4564063"/>
          <p14:tracePt t="61666" x="3959225" y="4564063"/>
          <p14:tracePt t="61674" x="3992563" y="4564063"/>
          <p14:tracePt t="61682" x="4027488" y="4572000"/>
          <p14:tracePt t="61690" x="4060825" y="4579938"/>
          <p14:tracePt t="61698" x="4086225" y="4579938"/>
          <p14:tracePt t="61707" x="4103688" y="4589463"/>
          <p14:tracePt t="61716" x="4121150" y="4589463"/>
          <p14:tracePt t="61746" x="4121150" y="4597400"/>
          <p14:tracePt t="61762" x="4111625" y="4605338"/>
          <p14:tracePt t="61778" x="4103688" y="4605338"/>
          <p14:tracePt t="61785" x="4095750" y="4605338"/>
          <p14:tracePt t="61797" x="4095750" y="4589463"/>
          <p14:tracePt t="61801" x="4095750" y="4572000"/>
          <p14:tracePt t="61962" x="4111625" y="4572000"/>
          <p14:tracePt t="61970" x="4121150" y="4589463"/>
          <p14:tracePt t="61978" x="4129088" y="4605338"/>
          <p14:tracePt t="61985" x="4154488" y="4622800"/>
          <p14:tracePt t="61996" x="4171950" y="4630738"/>
          <p14:tracePt t="62001" x="4179888" y="4640263"/>
          <p14:tracePt t="62011" x="4179888" y="4648200"/>
          <p14:tracePt t="62018" x="4179888" y="4657725"/>
          <p14:tracePt t="62027" x="4179888" y="4665663"/>
          <p14:tracePt t="62050" x="4179888" y="4673600"/>
          <p14:tracePt t="62058" x="4179888" y="4683125"/>
          <p14:tracePt t="62065" x="4171950" y="4683125"/>
          <p14:tracePt t="62073" x="4171950" y="4691063"/>
          <p14:tracePt t="62081" x="4162425" y="4708525"/>
          <p14:tracePt t="62090" x="4146550" y="4716463"/>
          <p14:tracePt t="62097" x="4129088" y="4724400"/>
          <p14:tracePt t="62106" x="4111625" y="4741863"/>
          <p14:tracePt t="62113" x="4103688" y="4759325"/>
          <p14:tracePt t="62122" x="4078288" y="4784725"/>
          <p14:tracePt t="62130" x="4052888" y="4802188"/>
          <p14:tracePt t="62138" x="4027488" y="4835525"/>
          <p14:tracePt t="62147" x="4002088" y="4868863"/>
          <p14:tracePt t="62153" x="3984625" y="4894263"/>
          <p14:tracePt t="62160" x="3967163" y="4919663"/>
          <p14:tracePt t="62169" x="3951288" y="4929188"/>
          <p14:tracePt t="62176" x="3941763" y="4946650"/>
          <p14:tracePt t="62208" x="3933825" y="4946650"/>
          <p14:tracePt t="62217" x="3925888" y="4946650"/>
          <p14:tracePt t="62226" x="3916363" y="4946650"/>
          <p14:tracePt t="62244" x="3900488" y="4946650"/>
          <p14:tracePt t="62250" x="3873500" y="4946650"/>
          <p14:tracePt t="62258" x="3848100" y="4946650"/>
          <p14:tracePt t="62265" x="3814763" y="4946650"/>
          <p14:tracePt t="62273" x="3781425" y="4946650"/>
          <p14:tracePt t="62281" x="3763963" y="4937125"/>
          <p14:tracePt t="62290" x="3738563" y="4937125"/>
          <p14:tracePt t="62297" x="3713163" y="4929188"/>
          <p14:tracePt t="62306" x="3703638" y="4929188"/>
          <p14:tracePt t="62313" x="3695700" y="4929188"/>
          <p14:tracePt t="62474" x="3695700" y="4911725"/>
          <p14:tracePt t="62482" x="3695700" y="4894263"/>
          <p14:tracePt t="62491" x="3687763" y="4843463"/>
          <p14:tracePt t="62498" x="3678238" y="4784725"/>
          <p14:tracePt t="62507" x="3644900" y="4708525"/>
          <p14:tracePt t="62515" x="3611563" y="4648200"/>
          <p14:tracePt t="62523" x="3568700" y="4546600"/>
          <p14:tracePt t="62530" x="3533775" y="4452938"/>
          <p14:tracePt t="62539" x="3482975" y="4351338"/>
          <p14:tracePt t="62546" x="3449638" y="4275138"/>
          <p14:tracePt t="62554" x="3424238" y="4197350"/>
          <p14:tracePt t="62562" x="3406775" y="4164013"/>
          <p14:tracePt t="62570" x="3389313" y="4138613"/>
          <p14:tracePt t="62578" x="3363913" y="4130675"/>
          <p14:tracePt t="62585" x="3363913" y="4121150"/>
          <p14:tracePt t="62594" x="3355975" y="4113213"/>
          <p14:tracePt t="62602" x="3348038" y="4113213"/>
          <p14:tracePt t="63339" x="3330575" y="4113213"/>
          <p14:tracePt t="63346" x="3305175" y="4113213"/>
          <p14:tracePt t="63354" x="3254375" y="4105275"/>
          <p14:tracePt t="63364" x="3211513" y="4095750"/>
          <p14:tracePt t="63370" x="3143250" y="4095750"/>
          <p14:tracePt t="63379" x="3117850" y="4095750"/>
          <p14:tracePt t="63385" x="3117850" y="4087813"/>
          <p14:tracePt t="63425" x="3109913" y="4087813"/>
          <p14:tracePt t="63442" x="3109913" y="4095750"/>
          <p14:tracePt t="63449" x="3117850" y="4105275"/>
          <p14:tracePt t="63457" x="3143250" y="4121150"/>
          <p14:tracePt t="63467" x="3168650" y="4121150"/>
          <p14:tracePt t="63473" x="3219450" y="4138613"/>
          <p14:tracePt t="63481" x="3236913" y="4138613"/>
          <p14:tracePt t="63490" x="3254375" y="4138613"/>
          <p14:tracePt t="63497" x="3270250" y="4130675"/>
          <p14:tracePt t="63506" x="3270250" y="4113213"/>
          <p14:tracePt t="63513" x="3244850" y="4095750"/>
          <p14:tracePt t="63670" x="3236913" y="4095750"/>
          <p14:tracePt t="63678" x="3236913" y="4105275"/>
          <p14:tracePt t="63690" x="3236913" y="4121150"/>
          <p14:tracePt t="63697" x="3236913" y="4130675"/>
          <p14:tracePt t="63706" x="3236913" y="4138613"/>
          <p14:tracePt t="63729" x="3244850" y="4146550"/>
          <p14:tracePt t="63738" x="3254375" y="4156075"/>
          <p14:tracePt t="63754" x="3262313" y="4164013"/>
          <p14:tracePt t="63761" x="3270250" y="4171950"/>
          <p14:tracePt t="63770" x="3270250" y="4181475"/>
          <p14:tracePt t="63793" x="3262313" y="4181475"/>
          <p14:tracePt t="63874" x="3254375" y="4181475"/>
          <p14:tracePt t="65008" x="3254375" y="4189413"/>
          <p14:tracePt t="65025" x="3254375" y="4197350"/>
          <p14:tracePt t="65041" x="3297238" y="4197350"/>
          <p14:tracePt t="65049" x="3313113" y="4197350"/>
          <p14:tracePt t="65057" x="3348038" y="4189413"/>
          <p14:tracePt t="65064" x="3355975" y="4189413"/>
          <p14:tracePt t="65266" x="3363913" y="4189413"/>
          <p14:tracePt t="65282" x="3373438" y="4189413"/>
          <p14:tracePt t="65291" x="3381375" y="4189413"/>
          <p14:tracePt t="65322" x="3373438" y="4189413"/>
          <p14:tracePt t="65330" x="3363913" y="4189413"/>
          <p14:tracePt t="65346" x="3363913" y="4171950"/>
          <p14:tracePt t="65378" x="3355975" y="4181475"/>
          <p14:tracePt t="65393" x="3338513" y="4171950"/>
          <p14:tracePt t="65418" x="3322638" y="4171950"/>
          <p14:tracePt t="65425" x="3313113" y="4171950"/>
          <p14:tracePt t="65442" x="3305175" y="4171950"/>
          <p14:tracePt t="65602" x="3305175" y="4181475"/>
          <p14:tracePt t="65706" x="3297238" y="4189413"/>
          <p14:tracePt t="65714" x="3297238" y="4197350"/>
          <p14:tracePt t="65723" x="3279775" y="4224338"/>
          <p14:tracePt t="65730" x="3262313" y="4257675"/>
          <p14:tracePt t="65739" x="3262313" y="4283075"/>
          <p14:tracePt t="65745" x="3262313" y="4333875"/>
          <p14:tracePt t="65754" x="3262313" y="4359275"/>
          <p14:tracePt t="65763" x="3262313" y="4394200"/>
          <p14:tracePt t="65770" x="3262313" y="4402138"/>
          <p14:tracePt t="65777" x="3262313" y="4419600"/>
          <p14:tracePt t="65785" x="3262313" y="4427538"/>
          <p14:tracePt t="65817" x="3262313" y="4435475"/>
          <p14:tracePt t="65833" x="3262313" y="4445000"/>
          <p14:tracePt t="65882" x="3262313" y="4452938"/>
          <p14:tracePt t="65898" x="3262313" y="4460875"/>
          <p14:tracePt t="65914" x="3262313" y="4470400"/>
          <p14:tracePt t="65923" x="3262313" y="4478338"/>
          <p14:tracePt t="65929" x="3262313" y="4495800"/>
          <p14:tracePt t="65937" x="3270250" y="4521200"/>
          <p14:tracePt t="65945" x="3305175" y="4564063"/>
          <p14:tracePt t="65953" x="3348038" y="4614863"/>
          <p14:tracePt t="65961" x="3441700" y="4683125"/>
          <p14:tracePt t="65969" x="3500438" y="4741863"/>
          <p14:tracePt t="65977" x="3636963" y="4802188"/>
          <p14:tracePt t="65985" x="3738563" y="4843463"/>
          <p14:tracePt t="65993" x="3848100" y="4868863"/>
          <p14:tracePt t="66001" x="3951288" y="4868863"/>
          <p14:tracePt t="66010" x="4035425" y="4868863"/>
          <p14:tracePt t="66017" x="4137025" y="4860925"/>
          <p14:tracePt t="66026" x="4197350" y="4852988"/>
          <p14:tracePt t="66033" x="4256088" y="4810125"/>
          <p14:tracePt t="66043" x="4306888" y="4792663"/>
          <p14:tracePt t="66049" x="4367213" y="4759325"/>
          <p14:tracePt t="66057" x="4418013" y="4733925"/>
          <p14:tracePt t="66065" x="4486275" y="4673600"/>
          <p14:tracePt t="66073" x="4537075" y="4640263"/>
          <p14:tracePt t="66081" x="4570413" y="4605338"/>
          <p14:tracePt t="66090" x="4613275" y="4572000"/>
          <p14:tracePt t="66097" x="4630738" y="4546600"/>
          <p14:tracePt t="66106" x="4638675" y="4529138"/>
          <p14:tracePt t="66113" x="4638675" y="4521200"/>
          <p14:tracePt t="66122" x="4646613" y="4513263"/>
          <p14:tracePt t="66129" x="4646613" y="4503738"/>
          <p14:tracePt t="66138" x="4656138" y="4503738"/>
          <p14:tracePt t="66145" x="4656138" y="4495800"/>
          <p14:tracePt t="66161" x="4664075" y="4478338"/>
          <p14:tracePt t="66169" x="4673600" y="4470400"/>
          <p14:tracePt t="66178" x="4699000" y="4470400"/>
          <p14:tracePt t="66185" x="4706938" y="4452938"/>
          <p14:tracePt t="66193" x="4732338" y="4435475"/>
          <p14:tracePt t="66201" x="4749800" y="4427538"/>
          <p14:tracePt t="66209" x="4775200" y="4427538"/>
          <p14:tracePt t="66217" x="4775200" y="4419600"/>
          <p14:tracePt t="66249" x="4783138" y="4419600"/>
          <p14:tracePt t="66290" x="4791075" y="4419600"/>
          <p14:tracePt t="66306" x="4808538" y="4419600"/>
          <p14:tracePt t="66314" x="4818063" y="4419600"/>
          <p14:tracePt t="66426" x="4818063" y="4402138"/>
          <p14:tracePt t="66434" x="4818063" y="4394200"/>
          <p14:tracePt t="66443" x="4800600" y="4368800"/>
          <p14:tracePt t="66449" x="4775200" y="4333875"/>
          <p14:tracePt t="66458" x="4732338" y="4291013"/>
          <p14:tracePt t="66466" x="4673600" y="4240213"/>
          <p14:tracePt t="66474" x="4605338" y="4197350"/>
          <p14:tracePt t="66482" x="4511675" y="4130675"/>
          <p14:tracePt t="66490" x="4435475" y="4079875"/>
          <p14:tracePt t="66497" x="4349750" y="4037013"/>
          <p14:tracePt t="66506" x="4281488" y="4019550"/>
          <p14:tracePt t="66513" x="4197350" y="3994150"/>
          <p14:tracePt t="66521" x="4137025" y="3986213"/>
          <p14:tracePt t="66529" x="4103688" y="3986213"/>
          <p14:tracePt t="66537" x="4086225" y="3986213"/>
          <p14:tracePt t="66546" x="4070350" y="3986213"/>
          <p14:tracePt t="66585" x="4060825" y="3986213"/>
          <p14:tracePt t="66693" x="4052888" y="3986213"/>
          <p14:tracePt t="66696" x="4035425" y="3994150"/>
          <p14:tracePt t="66704" x="4002088" y="4002088"/>
          <p14:tracePt t="66713" x="3959225" y="4002088"/>
          <p14:tracePt t="66720" x="3908425" y="4002088"/>
          <p14:tracePt t="66728" x="3832225" y="4002088"/>
          <p14:tracePt t="66737" x="3763963" y="4002088"/>
          <p14:tracePt t="66745" x="3703638" y="4002088"/>
          <p14:tracePt t="66753" x="3619500" y="4002088"/>
          <p14:tracePt t="66761" x="3576638" y="4002088"/>
          <p14:tracePt t="66769" x="3517900" y="4002088"/>
          <p14:tracePt t="66777" x="3482975" y="4011613"/>
          <p14:tracePt t="66785" x="3449638" y="4011613"/>
          <p14:tracePt t="66793" x="3441700" y="4019550"/>
          <p14:tracePt t="66801" x="3424238" y="4037013"/>
          <p14:tracePt t="66809" x="3414713" y="4037013"/>
          <p14:tracePt t="66833" x="3424238" y="4037013"/>
          <p14:tracePt t="66842" x="3449638" y="4027488"/>
          <p14:tracePt t="66849" x="3457575" y="4019550"/>
          <p14:tracePt t="67075" x="3467100" y="4019550"/>
          <p14:tracePt t="67091" x="3475038" y="4019550"/>
          <p14:tracePt t="67097" x="3492500" y="4019550"/>
          <p14:tracePt t="67107" x="3492500" y="4027488"/>
          <p14:tracePt t="67112" x="3500438" y="4037013"/>
          <p14:tracePt t="67128" x="3500438" y="4052888"/>
          <p14:tracePt t="67136" x="3500438" y="4070350"/>
          <p14:tracePt t="67144" x="3482975" y="4079875"/>
          <p14:tracePt t="67153" x="3482975" y="4087813"/>
          <p14:tracePt t="67160" x="3457575" y="4105275"/>
          <p14:tracePt t="67169" x="3449638" y="4113213"/>
          <p14:tracePt t="67176" x="3441700" y="4113213"/>
          <p14:tracePt t="67185" x="3414713" y="4130675"/>
          <p14:tracePt t="67249" x="3406775" y="4130675"/>
          <p14:tracePt t="67538" x="3406775" y="4121150"/>
          <p14:tracePt t="67554" x="3406775" y="4113213"/>
          <p14:tracePt t="67562" x="3406775" y="4105275"/>
          <p14:tracePt t="67576" x="3414713" y="4095750"/>
          <p14:tracePt t="67584" x="3414713" y="4087813"/>
          <p14:tracePt t="67592" x="3424238" y="4087813"/>
          <p14:tracePt t="67601" x="3432175" y="4062413"/>
          <p14:tracePt t="67609" x="3449638" y="4037013"/>
          <p14:tracePt t="67618" x="3467100" y="4019550"/>
          <p14:tracePt t="67625" x="3482975" y="3994150"/>
          <p14:tracePt t="67633" x="3492500" y="3968750"/>
          <p14:tracePt t="67641" x="3500438" y="3951288"/>
          <p14:tracePt t="67649" x="3508375" y="3935413"/>
          <p14:tracePt t="67656" x="3508375" y="3925888"/>
          <p14:tracePt t="67665" x="3525838" y="3908425"/>
          <p14:tracePt t="67673" x="3533775" y="3900488"/>
          <p14:tracePt t="67680" x="3543300" y="3900488"/>
          <p14:tracePt t="67689" x="3551238" y="3900488"/>
          <p14:tracePt t="67696" x="3568700" y="3892550"/>
          <p14:tracePt t="67754" x="3568700" y="3900488"/>
          <p14:tracePt t="67762" x="3576638" y="3908425"/>
          <p14:tracePt t="67776" x="3586163" y="3925888"/>
          <p14:tracePt t="67785" x="3586163" y="3943350"/>
          <p14:tracePt t="67930" x="3576638" y="3943350"/>
          <p14:tracePt t="67938" x="3568700" y="3943350"/>
          <p14:tracePt t="67946" x="3551238" y="3943350"/>
          <p14:tracePt t="67954" x="3533775" y="3951288"/>
          <p14:tracePt t="67970" x="3508375" y="3960813"/>
          <p14:tracePt t="67979" x="3500438" y="3968750"/>
          <p14:tracePt t="67985" x="3482975" y="3968750"/>
          <p14:tracePt t="67993" x="3457575" y="3968750"/>
          <p14:tracePt t="68010" x="3449638" y="3968750"/>
          <p14:tracePt t="68049" x="3449638" y="3976688"/>
          <p14:tracePt t="68065" x="3457575" y="3986213"/>
          <p14:tracePt t="68073" x="3467100" y="3994150"/>
          <p14:tracePt t="68080" x="3482975" y="4011613"/>
          <p14:tracePt t="68091" x="3492500" y="4019550"/>
          <p14:tracePt t="68098" x="3517900" y="4037013"/>
          <p14:tracePt t="68107" x="3559175" y="4052888"/>
          <p14:tracePt t="68115" x="3611563" y="4079875"/>
          <p14:tracePt t="68123" x="3662363" y="4095750"/>
          <p14:tracePt t="68130" x="3721100" y="4105275"/>
          <p14:tracePt t="68138" x="3814763" y="4113213"/>
          <p14:tracePt t="68146" x="3916363" y="4130675"/>
          <p14:tracePt t="68154" x="4044950" y="4146550"/>
          <p14:tracePt t="68162" x="4146550" y="4171950"/>
          <p14:tracePt t="68170" x="4265613" y="4181475"/>
          <p14:tracePt t="68178" x="4418013" y="4181475"/>
          <p14:tracePt t="68185" x="4503738" y="4181475"/>
          <p14:tracePt t="68193" x="4613275" y="4181475"/>
          <p14:tracePt t="68201" x="4689475" y="4181475"/>
          <p14:tracePt t="68209" x="4775200" y="4181475"/>
          <p14:tracePt t="68217" x="4818063" y="4181475"/>
          <p14:tracePt t="68225" x="4876800" y="4181475"/>
          <p14:tracePt t="68233" x="4919663" y="4181475"/>
          <p14:tracePt t="68242" x="4962525" y="4181475"/>
          <p14:tracePt t="68249" x="5029200" y="4181475"/>
          <p14:tracePt t="68257" x="5089525" y="4181475"/>
          <p14:tracePt t="68265" x="5191125" y="4164013"/>
          <p14:tracePt t="68273" x="5284788" y="4146550"/>
          <p14:tracePt t="68281" x="5353050" y="4138613"/>
          <p14:tracePt t="68289" x="5403850" y="4121150"/>
          <p14:tracePt t="68297" x="5446713" y="4105275"/>
          <p14:tracePt t="68305" x="5472113" y="4095750"/>
          <p14:tracePt t="68313" x="5487988" y="4079875"/>
          <p14:tracePt t="68321" x="5505450" y="4070350"/>
          <p14:tracePt t="68337" x="5513388" y="4052888"/>
          <p14:tracePt t="68345" x="5522913" y="4052888"/>
          <p14:tracePt t="68353" x="5538788" y="4044950"/>
          <p14:tracePt t="68361" x="5556250" y="4037013"/>
          <p14:tracePt t="68369" x="5565775" y="4027488"/>
          <p14:tracePt t="68378" x="5581650" y="4027488"/>
          <p14:tracePt t="68385" x="5599113" y="4019550"/>
          <p14:tracePt t="68393" x="5607050" y="4002088"/>
          <p14:tracePt t="68401" x="5624513" y="3986213"/>
          <p14:tracePt t="68409" x="5624513" y="3976688"/>
          <p14:tracePt t="68417" x="5624513" y="3968750"/>
          <p14:tracePt t="68425" x="5624513" y="3960813"/>
          <p14:tracePt t="68442" x="5616575" y="3943350"/>
          <p14:tracePt t="68449" x="5581650" y="3908425"/>
          <p14:tracePt t="68457" x="5530850" y="3892550"/>
          <p14:tracePt t="68465" x="5411788" y="3849688"/>
          <p14:tracePt t="68474" x="5327650" y="3824288"/>
          <p14:tracePt t="68481" x="5191125" y="3773488"/>
          <p14:tracePt t="68490" x="5080000" y="3722688"/>
          <p14:tracePt t="68497" x="4919663" y="3705225"/>
          <p14:tracePt t="68505" x="4791075" y="3679825"/>
          <p14:tracePt t="68513" x="4664075" y="3662363"/>
          <p14:tracePt t="68521" x="4503738" y="3646488"/>
          <p14:tracePt t="68529" x="4375150" y="3646488"/>
          <p14:tracePt t="68537" x="4222750" y="3646488"/>
          <p14:tracePt t="68545" x="4111625" y="3646488"/>
          <p14:tracePt t="68553" x="4010025" y="3646488"/>
          <p14:tracePt t="68561" x="3941763" y="3646488"/>
          <p14:tracePt t="68569" x="3840163" y="3654425"/>
          <p14:tracePt t="68577" x="3781425" y="3662363"/>
          <p14:tracePt t="68585" x="3721100" y="3679825"/>
          <p14:tracePt t="68593" x="3695700" y="3679825"/>
          <p14:tracePt t="68601" x="3670300" y="3697288"/>
          <p14:tracePt t="68610" x="3636963" y="3713163"/>
          <p14:tracePt t="68625" x="3619500" y="3722688"/>
          <p14:tracePt t="68633" x="3611563" y="3738563"/>
          <p14:tracePt t="68642" x="3594100" y="3748088"/>
          <p14:tracePt t="68649" x="3568700" y="3773488"/>
          <p14:tracePt t="68657" x="3543300" y="3798888"/>
          <p14:tracePt t="68665" x="3508375" y="3832225"/>
          <p14:tracePt t="68674" x="3482975" y="3857625"/>
          <p14:tracePt t="68681" x="3441700" y="3892550"/>
          <p14:tracePt t="68690" x="3432175" y="3917950"/>
          <p14:tracePt t="68696" x="3406775" y="3935413"/>
          <p14:tracePt t="68705" x="3406775" y="3943350"/>
          <p14:tracePt t="68801" x="3398838" y="3951288"/>
          <p14:tracePt t="69026" x="3389313" y="3951288"/>
          <p14:tracePt t="69042" x="3373438" y="3951288"/>
          <p14:tracePt t="69050" x="3363913" y="3951288"/>
          <p14:tracePt t="69058" x="3355975" y="3951288"/>
          <p14:tracePt t="69065" x="3330575" y="3951288"/>
          <p14:tracePt t="69078" x="3262313" y="3951288"/>
          <p14:tracePt t="69081" x="3178175" y="3951288"/>
          <p14:tracePt t="69091" x="3049588" y="3951288"/>
          <p14:tracePt t="69097" x="2955925" y="3943350"/>
          <p14:tracePt t="69107" x="2820988" y="3917950"/>
          <p14:tracePt t="69114" x="2641600" y="3892550"/>
          <p14:tracePt t="69123" x="2514600" y="3867150"/>
          <p14:tracePt t="69130" x="2362200" y="3867150"/>
          <p14:tracePt t="69138" x="2235200" y="3867150"/>
          <p14:tracePt t="69146" x="2065338" y="3867150"/>
          <p14:tracePt t="69154" x="1946275" y="3867150"/>
          <p14:tracePt t="69162" x="1809750" y="3841750"/>
          <p14:tracePt t="69169" x="1708150" y="3824288"/>
          <p14:tracePt t="69178" x="1606550" y="3806825"/>
          <p14:tracePt t="69185" x="1487488" y="3763963"/>
          <p14:tracePt t="69194" x="1435100" y="3730625"/>
          <p14:tracePt t="69202" x="1384300" y="3679825"/>
          <p14:tracePt t="69210" x="1384300" y="3646488"/>
          <p14:tracePt t="69218" x="1384300" y="3629025"/>
          <p14:tracePt t="69226" x="1419225" y="3619500"/>
          <p14:tracePt t="69234" x="1452563" y="3619500"/>
          <p14:tracePt t="69434" x="1452563" y="3629025"/>
          <p14:tracePt t="69442" x="1470025" y="3629025"/>
          <p14:tracePt t="69450" x="1477963" y="3629025"/>
          <p14:tracePt t="69459" x="1503363" y="3629025"/>
          <p14:tracePt t="69466" x="1520825" y="3629025"/>
          <p14:tracePt t="69478" x="1538288" y="3629025"/>
          <p14:tracePt t="69481" x="1563688" y="3629025"/>
          <p14:tracePt t="69491" x="1579563" y="3629025"/>
          <p14:tracePt t="69506" x="1597025" y="3619500"/>
          <p14:tracePt t="69514" x="1606550" y="3619500"/>
          <p14:tracePt t="69530" x="1622425" y="3611563"/>
          <p14:tracePt t="69538" x="1647825" y="3611563"/>
          <p14:tracePt t="69546" x="1682750" y="3603625"/>
          <p14:tracePt t="69554" x="1716088" y="3586163"/>
          <p14:tracePt t="69562" x="1758950" y="3568700"/>
          <p14:tracePt t="69570" x="1801813" y="3543300"/>
          <p14:tracePt t="69578" x="1843088" y="3509963"/>
          <p14:tracePt t="69585" x="1868488" y="3484563"/>
          <p14:tracePt t="69595" x="1911350" y="3459163"/>
          <p14:tracePt t="69602" x="1928813" y="3424238"/>
          <p14:tracePt t="69611" x="1946275" y="3398838"/>
          <p14:tracePt t="69618" x="1954213" y="3365500"/>
          <p14:tracePt t="69628" x="1954213" y="3340100"/>
          <p14:tracePt t="69634" x="1954213" y="3297238"/>
          <p14:tracePt t="69644" x="1954213" y="3271838"/>
          <p14:tracePt t="69650" x="1936750" y="3238500"/>
          <p14:tracePt t="69658" x="1920875" y="3221038"/>
          <p14:tracePt t="69666" x="1903413" y="3203575"/>
          <p14:tracePt t="69677" x="1878013" y="3195638"/>
          <p14:tracePt t="69682" x="1868488" y="3186113"/>
          <p14:tracePt t="69692" x="1835150" y="3178175"/>
          <p14:tracePt t="69702" x="1809750" y="3170238"/>
          <p14:tracePt t="69706" x="1776413" y="3160713"/>
          <p14:tracePt t="69713" x="1733550" y="3160713"/>
          <p14:tracePt t="69721" x="1673225" y="3152775"/>
          <p14:tracePt t="69729" x="1614488" y="3144838"/>
          <p14:tracePt t="69737" x="1571625" y="3127375"/>
          <p14:tracePt t="69745" x="1477963" y="3109913"/>
          <p14:tracePt t="69753" x="1435100" y="3101975"/>
          <p14:tracePt t="69761" x="1358900" y="3094038"/>
          <p14:tracePt t="69769" x="1317625" y="3094038"/>
          <p14:tracePt t="69777" x="1257300" y="3076575"/>
          <p14:tracePt t="69785" x="1223963" y="3067050"/>
          <p14:tracePt t="69794" x="1181100" y="3067050"/>
          <p14:tracePt t="69801" x="1147763" y="3059113"/>
          <p14:tracePt t="69809" x="1112838" y="3059113"/>
          <p14:tracePt t="69817" x="1087438" y="3059113"/>
          <p14:tracePt t="69825" x="1062038" y="3059113"/>
          <p14:tracePt t="69833" x="1044575" y="3059113"/>
          <p14:tracePt t="69842" x="1036638" y="3059113"/>
          <p14:tracePt t="69849" x="1019175" y="3059113"/>
          <p14:tracePt t="69858" x="1011238" y="3059113"/>
          <p14:tracePt t="69865" x="1003300" y="3059113"/>
          <p14:tracePt t="69875" x="993775" y="3059113"/>
          <p14:tracePt t="69881" x="985838" y="3059113"/>
          <p14:tracePt t="69890" x="968375" y="3059113"/>
          <p14:tracePt t="69897" x="960438" y="3059113"/>
          <p14:tracePt t="69906" x="950913" y="3059113"/>
          <p14:tracePt t="69913" x="942975" y="3059113"/>
          <p14:tracePt t="69921" x="925513" y="3059113"/>
          <p14:tracePt t="69929" x="900113" y="3059113"/>
          <p14:tracePt t="69937" x="866775" y="3067050"/>
          <p14:tracePt t="69945" x="849313" y="3076575"/>
          <p14:tracePt t="69953" x="798513" y="3084513"/>
          <p14:tracePt t="69961" x="781050" y="3084513"/>
          <p14:tracePt t="69969" x="747713" y="3094038"/>
          <p14:tracePt t="69977" x="730250" y="3101975"/>
          <p14:tracePt t="69993" x="722313" y="3109913"/>
          <p14:tracePt t="70017" x="722313" y="3119438"/>
          <p14:tracePt t="70025" x="722313" y="3127375"/>
          <p14:tracePt t="70033" x="722313" y="3135313"/>
          <p14:tracePt t="70042" x="722313" y="3152775"/>
          <p14:tracePt t="70049" x="722313" y="3178175"/>
          <p14:tracePt t="70058" x="722313" y="3195638"/>
          <p14:tracePt t="70065" x="722313" y="3228975"/>
          <p14:tracePt t="70075" x="722313" y="3263900"/>
          <p14:tracePt t="70081" x="722313" y="3297238"/>
          <p14:tracePt t="70090" x="722313" y="3314700"/>
          <p14:tracePt t="70097" x="714375" y="3340100"/>
          <p14:tracePt t="70105" x="714375" y="3365500"/>
          <p14:tracePt t="70113" x="714375" y="3373438"/>
          <p14:tracePt t="70121" x="704850" y="3398838"/>
          <p14:tracePt t="70129" x="704850" y="3408363"/>
          <p14:tracePt t="70137" x="704850" y="3416300"/>
          <p14:tracePt t="70145" x="704850" y="3433763"/>
          <p14:tracePt t="70153" x="704850" y="3449638"/>
          <p14:tracePt t="70161" x="704850" y="3459163"/>
          <p14:tracePt t="70169" x="704850" y="3484563"/>
          <p14:tracePt t="70177" x="704850" y="3509963"/>
          <p14:tracePt t="70185" x="722313" y="3543300"/>
          <p14:tracePt t="70193" x="739775" y="3560763"/>
          <p14:tracePt t="70201" x="747713" y="3586163"/>
          <p14:tracePt t="70209" x="755650" y="3619500"/>
          <p14:tracePt t="70217" x="755650" y="3629025"/>
          <p14:tracePt t="70225" x="755650" y="3636963"/>
          <p14:tracePt t="70233" x="765175" y="3646488"/>
          <p14:tracePt t="70242" x="773113" y="3654425"/>
          <p14:tracePt t="70256" x="773113" y="3671888"/>
          <p14:tracePt t="70265" x="773113" y="3679825"/>
          <p14:tracePt t="70281" x="773113" y="3697288"/>
          <p14:tracePt t="70289" x="773113" y="3705225"/>
          <p14:tracePt t="70297" x="773113" y="3713163"/>
          <p14:tracePt t="70305" x="781050" y="3730625"/>
          <p14:tracePt t="70313" x="781050" y="3748088"/>
          <p14:tracePt t="70321" x="798513" y="3763963"/>
          <p14:tracePt t="70329" x="798513" y="3790950"/>
          <p14:tracePt t="70337" x="815975" y="3798888"/>
          <p14:tracePt t="70345" x="831850" y="3824288"/>
          <p14:tracePt t="70353" x="841375" y="3849688"/>
          <p14:tracePt t="70361" x="858838" y="3857625"/>
          <p14:tracePt t="70369" x="884238" y="3875088"/>
          <p14:tracePt t="70378" x="909638" y="3892550"/>
          <p14:tracePt t="70385" x="935038" y="3892550"/>
          <p14:tracePt t="70393" x="960438" y="3900488"/>
          <p14:tracePt t="70401" x="985838" y="3908425"/>
          <p14:tracePt t="70409" x="1019175" y="3925888"/>
          <p14:tracePt t="70417" x="1044575" y="3943350"/>
          <p14:tracePt t="70425" x="1095375" y="3951288"/>
          <p14:tracePt t="70433" x="1147763" y="3951288"/>
          <p14:tracePt t="70442" x="1189038" y="3960813"/>
          <p14:tracePt t="70449" x="1231900" y="3968750"/>
          <p14:tracePt t="70458" x="1282700" y="3976688"/>
          <p14:tracePt t="70465" x="1325563" y="3976688"/>
          <p14:tracePt t="70475" x="1358900" y="3986213"/>
          <p14:tracePt t="70481" x="1401763" y="4002088"/>
          <p14:tracePt t="70490" x="1435100" y="4002088"/>
          <p14:tracePt t="70497" x="1503363" y="4002088"/>
          <p14:tracePt t="70505" x="1546225" y="4002088"/>
          <p14:tracePt t="70513" x="1606550" y="4002088"/>
          <p14:tracePt t="70521" x="1665288" y="3986213"/>
          <p14:tracePt t="70529" x="1708150" y="3986213"/>
          <p14:tracePt t="70537" x="1758950" y="3968750"/>
          <p14:tracePt t="70545" x="1792288" y="3951288"/>
          <p14:tracePt t="70553" x="1817688" y="3935413"/>
          <p14:tracePt t="70561" x="1835150" y="3925888"/>
          <p14:tracePt t="70569" x="1860550" y="3908425"/>
          <p14:tracePt t="70578" x="1885950" y="3892550"/>
          <p14:tracePt t="70585" x="1911350" y="3883025"/>
          <p14:tracePt t="70594" x="1920875" y="3883025"/>
          <p14:tracePt t="70601" x="1936750" y="3875088"/>
          <p14:tracePt t="70609" x="1954213" y="3867150"/>
          <p14:tracePt t="70625" x="1971675" y="3857625"/>
          <p14:tracePt t="70633" x="1979613" y="3841750"/>
          <p14:tracePt t="70642" x="1987550" y="3841750"/>
          <p14:tracePt t="70649" x="1997075" y="3832225"/>
          <p14:tracePt t="70658" x="2012950" y="3824288"/>
          <p14:tracePt t="70665" x="2030413" y="3806825"/>
          <p14:tracePt t="70675" x="2030413" y="3798888"/>
          <p14:tracePt t="70681" x="2047875" y="3798888"/>
          <p14:tracePt t="70704" x="2055813" y="3798888"/>
          <p14:tracePt t="70713" x="2055813" y="3790950"/>
          <p14:tracePt t="70745" x="2065338" y="3790950"/>
          <p14:tracePt t="70761" x="2073275" y="3781425"/>
          <p14:tracePt t="70769" x="2081213" y="3781425"/>
          <p14:tracePt t="70785" x="2090738" y="3781425"/>
          <p14:tracePt t="70793" x="2098675" y="3773488"/>
          <p14:tracePt t="70802" x="2106613" y="3773488"/>
          <p14:tracePt t="70809" x="2116138" y="3763963"/>
          <p14:tracePt t="70817" x="2124075" y="3763963"/>
          <p14:tracePt t="71346" x="2124075" y="3756025"/>
          <p14:tracePt t="71354" x="2106613" y="3756025"/>
          <p14:tracePt t="71360" x="2055813" y="3730625"/>
          <p14:tracePt t="71369" x="2012950" y="3713163"/>
          <p14:tracePt t="71376" x="1997075" y="3697288"/>
          <p14:tracePt t="71384" x="1979613" y="3687763"/>
          <p14:tracePt t="71392" x="1962150" y="3671888"/>
          <p14:tracePt t="71401" x="1946275" y="3646488"/>
          <p14:tracePt t="71408" x="1920875" y="3619500"/>
          <p14:tracePt t="71417" x="1893888" y="3586163"/>
          <p14:tracePt t="71425" x="1878013" y="3560763"/>
          <p14:tracePt t="71434" x="1852613" y="3527425"/>
          <p14:tracePt t="71443" x="1835150" y="3502025"/>
          <p14:tracePt t="71449" x="1809750" y="3467100"/>
          <p14:tracePt t="71459" x="1792288" y="3433763"/>
          <p14:tracePt t="71465" x="1776413" y="3416300"/>
          <p14:tracePt t="71476" x="1758950" y="3390900"/>
          <p14:tracePt t="71481" x="1758950" y="3373438"/>
          <p14:tracePt t="71489" x="1741488" y="3340100"/>
          <p14:tracePt t="71497" x="1733550" y="3322638"/>
          <p14:tracePt t="71506" x="1724025" y="3297238"/>
          <p14:tracePt t="71513" x="1716088" y="3279775"/>
          <p14:tracePt t="71521" x="1698625" y="3263900"/>
          <p14:tracePt t="71529" x="1682750" y="3254375"/>
          <p14:tracePt t="71537" x="1673225" y="3228975"/>
          <p14:tracePt t="71545" x="1631950" y="3203575"/>
          <p14:tracePt t="71553" x="1597025" y="3178175"/>
          <p14:tracePt t="71562" x="1546225" y="3144838"/>
          <p14:tracePt t="71569" x="1520825" y="3119438"/>
          <p14:tracePt t="71577" x="1470025" y="3094038"/>
          <p14:tracePt t="71585" x="1452563" y="3076575"/>
          <p14:tracePt t="71593" x="1419225" y="3059113"/>
          <p14:tracePt t="71601" x="1393825" y="3051175"/>
          <p14:tracePt t="71610" x="1358900" y="3041650"/>
          <p14:tracePt t="71618" x="1325563" y="3033713"/>
          <p14:tracePt t="71626" x="1317625" y="3025775"/>
          <p14:tracePt t="71633" x="1274763" y="3025775"/>
          <p14:tracePt t="71642" x="1249363" y="3016250"/>
          <p14:tracePt t="71650" x="1214438" y="3016250"/>
          <p14:tracePt t="71657" x="1181100" y="3016250"/>
          <p14:tracePt t="71665" x="1138238" y="3016250"/>
          <p14:tracePt t="71674" x="1112838" y="3016250"/>
          <p14:tracePt t="71681" x="1087438" y="3016250"/>
          <p14:tracePt t="71690" x="1054100" y="3016250"/>
          <p14:tracePt t="71697" x="1019175" y="3016250"/>
          <p14:tracePt t="71707" x="1003300" y="3025775"/>
          <p14:tracePt t="71713" x="968375" y="3041650"/>
          <p14:tracePt t="71721" x="935038" y="3059113"/>
          <p14:tracePt t="71729" x="909638" y="3059113"/>
          <p14:tracePt t="71737" x="874713" y="3076575"/>
          <p14:tracePt t="71745" x="849313" y="3076575"/>
          <p14:tracePt t="71753" x="823913" y="3084513"/>
          <p14:tracePt t="71761" x="798513" y="3084513"/>
          <p14:tracePt t="71769" x="781050" y="3094038"/>
          <p14:tracePt t="71778" x="755650" y="3101975"/>
          <p14:tracePt t="71785" x="730250" y="3119438"/>
          <p14:tracePt t="71793" x="714375" y="3135313"/>
          <p14:tracePt t="71801" x="704850" y="3135313"/>
          <p14:tracePt t="71809" x="688975" y="3152775"/>
          <p14:tracePt t="71817" x="688975" y="3160713"/>
          <p14:tracePt t="71826" x="679450" y="3178175"/>
          <p14:tracePt t="71833" x="671513" y="3203575"/>
          <p14:tracePt t="71843" x="661988" y="3221038"/>
          <p14:tracePt t="71849" x="654050" y="3238500"/>
          <p14:tracePt t="71859" x="646113" y="3263900"/>
          <p14:tracePt t="71865" x="636588" y="3279775"/>
          <p14:tracePt t="71876" x="620713" y="3305175"/>
          <p14:tracePt t="71881" x="603250" y="3322638"/>
          <p14:tracePt t="71890" x="595313" y="3340100"/>
          <p14:tracePt t="71897" x="577850" y="3355975"/>
          <p14:tracePt t="71905" x="560388" y="3382963"/>
          <p14:tracePt t="71913" x="552450" y="3408363"/>
          <p14:tracePt t="71921" x="544513" y="3424238"/>
          <p14:tracePt t="71929" x="544513" y="3449638"/>
          <p14:tracePt t="71937" x="527050" y="3484563"/>
          <p14:tracePt t="71945" x="527050" y="3509963"/>
          <p14:tracePt t="71953" x="527050" y="3527425"/>
          <p14:tracePt t="71961" x="517525" y="3543300"/>
          <p14:tracePt t="71969" x="517525" y="3560763"/>
          <p14:tracePt t="71993" x="517525" y="3568700"/>
          <p14:tracePt t="72001" x="517525" y="3578225"/>
          <p14:tracePt t="72010" x="517525" y="3586163"/>
          <p14:tracePt t="72017" x="517525" y="3594100"/>
          <p14:tracePt t="72026" x="527050" y="3611563"/>
          <p14:tracePt t="72033" x="552450" y="3636963"/>
          <p14:tracePt t="72043" x="560388" y="3646488"/>
          <p14:tracePt t="72049" x="569913" y="3671888"/>
          <p14:tracePt t="72059" x="577850" y="3697288"/>
          <p14:tracePt t="72065" x="585788" y="3722688"/>
          <p14:tracePt t="72081" x="595313" y="3730625"/>
          <p14:tracePt t="72170" x="595313" y="3738563"/>
          <p14:tracePt t="72178" x="595313" y="3748088"/>
          <p14:tracePt t="72186" x="603250" y="3748088"/>
          <p14:tracePt t="72196" x="611188" y="3773488"/>
          <p14:tracePt t="72210" x="628650" y="3790950"/>
          <p14:tracePt t="72218" x="636588" y="3806825"/>
          <p14:tracePt t="72229" x="646113" y="3816350"/>
          <p14:tracePt t="72234" x="661988" y="3832225"/>
          <p14:tracePt t="72244" x="688975" y="3841750"/>
          <p14:tracePt t="72250" x="714375" y="3857625"/>
          <p14:tracePt t="72261" x="730250" y="3867150"/>
          <p14:tracePt t="72265" x="747713" y="3875088"/>
          <p14:tracePt t="72278" x="765175" y="3883025"/>
          <p14:tracePt t="72282" x="798513" y="3892550"/>
          <p14:tracePt t="72291" x="815975" y="3900488"/>
          <p14:tracePt t="72297" x="849313" y="3917950"/>
          <p14:tracePt t="72306" x="874713" y="3925888"/>
          <p14:tracePt t="72313" x="917575" y="3943350"/>
          <p14:tracePt t="72321" x="976313" y="3968750"/>
          <p14:tracePt t="72329" x="1019175" y="3986213"/>
          <p14:tracePt t="72337" x="1087438" y="4019550"/>
          <p14:tracePt t="72345" x="1120775" y="4027488"/>
          <p14:tracePt t="72353" x="1163638" y="4044950"/>
          <p14:tracePt t="72361" x="1189038" y="4052888"/>
          <p14:tracePt t="72369" x="1214438" y="4062413"/>
          <p14:tracePt t="72378" x="1223963" y="4062413"/>
          <p14:tracePt t="72385" x="1223963" y="4070350"/>
          <p14:tracePt t="72393" x="1231900" y="4070350"/>
          <p14:tracePt t="72401" x="1239838" y="4070350"/>
          <p14:tracePt t="72417" x="1249363" y="4070350"/>
          <p14:tracePt t="72426" x="1265238" y="4070350"/>
          <p14:tracePt t="72433" x="1282700" y="4070350"/>
          <p14:tracePt t="72443" x="1300163" y="4062413"/>
          <p14:tracePt t="72449" x="1317625" y="4052888"/>
          <p14:tracePt t="72459" x="1325563" y="4044950"/>
          <p14:tracePt t="72465" x="1343025" y="4037013"/>
          <p14:tracePt t="72474" x="1358900" y="4027488"/>
          <p14:tracePt t="72481" x="1368425" y="4027488"/>
          <p14:tracePt t="72491" x="1376363" y="4027488"/>
          <p14:tracePt t="72497" x="1384300" y="4027488"/>
          <p14:tracePt t="72505" x="1384300" y="4019550"/>
          <p14:tracePt t="72513" x="1401763" y="4011613"/>
          <p14:tracePt t="72521" x="1419225" y="4011613"/>
          <p14:tracePt t="72529" x="1435100" y="4011613"/>
          <p14:tracePt t="72537" x="1462088" y="4002088"/>
          <p14:tracePt t="72545" x="1477963" y="4002088"/>
          <p14:tracePt t="72553" x="1512888" y="3986213"/>
          <p14:tracePt t="72561" x="1538288" y="3976688"/>
          <p14:tracePt t="72569" x="1579563" y="3960813"/>
          <p14:tracePt t="72577" x="1589088" y="3935413"/>
          <p14:tracePt t="72585" x="1639888" y="3908425"/>
          <p14:tracePt t="72593" x="1657350" y="3892550"/>
          <p14:tracePt t="72601" x="1673225" y="3875088"/>
          <p14:tracePt t="72609" x="1682750" y="3849688"/>
          <p14:tracePt t="72617" x="1690688" y="3841750"/>
          <p14:tracePt t="72625" x="1690688" y="3832225"/>
          <p14:tracePt t="72633" x="1690688" y="3824288"/>
          <p14:tracePt t="72641" x="1698625" y="3806825"/>
          <p14:tracePt t="72658" x="1708150" y="3798888"/>
          <p14:tracePt t="72664" x="1708150" y="3790950"/>
          <p14:tracePt t="72674" x="1708150" y="3781425"/>
          <p14:tracePt t="72693" x="1708150" y="3773488"/>
          <p14:tracePt t="72696" x="1708150" y="3748088"/>
          <p14:tracePt t="72707" x="1708150" y="3738563"/>
          <p14:tracePt t="72713" x="1708150" y="3713163"/>
          <p14:tracePt t="72723" x="1708150" y="3697288"/>
          <p14:tracePt t="72730" x="1708150" y="3679825"/>
          <p14:tracePt t="72738" x="1698625" y="3662363"/>
          <p14:tracePt t="72747" x="1690688" y="3646488"/>
          <p14:tracePt t="72753" x="1682750" y="3636963"/>
          <p14:tracePt t="72762" x="1673225" y="3629025"/>
          <p14:tracePt t="72770" x="1673225" y="3619500"/>
          <p14:tracePt t="72785" x="1673225" y="3611563"/>
          <p14:tracePt t="72800" x="1673225" y="3603625"/>
          <p14:tracePt t="72808" x="1673225" y="3594100"/>
          <p14:tracePt t="72817" x="1673225" y="3586163"/>
          <p14:tracePt t="72833" x="1673225" y="3568700"/>
          <p14:tracePt t="72841" x="1673225" y="3560763"/>
          <p14:tracePt t="72849" x="1673225" y="3552825"/>
          <p14:tracePt t="72858" x="1673225" y="3535363"/>
          <p14:tracePt t="72865" x="1673225" y="3527425"/>
          <p14:tracePt t="72874" x="1673225" y="3502025"/>
          <p14:tracePt t="72881" x="1673225" y="3492500"/>
          <p14:tracePt t="72897" x="1665288" y="3484563"/>
          <p14:tracePt t="72913" x="1657350" y="3467100"/>
          <p14:tracePt t="72921" x="1647825" y="3467100"/>
          <p14:tracePt t="72929" x="1639888" y="3459163"/>
          <p14:tracePt t="72945" x="1631950" y="3441700"/>
          <p14:tracePt t="72952" x="1622425" y="3433763"/>
          <p14:tracePt t="72960" x="1614488" y="3433763"/>
          <p14:tracePt t="72969" x="1606550" y="3416300"/>
          <p14:tracePt t="72976" x="1606550" y="3408363"/>
          <p14:tracePt t="72986" x="1589088" y="3398838"/>
          <p14:tracePt t="72995" x="1579563" y="3390900"/>
          <p14:tracePt t="73011" x="1579563" y="3365500"/>
          <p14:tracePt t="73018" x="1571625" y="3355975"/>
          <p14:tracePt t="73027" x="1563688" y="3348038"/>
          <p14:tracePt t="73045" x="1554163" y="3348038"/>
          <p14:tracePt t="73050" x="1538288" y="3348038"/>
          <p14:tracePt t="73061" x="1538288" y="3340100"/>
          <p14:tracePt t="73066" x="1528763" y="3340100"/>
          <p14:tracePt t="73073" x="1520825" y="3330575"/>
          <p14:tracePt t="73080" x="1512888" y="3330575"/>
          <p14:tracePt t="73097" x="1512888" y="3322638"/>
          <p14:tracePt t="73105" x="1495425" y="3314700"/>
          <p14:tracePt t="73113" x="1487488" y="3297238"/>
          <p14:tracePt t="73121" x="1477963" y="3289300"/>
          <p14:tracePt t="73128" x="1470025" y="3279775"/>
          <p14:tracePt t="73137" x="1452563" y="3263900"/>
          <p14:tracePt t="73145" x="1444625" y="3246438"/>
          <p14:tracePt t="73152" x="1427163" y="3238500"/>
          <p14:tracePt t="73160" x="1419225" y="3238500"/>
          <p14:tracePt t="73168" x="1409700" y="3228975"/>
          <p14:tracePt t="73176" x="1393825" y="3221038"/>
          <p14:tracePt t="73185" x="1393825" y="3211513"/>
          <p14:tracePt t="73192" x="1384300" y="3211513"/>
          <p14:tracePt t="73201" x="1368425" y="3211513"/>
          <p14:tracePt t="73217" x="1358900" y="3203575"/>
          <p14:tracePt t="73233" x="1350963" y="3203575"/>
          <p14:tracePt t="73243" x="1350963" y="3195638"/>
          <p14:tracePt t="73261" x="1333500" y="3195638"/>
          <p14:tracePt t="73278" x="1325563" y="3195638"/>
          <p14:tracePt t="73280" x="1325563" y="3186113"/>
          <p14:tracePt t="73297" x="1317625" y="3178175"/>
          <p14:tracePt t="73304" x="1308100" y="3170238"/>
          <p14:tracePt t="73321" x="1300163" y="3170238"/>
          <p14:tracePt t="73329" x="1290638" y="3160713"/>
          <p14:tracePt t="73337" x="1282700" y="3160713"/>
          <p14:tracePt t="73344" x="1282700" y="3152775"/>
          <p14:tracePt t="73353" x="1274763" y="3152775"/>
          <p14:tracePt t="73361" x="1265238" y="3152775"/>
          <p14:tracePt t="73402" x="1265238" y="3144838"/>
          <p14:tracePt t="73410" x="1257300" y="3144838"/>
          <p14:tracePt t="73417" x="1257300" y="3135313"/>
          <p14:tracePt t="73440" x="1249363" y="3135313"/>
          <p14:tracePt t="73449" x="1239838" y="3127375"/>
          <p14:tracePt t="73465" x="1231900" y="3127375"/>
          <p14:tracePt t="73475" x="1214438" y="3119438"/>
          <p14:tracePt t="73481" x="1214438" y="3109913"/>
          <p14:tracePt t="73490" x="1198563" y="3109913"/>
          <p14:tracePt t="73497" x="1181100" y="3101975"/>
          <p14:tracePt t="73513" x="1173163" y="3101975"/>
          <p14:tracePt t="73522" x="1163638" y="3084513"/>
          <p14:tracePt t="73529" x="1155700" y="3076575"/>
          <p14:tracePt t="73545" x="1138238" y="3076575"/>
          <p14:tracePt t="73554" x="1138238" y="3067050"/>
          <p14:tracePt t="73562" x="1130300" y="3059113"/>
          <p14:tracePt t="80018" x="1120775" y="3059113"/>
          <p14:tracePt t="80026" x="1104900" y="3051175"/>
          <p14:tracePt t="80033" x="1079500" y="3041650"/>
          <p14:tracePt t="80040" x="1054100" y="3041650"/>
          <p14:tracePt t="80049" x="1028700" y="3033713"/>
          <p14:tracePt t="80057" x="1028700" y="3025775"/>
          <p14:tracePt t="80065" x="1019175" y="3025775"/>
          <p14:tracePt t="80074" x="1011238" y="3025775"/>
          <p14:tracePt t="80122" x="1019175" y="3025775"/>
          <p14:tracePt t="80145" x="1019175" y="3033713"/>
          <p14:tracePt t="80475" x="1019175" y="3025775"/>
          <p14:tracePt t="80481" x="993775" y="3025775"/>
          <p14:tracePt t="80491" x="985838" y="3025775"/>
          <p14:tracePt t="80498" x="985838" y="3016250"/>
          <p14:tracePt t="80507" x="976313" y="3016250"/>
          <p14:tracePt t="80523" x="968375" y="3016250"/>
          <p14:tracePt t="80633" x="960438" y="3016250"/>
          <p14:tracePt t="80649" x="950913" y="3016250"/>
          <p14:tracePt t="80826" x="976313" y="2990850"/>
          <p14:tracePt t="80833" x="985838" y="2990850"/>
          <p14:tracePt t="80986" x="960438" y="3008313"/>
          <p14:tracePt t="81005" x="950913" y="3008313"/>
          <p14:tracePt t="81570" x="950913" y="3016250"/>
          <p14:tracePt t="81578" x="942975" y="3033713"/>
          <p14:tracePt t="81586" x="935038" y="3059113"/>
          <p14:tracePt t="81594" x="909638" y="3101975"/>
          <p14:tracePt t="81602" x="900113" y="3135313"/>
          <p14:tracePt t="81610" x="874713" y="3195638"/>
          <p14:tracePt t="81618" x="874713" y="3221038"/>
          <p14:tracePt t="81627" x="874713" y="3263900"/>
          <p14:tracePt t="81634" x="874713" y="3279775"/>
          <p14:tracePt t="81644" x="874713" y="3314700"/>
          <p14:tracePt t="81650" x="884238" y="3348038"/>
          <p14:tracePt t="81661" x="900113" y="3382963"/>
          <p14:tracePt t="81665" x="942975" y="3433763"/>
          <p14:tracePt t="81677" x="968375" y="3475038"/>
          <p14:tracePt t="81681" x="1019175" y="3509963"/>
          <p14:tracePt t="81693" x="1054100" y="3543300"/>
          <p14:tracePt t="81697" x="1130300" y="3568700"/>
          <p14:tracePt t="81707" x="1189038" y="3586163"/>
          <p14:tracePt t="81714" x="1265238" y="3586163"/>
          <p14:tracePt t="81723" x="1308100" y="3586163"/>
          <p14:tracePt t="81730" x="1350963" y="3586163"/>
          <p14:tracePt t="81738" x="1384300" y="3586163"/>
          <p14:tracePt t="81745" x="1393825" y="3568700"/>
          <p14:tracePt t="81753" x="1401763" y="3552825"/>
          <p14:tracePt t="81761" x="1401763" y="3527425"/>
          <p14:tracePt t="81769" x="1401763" y="3509963"/>
          <p14:tracePt t="81777" x="1384300" y="3475038"/>
          <p14:tracePt t="81785" x="1350963" y="3424238"/>
          <p14:tracePt t="81794" x="1317625" y="3373438"/>
          <p14:tracePt t="81802" x="1265238" y="3340100"/>
          <p14:tracePt t="81809" x="1206500" y="3297238"/>
          <p14:tracePt t="81817" x="1163638" y="3271838"/>
          <p14:tracePt t="81826" x="1120775" y="3263900"/>
          <p14:tracePt t="81833" x="1087438" y="3254375"/>
          <p14:tracePt t="81842" x="1062038" y="3246438"/>
          <p14:tracePt t="81849" x="1044575" y="3246438"/>
          <p14:tracePt t="81859" x="1036638" y="3246438"/>
          <p14:tracePt t="81865" x="1028700" y="3246438"/>
          <p14:tracePt t="81880" x="1028700" y="3254375"/>
          <p14:tracePt t="81890" x="1028700" y="3289300"/>
          <p14:tracePt t="81897" x="1028700" y="3340100"/>
          <p14:tracePt t="81905" x="1044575" y="3390900"/>
          <p14:tracePt t="81913" x="1069975" y="3467100"/>
          <p14:tracePt t="81921" x="1104900" y="3527425"/>
          <p14:tracePt t="81929" x="1147763" y="3603625"/>
          <p14:tracePt t="81937" x="1206500" y="3671888"/>
          <p14:tracePt t="81945" x="1239838" y="3722688"/>
          <p14:tracePt t="81953" x="1308100" y="3763963"/>
          <p14:tracePt t="81961" x="1343025" y="3781425"/>
          <p14:tracePt t="81969" x="1384300" y="3781425"/>
          <p14:tracePt t="81977" x="1409700" y="3781425"/>
          <p14:tracePt t="81985" x="1452563" y="3763963"/>
          <p14:tracePt t="81993" x="1477963" y="3738563"/>
          <p14:tracePt t="82001" x="1520825" y="3713163"/>
          <p14:tracePt t="82010" x="1538288" y="3679825"/>
          <p14:tracePt t="82017" x="1546225" y="3646488"/>
          <p14:tracePt t="82025" x="1546225" y="3611563"/>
          <p14:tracePt t="82033" x="1546225" y="3578225"/>
          <p14:tracePt t="82041" x="1512888" y="3527425"/>
          <p14:tracePt t="82050" x="1477963" y="3492500"/>
          <p14:tracePt t="82058" x="1444625" y="3459163"/>
          <p14:tracePt t="82065" x="1409700" y="3424238"/>
          <p14:tracePt t="82075" x="1358900" y="3398838"/>
          <p14:tracePt t="82081" x="1317625" y="3390900"/>
          <p14:tracePt t="82089" x="1290638" y="3382963"/>
          <p14:tracePt t="82097" x="1257300" y="3382963"/>
          <p14:tracePt t="82105" x="1223963" y="3382963"/>
          <p14:tracePt t="82113" x="1206500" y="3382963"/>
          <p14:tracePt t="82121" x="1181100" y="3390900"/>
          <p14:tracePt t="82129" x="1155700" y="3416300"/>
          <p14:tracePt t="82137" x="1147763" y="3424238"/>
          <p14:tracePt t="82145" x="1138238" y="3467100"/>
          <p14:tracePt t="82153" x="1130300" y="3517900"/>
          <p14:tracePt t="82161" x="1130300" y="3560763"/>
          <p14:tracePt t="82169" x="1138238" y="3611563"/>
          <p14:tracePt t="82177" x="1155700" y="3646488"/>
          <p14:tracePt t="82185" x="1181100" y="3662363"/>
          <p14:tracePt t="82194" x="1206500" y="3671888"/>
          <p14:tracePt t="82201" x="1231900" y="3671888"/>
          <p14:tracePt t="82209" x="1239838" y="3671888"/>
          <p14:tracePt t="82217" x="1265238" y="3671888"/>
          <p14:tracePt t="82225" x="1282700" y="3671888"/>
          <p14:tracePt t="82233" x="1290638" y="3662363"/>
          <p14:tracePt t="82241" x="1300163" y="3636963"/>
          <p14:tracePt t="82250" x="1300163" y="3603625"/>
          <p14:tracePt t="82259" x="1300163" y="3568700"/>
          <p14:tracePt t="82265" x="1290638" y="3535363"/>
          <p14:tracePt t="82275" x="1265238" y="3475038"/>
          <p14:tracePt t="82281" x="1223963" y="3424238"/>
          <p14:tracePt t="82292" x="1173163" y="3382963"/>
          <p14:tracePt t="82297" x="1130300" y="3355975"/>
          <p14:tracePt t="82305" x="1087438" y="3330575"/>
          <p14:tracePt t="82313" x="1044575" y="3305175"/>
          <p14:tracePt t="82321" x="1028700" y="3297238"/>
          <p14:tracePt t="82329" x="993775" y="3297238"/>
          <p14:tracePt t="82337" x="976313" y="3297238"/>
          <p14:tracePt t="82345" x="960438" y="3297238"/>
          <p14:tracePt t="82353" x="942975" y="3305175"/>
          <p14:tracePt t="82361" x="917575" y="3330575"/>
          <p14:tracePt t="82369" x="909638" y="3365500"/>
          <p14:tracePt t="82378" x="900113" y="3398838"/>
          <p14:tracePt t="82385" x="900113" y="3467100"/>
          <p14:tracePt t="82394" x="900113" y="3527425"/>
          <p14:tracePt t="82401" x="909638" y="3568700"/>
          <p14:tracePt t="82409" x="925513" y="3611563"/>
          <p14:tracePt t="82417" x="968375" y="3636963"/>
          <p14:tracePt t="82426" x="993775" y="3654425"/>
          <p14:tracePt t="82433" x="1044575" y="3654425"/>
          <p14:tracePt t="82442" x="1104900" y="3646488"/>
          <p14:tracePt t="82449" x="1181100" y="3629025"/>
          <p14:tracePt t="82459" x="1239838" y="3586163"/>
          <p14:tracePt t="82465" x="1282700" y="3560763"/>
          <p14:tracePt t="82475" x="1308100" y="3517900"/>
          <p14:tracePt t="82482" x="1308100" y="3502025"/>
          <p14:tracePt t="82491" x="1308100" y="3467100"/>
          <p14:tracePt t="82497" x="1290638" y="3424238"/>
          <p14:tracePt t="82505" x="1231900" y="3365500"/>
          <p14:tracePt t="82513" x="1181100" y="3330575"/>
          <p14:tracePt t="82521" x="1120775" y="3297238"/>
          <p14:tracePt t="82529" x="1036638" y="3271838"/>
          <p14:tracePt t="82537" x="976313" y="3263900"/>
          <p14:tracePt t="82545" x="874713" y="3263900"/>
          <p14:tracePt t="82553" x="815975" y="3263900"/>
          <p14:tracePt t="82561" x="755650" y="3279775"/>
          <p14:tracePt t="82569" x="722313" y="3305175"/>
          <p14:tracePt t="82577" x="688975" y="3322638"/>
          <p14:tracePt t="82585" x="654050" y="3355975"/>
          <p14:tracePt t="82593" x="646113" y="3390900"/>
          <p14:tracePt t="82601" x="646113" y="3424238"/>
          <p14:tracePt t="82609" x="646113" y="3467100"/>
          <p14:tracePt t="82617" x="679450" y="3527425"/>
          <p14:tracePt t="82625" x="714375" y="3568700"/>
          <p14:tracePt t="82632" x="773113" y="3611563"/>
          <p14:tracePt t="82640" x="823913" y="3629025"/>
          <p14:tracePt t="82649" x="892175" y="3629025"/>
          <p14:tracePt t="82657" x="950913" y="3629025"/>
          <p14:tracePt t="82664" x="993775" y="3629025"/>
          <p14:tracePt t="82674" x="1062038" y="3603625"/>
          <p14:tracePt t="82681" x="1095375" y="3586163"/>
          <p14:tracePt t="82690" x="1120775" y="3560763"/>
          <p14:tracePt t="82697" x="1120775" y="3552825"/>
          <p14:tracePt t="82706" x="1120775" y="3527425"/>
          <p14:tracePt t="82713" x="1120775" y="3492500"/>
          <p14:tracePt t="82721" x="1079500" y="3459163"/>
          <p14:tracePt t="82729" x="1054100" y="3433763"/>
          <p14:tracePt t="82741" x="1019175" y="3408363"/>
          <p14:tracePt t="82746" x="968375" y="3373438"/>
          <p14:tracePt t="82754" x="925513" y="3365500"/>
          <p14:tracePt t="82762" x="874713" y="3355975"/>
          <p14:tracePt t="82770" x="849313" y="3348038"/>
          <p14:tracePt t="82778" x="823913" y="3348038"/>
          <p14:tracePt t="82786" x="815975" y="3348038"/>
          <p14:tracePt t="82794" x="806450" y="3355975"/>
          <p14:tracePt t="82802" x="798513" y="3390900"/>
          <p14:tracePt t="82809" x="798513" y="3424238"/>
          <p14:tracePt t="82817" x="823913" y="3475038"/>
          <p14:tracePt t="82825" x="849313" y="3543300"/>
          <p14:tracePt t="82833" x="909638" y="3619500"/>
          <p14:tracePt t="82841" x="976313" y="3687763"/>
          <p14:tracePt t="82849" x="1062038" y="3738563"/>
          <p14:tracePt t="82858" x="1138238" y="3773488"/>
          <p14:tracePt t="82865" x="1214438" y="3790950"/>
          <p14:tracePt t="82875" x="1300163" y="3790950"/>
          <p14:tracePt t="82881" x="1368425" y="3781425"/>
          <p14:tracePt t="82891" x="1419225" y="3763963"/>
          <p14:tracePt t="82897" x="1435100" y="3748088"/>
          <p14:tracePt t="82905" x="1435100" y="3738563"/>
          <p14:tracePt t="82913" x="1435100" y="3722688"/>
          <p14:tracePt t="82921" x="1435100" y="3687763"/>
          <p14:tracePt t="82929" x="1427163" y="3671888"/>
          <p14:tracePt t="82937" x="1401763" y="3629025"/>
          <p14:tracePt t="82945" x="1350963" y="3594100"/>
          <p14:tracePt t="82953" x="1317625" y="3560763"/>
          <p14:tracePt t="82961" x="1223963" y="3543300"/>
          <p14:tracePt t="82969" x="1189038" y="3527425"/>
          <p14:tracePt t="82977" x="1130300" y="3502025"/>
          <p14:tracePt t="82985" x="1104900" y="3502025"/>
          <p14:tracePt t="83034" x="1104900" y="3517900"/>
          <p14:tracePt t="83042" x="1104900" y="3535363"/>
          <p14:tracePt t="83050" x="1104900" y="3552825"/>
          <p14:tracePt t="83740" x="1095375" y="3552825"/>
          <p14:tracePt t="83753" x="1087438" y="3552825"/>
          <p14:tracePt t="83761" x="1079500" y="3552825"/>
          <p14:tracePt t="83938" x="1079500" y="3527425"/>
          <p14:tracePt t="83944" x="1079500" y="3492500"/>
          <p14:tracePt t="83953" x="1079500" y="3449638"/>
          <p14:tracePt t="83960" x="1069975" y="3433763"/>
          <p14:tracePt t="83969" x="1036638" y="3373438"/>
          <p14:tracePt t="83976" x="1028700" y="3340100"/>
          <p14:tracePt t="83985" x="985838" y="3279775"/>
          <p14:tracePt t="83992" x="960438" y="3254375"/>
          <p14:tracePt t="84001" x="942975" y="3186113"/>
          <p14:tracePt t="84009" x="925513" y="3144838"/>
          <p14:tracePt t="84025" x="909638" y="3101975"/>
          <p14:tracePt t="84033" x="900113" y="3094038"/>
          <p14:tracePt t="84041" x="900113" y="3084513"/>
          <p14:tracePt t="84049" x="900113" y="3076575"/>
          <p14:tracePt t="84417" x="892175" y="3076575"/>
          <p14:tracePt t="85409" x="892175" y="3084513"/>
          <p14:tracePt t="85425" x="892175" y="3101975"/>
          <p14:tracePt t="85433" x="892175" y="3109913"/>
          <p14:tracePt t="85440" x="900113" y="3127375"/>
          <p14:tracePt t="85449" x="909638" y="3135313"/>
          <p14:tracePt t="85457" x="909638" y="3144838"/>
          <p14:tracePt t="85546" x="909638" y="3152775"/>
          <p14:tracePt t="85562" x="909638" y="3170238"/>
          <p14:tracePt t="85578" x="900113" y="3178175"/>
          <p14:tracePt t="85594" x="892175" y="3186113"/>
          <p14:tracePt t="85602" x="900113" y="3170238"/>
          <p14:tracePt t="85609" x="900113" y="3127375"/>
          <p14:tracePt t="85826" x="892175" y="3127375"/>
          <p14:tracePt t="85842" x="892175" y="3135313"/>
          <p14:tracePt t="85850" x="900113" y="3135313"/>
          <p14:tracePt t="85866" x="900113" y="3144838"/>
          <p14:tracePt t="85962" x="900113" y="3152775"/>
          <p14:tracePt t="86082" x="892175" y="3152775"/>
          <p14:tracePt t="86092" x="884238" y="3160713"/>
          <p14:tracePt t="86114" x="874713" y="3160713"/>
          <p14:tracePt t="86123" x="866775" y="3170238"/>
          <p14:tracePt t="86130" x="858838" y="3178175"/>
          <p14:tracePt t="86146" x="841375" y="3186113"/>
          <p14:tracePt t="86154" x="831850" y="3186113"/>
          <p14:tracePt t="87242" x="866775" y="3186113"/>
          <p14:tracePt t="87250" x="993775" y="3186113"/>
          <p14:tracePt t="87258" x="1163638" y="3221038"/>
          <p14:tracePt t="87266" x="1554163" y="3297238"/>
          <p14:tracePt t="87277" x="1979613" y="3390900"/>
          <p14:tracePt t="87282" x="2668588" y="3552825"/>
          <p14:tracePt t="87293" x="3178175" y="3671888"/>
          <p14:tracePt t="87298" x="3900488" y="3900488"/>
          <p14:tracePt t="87307" x="4902200" y="4181475"/>
          <p14:tracePt t="87315" x="5649913" y="4435475"/>
          <p14:tracePt t="87322" x="6559550" y="4665663"/>
          <p14:tracePt t="87329" x="7297738" y="4802188"/>
          <p14:tracePt t="87338" x="8174038" y="4937125"/>
          <p14:tracePt t="87346" x="8734425" y="5022850"/>
          <p14:tracePt t="87354" x="9209088" y="5081588"/>
          <p14:tracePt t="87362" x="9396413" y="5099050"/>
          <p14:tracePt t="87370" x="9532938" y="5099050"/>
          <p14:tracePt t="87378" x="9659938" y="5099050"/>
          <p14:tracePt t="87385" x="9720263" y="5081588"/>
          <p14:tracePt t="87394" x="9771063" y="5073650"/>
          <p14:tracePt t="87401" x="9779000" y="5064125"/>
          <p14:tracePt t="87409" x="9786938" y="5064125"/>
          <p14:tracePt t="87450" x="9786938" y="5073650"/>
          <p14:tracePt t="87458" x="9771063" y="5099050"/>
          <p14:tracePt t="87465" x="9753600" y="5116513"/>
          <p14:tracePt t="87476" x="9720263" y="5124450"/>
          <p14:tracePt t="87482" x="9634538" y="5132388"/>
          <p14:tracePt t="87492" x="9575800" y="5132388"/>
          <p14:tracePt t="87498" x="9456738" y="5124450"/>
          <p14:tracePt t="87506" x="9380538" y="5073650"/>
          <p14:tracePt t="87514" x="9302750" y="5030788"/>
          <p14:tracePt t="87523" x="9286875" y="5022850"/>
          <p14:tracePt t="87610" x="9277350" y="5022850"/>
          <p14:tracePt t="87618" x="9201150" y="5030788"/>
          <p14:tracePt t="87625" x="9107488" y="5038725"/>
          <p14:tracePt t="87634" x="9064625" y="5048250"/>
          <p14:tracePt t="87642" x="9031288" y="5056188"/>
          <p14:tracePt t="87650" x="9013825" y="5073650"/>
          <p14:tracePt t="87674" x="9013825" y="5081588"/>
          <p14:tracePt t="87691" x="9023350" y="5081588"/>
          <p14:tracePt t="87761" x="9023350" y="5091113"/>
          <p14:tracePt t="87946" x="9023350" y="5081588"/>
          <p14:tracePt t="88266" x="9005888" y="5091113"/>
          <p14:tracePt t="88275" x="8963025" y="5091113"/>
          <p14:tracePt t="88282" x="8912225" y="5091113"/>
          <p14:tracePt t="88291" x="8836025" y="5091113"/>
          <p14:tracePt t="88297" x="8709025" y="5091113"/>
          <p14:tracePt t="88305" x="8623300" y="5056188"/>
          <p14:tracePt t="88313" x="8478838" y="5030788"/>
          <p14:tracePt t="88323" x="8351838" y="4997450"/>
          <p14:tracePt t="88328" x="8080375" y="4946650"/>
          <p14:tracePt t="88337" x="7900988" y="4878388"/>
          <p14:tracePt t="88345" x="7637463" y="4802188"/>
          <p14:tracePt t="88353" x="7467600" y="4759325"/>
          <p14:tracePt t="88361" x="7340600" y="4724400"/>
          <p14:tracePt t="88368" x="7196138" y="4691063"/>
          <p14:tracePt t="88376" x="7112000" y="4673600"/>
          <p14:tracePt t="88384" x="7018338" y="4665663"/>
          <p14:tracePt t="88393" x="6983413" y="4657725"/>
          <p14:tracePt t="88401" x="6967538" y="4657725"/>
          <p14:tracePt t="88408" x="6958013" y="4657725"/>
          <p14:tracePt t="88433" x="6958013" y="4648200"/>
          <p14:tracePt t="88456" x="6950075" y="4648200"/>
          <p14:tracePt t="88465" x="6942138" y="4630738"/>
          <p14:tracePt t="88474" x="6915150" y="4614863"/>
          <p14:tracePt t="88481" x="6907213" y="4614863"/>
          <p14:tracePt t="88675" x="6915150" y="4614863"/>
          <p14:tracePt t="88691" x="6924675" y="4614863"/>
          <p14:tracePt t="88698" x="6932613" y="4614863"/>
          <p14:tracePt t="88706" x="6932613" y="4622800"/>
          <p14:tracePt t="88714" x="6942138" y="4622800"/>
          <p14:tracePt t="88724" x="6950075" y="4622800"/>
          <p14:tracePt t="88730" x="6958013" y="4622800"/>
          <p14:tracePt t="88747" x="6967538" y="4630738"/>
          <p14:tracePt t="88794" x="6958013" y="4630738"/>
          <p14:tracePt t="88802" x="6950075" y="4630738"/>
          <p14:tracePt t="88818" x="6942138" y="4630738"/>
          <p14:tracePt t="88825" x="6932613" y="4630738"/>
          <p14:tracePt t="89338" x="6924675" y="4630738"/>
          <p14:tracePt t="89345" x="6907213" y="4630738"/>
          <p14:tracePt t="89354" x="6881813" y="4640263"/>
          <p14:tracePt t="89362" x="6856413" y="4648200"/>
          <p14:tracePt t="89370" x="6838950" y="4657725"/>
          <p14:tracePt t="89378" x="6838950" y="4665663"/>
          <p14:tracePt t="89386" x="6838950" y="4673600"/>
          <p14:tracePt t="89394" x="6848475" y="4708525"/>
          <p14:tracePt t="89402" x="6889750" y="4749800"/>
          <p14:tracePt t="89408" x="6950075" y="4827588"/>
          <p14:tracePt t="89417" x="6983413" y="4868863"/>
          <p14:tracePt t="89424" x="7051675" y="4911725"/>
          <p14:tracePt t="89433" x="7085013" y="4946650"/>
          <p14:tracePt t="89440" x="7119938" y="4972050"/>
          <p14:tracePt t="89449" x="7170738" y="5005388"/>
          <p14:tracePt t="89456" x="7221538" y="5022850"/>
          <p14:tracePt t="89465" x="7281863" y="5048250"/>
          <p14:tracePt t="89473" x="7332663" y="5064125"/>
          <p14:tracePt t="89481" x="7391400" y="5081588"/>
          <p14:tracePt t="89490" x="7467600" y="5106988"/>
          <p14:tracePt t="89497" x="7535863" y="5116513"/>
          <p14:tracePt t="89507" x="7629525" y="5124450"/>
          <p14:tracePt t="89513" x="7697788" y="5132388"/>
          <p14:tracePt t="89521" x="7816850" y="5149850"/>
          <p14:tracePt t="89529" x="7910513" y="5149850"/>
          <p14:tracePt t="89537" x="8012113" y="5149850"/>
          <p14:tracePt t="89545" x="8096250" y="5149850"/>
          <p14:tracePt t="89553" x="8207375" y="5149850"/>
          <p14:tracePt t="89560" x="8291513" y="5149850"/>
          <p14:tracePt t="89570" x="8394700" y="5149850"/>
          <p14:tracePt t="89578" x="8521700" y="5149850"/>
          <p14:tracePt t="89586" x="8623300" y="5149850"/>
          <p14:tracePt t="89594" x="8759825" y="5149850"/>
          <p14:tracePt t="89602" x="8861425" y="5149850"/>
          <p14:tracePt t="89610" x="9013825" y="5149850"/>
          <p14:tracePt t="89618" x="9117013" y="5149850"/>
          <p14:tracePt t="89627" x="9226550" y="5149850"/>
          <p14:tracePt t="89634" x="9337675" y="5149850"/>
          <p14:tracePt t="89643" x="9413875" y="5149850"/>
          <p14:tracePt t="89650" x="9507538" y="5132388"/>
          <p14:tracePt t="89660" x="9558338" y="5124450"/>
          <p14:tracePt t="89666" x="9601200" y="5124450"/>
          <p14:tracePt t="89676" x="9659938" y="5124450"/>
          <p14:tracePt t="89682" x="9720263" y="5124450"/>
          <p14:tracePt t="89693" x="9761538" y="5124450"/>
          <p14:tracePt t="89698" x="9839325" y="5141913"/>
          <p14:tracePt t="89707" x="9880600" y="5157788"/>
          <p14:tracePt t="89713" x="9931400" y="5175250"/>
          <p14:tracePt t="89722" x="9983788" y="5208588"/>
          <p14:tracePt t="89729" x="10017125" y="5226050"/>
          <p14:tracePt t="89738" x="10042525" y="5243513"/>
          <p14:tracePt t="89746" x="10075863" y="5268913"/>
          <p14:tracePt t="89752" x="10093325" y="5311775"/>
          <p14:tracePt t="89760" x="10118725" y="5337175"/>
          <p14:tracePt t="89769" x="10136188" y="5370513"/>
          <p14:tracePt t="89776" x="10179050" y="5413375"/>
          <p14:tracePt t="89785" x="10194925" y="5438775"/>
          <p14:tracePt t="89792" x="10220325" y="5472113"/>
          <p14:tracePt t="89800" x="10237788" y="5489575"/>
          <p14:tracePt t="89808" x="10255250" y="5524500"/>
          <p14:tracePt t="89817" x="10263188" y="5540375"/>
          <p14:tracePt t="89825" x="10280650" y="5549900"/>
          <p14:tracePt t="89833" x="10280650" y="5565775"/>
          <p14:tracePt t="89841" x="10298113" y="5575300"/>
          <p14:tracePt t="89857" x="10298113" y="5591175"/>
          <p14:tracePt t="89865" x="10306050" y="5608638"/>
          <p14:tracePt t="89876" x="10313988" y="5616575"/>
          <p14:tracePt t="89881" x="10323513" y="5651500"/>
          <p14:tracePt t="89892" x="10339388" y="5684838"/>
          <p14:tracePt t="89897" x="10374313" y="5735638"/>
          <p14:tracePt t="89905" x="10399713" y="5770563"/>
          <p14:tracePt t="89913" x="10442575" y="5821363"/>
          <p14:tracePt t="89921" x="10475913" y="5864225"/>
          <p14:tracePt t="89929" x="10509250" y="5880100"/>
          <p14:tracePt t="89937" x="10552113" y="5897563"/>
          <p14:tracePt t="89945" x="10560050" y="5905500"/>
          <p14:tracePt t="89953" x="10569575" y="5905500"/>
          <p14:tracePt t="90043" x="10569575" y="5897563"/>
          <p14:tracePt t="90323" x="10569575" y="5915025"/>
          <p14:tracePt t="90330" x="10560050" y="5957888"/>
          <p14:tracePt t="90338" x="10544175" y="6008688"/>
          <p14:tracePt t="90346" x="10518775" y="6067425"/>
          <p14:tracePt t="90354" x="10509250" y="6127750"/>
          <p14:tracePt t="90363" x="10509250" y="6161088"/>
          <p14:tracePt t="90370" x="10501313" y="6194425"/>
          <p14:tracePt t="90377" x="10493375" y="6203950"/>
          <p14:tracePt t="90385" x="10483850" y="6229350"/>
          <p14:tracePt t="90394" x="10475913" y="6246813"/>
          <p14:tracePt t="90402" x="10475913" y="6272213"/>
          <p14:tracePt t="90410" x="10475913" y="6297613"/>
          <p14:tracePt t="90417" x="10467975" y="6330950"/>
          <p14:tracePt t="90425" x="10467975" y="6373813"/>
          <p14:tracePt t="90433" x="10467975" y="6407150"/>
          <p14:tracePt t="90441" x="10467975" y="6432550"/>
          <p14:tracePt t="90449" x="10467975" y="6450013"/>
          <p14:tracePt t="90457" x="10467975" y="6475413"/>
          <p14:tracePt t="90465" x="10467975" y="6500813"/>
          <p14:tracePt t="90474" x="10467975" y="6526213"/>
          <p14:tracePt t="90481" x="10475913" y="6551613"/>
          <p14:tracePt t="90491" x="10475913" y="6586538"/>
          <p14:tracePt t="90497" x="10483850" y="6619875"/>
          <p14:tracePt t="90507" x="10483850" y="6637338"/>
          <p14:tracePt t="90513" x="10483850" y="6670675"/>
          <p14:tracePt t="90521" x="10483850" y="6688138"/>
          <p14:tracePt t="90529" x="10483850" y="6705600"/>
          <p14:tracePt t="90537" x="10467975" y="6738938"/>
          <p14:tracePt t="90545" x="10467975" y="6772275"/>
          <p14:tracePt t="90553" x="10458450" y="6807200"/>
          <p14:tracePt t="90561" x="10458450" y="6840538"/>
          <p14:tracePt t="92258" x="985838" y="6645275"/>
          <p14:tracePt t="92265" x="739775" y="6391275"/>
          <p14:tracePt t="92275" x="476250" y="6194425"/>
          <p14:tracePt t="92282" x="68263" y="5872163"/>
        </p14:tracePtLst>
      </p14:laserTraceLst>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5B07C6F-B2E3-FC48-935C-B03EDB049344}"/>
              </a:ext>
            </a:extLst>
          </p:cNvPr>
          <p:cNvSpPr>
            <a:spLocks noGrp="1"/>
          </p:cNvSpPr>
          <p:nvPr>
            <p:ph type="title"/>
          </p:nvPr>
        </p:nvSpPr>
        <p:spPr/>
        <p:txBody>
          <a:bodyPr/>
          <a:lstStyle/>
          <a:p>
            <a:r>
              <a:rPr lang="en-US" dirty="0"/>
              <a:t>Testing Considerations</a:t>
            </a:r>
          </a:p>
        </p:txBody>
      </p:sp>
      <p:graphicFrame>
        <p:nvGraphicFramePr>
          <p:cNvPr id="2" name="Table 2">
            <a:extLst>
              <a:ext uri="{FF2B5EF4-FFF2-40B4-BE49-F238E27FC236}">
                <a16:creationId xmlns:a16="http://schemas.microsoft.com/office/drawing/2014/main" id="{DDA797D5-AFAA-4AC4-A1B1-B01DF4F0314E}"/>
              </a:ext>
            </a:extLst>
          </p:cNvPr>
          <p:cNvGraphicFramePr>
            <a:graphicFrameLocks noGrp="1"/>
          </p:cNvGraphicFramePr>
          <p:nvPr>
            <p:extLst>
              <p:ext uri="{D42A27DB-BD31-4B8C-83A1-F6EECF244321}">
                <p14:modId xmlns:p14="http://schemas.microsoft.com/office/powerpoint/2010/main" val="4257823801"/>
              </p:ext>
            </p:extLst>
          </p:nvPr>
        </p:nvGraphicFramePr>
        <p:xfrm>
          <a:off x="548640" y="963754"/>
          <a:ext cx="11094720" cy="5273040"/>
        </p:xfrm>
        <a:graphic>
          <a:graphicData uri="http://schemas.openxmlformats.org/drawingml/2006/table">
            <a:tbl>
              <a:tblPr firstRow="1" bandRow="1">
                <a:tableStyleId>{5C22544A-7EE6-4342-B048-85BDC9FD1C3A}</a:tableStyleId>
              </a:tblPr>
              <a:tblGrid>
                <a:gridCol w="2727629">
                  <a:extLst>
                    <a:ext uri="{9D8B030D-6E8A-4147-A177-3AD203B41FA5}">
                      <a16:colId xmlns:a16="http://schemas.microsoft.com/office/drawing/2014/main" val="1733049577"/>
                    </a:ext>
                  </a:extLst>
                </a:gridCol>
                <a:gridCol w="8367091">
                  <a:extLst>
                    <a:ext uri="{9D8B030D-6E8A-4147-A177-3AD203B41FA5}">
                      <a16:colId xmlns:a16="http://schemas.microsoft.com/office/drawing/2014/main" val="2067335689"/>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kern="1200" dirty="0">
                          <a:solidFill>
                            <a:schemeClr val="dk1"/>
                          </a:solidFill>
                          <a:latin typeface="+mn-lt"/>
                          <a:ea typeface="+mn-ea"/>
                          <a:cs typeface="+mn-cs"/>
                        </a:rPr>
                        <a:t>Physical/RF/protocol functionality</a:t>
                      </a:r>
                    </a:p>
                  </a:txBody>
                  <a:tcPr anchor="ctr">
                    <a:solidFill>
                      <a:srgbClr val="FBE7E8"/>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kern="1200" dirty="0">
                          <a:solidFill>
                            <a:schemeClr val="dk1"/>
                          </a:solidFill>
                          <a:latin typeface="+mn-lt"/>
                          <a:ea typeface="+mn-ea"/>
                          <a:cs typeface="+mn-cs"/>
                        </a:rPr>
                        <a:t>Ruggedn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kern="1200" dirty="0">
                          <a:solidFill>
                            <a:schemeClr val="dk1"/>
                          </a:solidFill>
                          <a:latin typeface="+mn-lt"/>
                          <a:ea typeface="+mn-ea"/>
                          <a:cs typeface="+mn-cs"/>
                        </a:rPr>
                        <a:t>Signal integr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kern="1200" dirty="0">
                          <a:solidFill>
                            <a:schemeClr val="dk1"/>
                          </a:solidFill>
                          <a:latin typeface="+mn-lt"/>
                          <a:ea typeface="+mn-ea"/>
                          <a:cs typeface="+mn-cs"/>
                        </a:rPr>
                        <a:t>Basic connectiv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kern="1200" dirty="0">
                          <a:solidFill>
                            <a:schemeClr val="dk1"/>
                          </a:solidFill>
                          <a:latin typeface="+mn-lt"/>
                          <a:ea typeface="+mn-ea"/>
                          <a:cs typeface="+mn-cs"/>
                        </a:rPr>
                        <a:t>Simple operation</a:t>
                      </a:r>
                    </a:p>
                  </a:txBody>
                  <a:tcPr>
                    <a:solidFill>
                      <a:srgbClr val="FBE7E8"/>
                    </a:solidFill>
                  </a:tcPr>
                </a:tc>
                <a:extLst>
                  <a:ext uri="{0D108BD9-81ED-4DB2-BD59-A6C34878D82A}">
                    <a16:rowId xmlns:a16="http://schemas.microsoft.com/office/drawing/2014/main" val="249754360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a:t>Performance</a:t>
                      </a:r>
                    </a:p>
                  </a:txBody>
                  <a:tcPr anchor="ctr"/>
                </a:tc>
                <a:tc>
                  <a:txBody>
                    <a:bodyPr/>
                    <a:lstStyle/>
                    <a:p>
                      <a:pPr marL="285750" indent="-285750">
                        <a:buFont typeface="Arial" panose="020B0604020202020204" pitchFamily="34" charset="0"/>
                        <a:buChar char="•"/>
                      </a:pPr>
                      <a:r>
                        <a:rPr lang="en-US" sz="1800" dirty="0"/>
                        <a:t>Scalability</a:t>
                      </a:r>
                    </a:p>
                    <a:p>
                      <a:pPr marL="285750" indent="-285750">
                        <a:buFont typeface="Arial" panose="020B0604020202020204" pitchFamily="34" charset="0"/>
                        <a:buChar char="•"/>
                      </a:pPr>
                      <a:r>
                        <a:rPr lang="en-US" sz="1800" dirty="0"/>
                        <a:t>Multi-function baselining</a:t>
                      </a:r>
                    </a:p>
                    <a:p>
                      <a:pPr marL="285750" indent="-285750">
                        <a:buFont typeface="Arial" panose="020B0604020202020204" pitchFamily="34" charset="0"/>
                        <a:buChar char="•"/>
                      </a:pPr>
                      <a:r>
                        <a:rPr lang="en-US" sz="1800" dirty="0"/>
                        <a:t>Complex workflow</a:t>
                      </a:r>
                    </a:p>
                    <a:p>
                      <a:pPr marL="285750" indent="-285750">
                        <a:buFont typeface="Arial" panose="020B0604020202020204" pitchFamily="34" charset="0"/>
                        <a:buChar char="•"/>
                      </a:pPr>
                      <a:r>
                        <a:rPr lang="en-US" sz="1800" dirty="0"/>
                        <a:t>Measure user experience</a:t>
                      </a:r>
                    </a:p>
                  </a:txBody>
                  <a:tcPr/>
                </a:tc>
                <a:extLst>
                  <a:ext uri="{0D108BD9-81ED-4DB2-BD59-A6C34878D82A}">
                    <a16:rowId xmlns:a16="http://schemas.microsoft.com/office/drawing/2014/main" val="342811437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a:t>Interoperability</a:t>
                      </a:r>
                    </a:p>
                  </a:txBody>
                  <a:tcPr anchor="ctr"/>
                </a:tc>
                <a:tc>
                  <a:txBody>
                    <a:bodyPr/>
                    <a:lstStyle/>
                    <a:p>
                      <a:r>
                        <a:rPr lang="en-US" sz="1800" dirty="0"/>
                        <a:t>Open standards help but do not ensure interoperability</a:t>
                      </a:r>
                    </a:p>
                  </a:txBody>
                  <a:tcPr/>
                </a:tc>
                <a:extLst>
                  <a:ext uri="{0D108BD9-81ED-4DB2-BD59-A6C34878D82A}">
                    <a16:rowId xmlns:a16="http://schemas.microsoft.com/office/drawing/2014/main" val="69639976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a:t>Resilience</a:t>
                      </a:r>
                    </a:p>
                  </a:txBody>
                  <a:tcPr anchor="ctr"/>
                </a:tc>
                <a:tc>
                  <a:txBody>
                    <a:bodyPr/>
                    <a:lstStyle/>
                    <a:p>
                      <a:pPr marL="285750" indent="-285750">
                        <a:buFont typeface="Arial" panose="020B0604020202020204" pitchFamily="34" charset="0"/>
                        <a:buChar char="•"/>
                      </a:pPr>
                      <a:r>
                        <a:rPr lang="en-US" sz="1800" dirty="0"/>
                        <a:t>Congested/contested/environmental conditions</a:t>
                      </a:r>
                    </a:p>
                    <a:p>
                      <a:pPr marL="285750" indent="-285750">
                        <a:buFont typeface="Arial" panose="020B0604020202020204" pitchFamily="34" charset="0"/>
                        <a:buChar char="•"/>
                      </a:pPr>
                      <a:r>
                        <a:rPr lang="en-US" sz="1800" dirty="0"/>
                        <a:t>Redundancy/recovery/failover mechanism</a:t>
                      </a:r>
                    </a:p>
                  </a:txBody>
                  <a:tcPr/>
                </a:tc>
                <a:extLst>
                  <a:ext uri="{0D108BD9-81ED-4DB2-BD59-A6C34878D82A}">
                    <a16:rowId xmlns:a16="http://schemas.microsoft.com/office/drawing/2014/main" val="111559457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a:t>Cyber</a:t>
                      </a:r>
                    </a:p>
                  </a:txBody>
                  <a:tcPr anchor="ctr"/>
                </a:tc>
                <a:tc>
                  <a:txBody>
                    <a:bodyPr/>
                    <a:lstStyle/>
                    <a:p>
                      <a:pPr marL="285750" indent="-285750">
                        <a:buFont typeface="Arial" panose="020B0604020202020204" pitchFamily="34" charset="0"/>
                        <a:buChar char="•"/>
                      </a:pPr>
                      <a:r>
                        <a:rPr lang="en-US" sz="1800" dirty="0"/>
                        <a:t>Authentication</a:t>
                      </a:r>
                    </a:p>
                    <a:p>
                      <a:pPr marL="285750" indent="-285750">
                        <a:buFont typeface="Arial" panose="020B0604020202020204" pitchFamily="34" charset="0"/>
                        <a:buChar char="•"/>
                      </a:pPr>
                      <a:r>
                        <a:rPr lang="en-US" sz="1800" dirty="0"/>
                        <a:t>Encryption</a:t>
                      </a:r>
                    </a:p>
                    <a:p>
                      <a:pPr marL="285750" indent="-285750">
                        <a:buFont typeface="Arial" panose="020B0604020202020204" pitchFamily="34" charset="0"/>
                        <a:buChar char="•"/>
                      </a:pPr>
                      <a:r>
                        <a:rPr lang="en-US" sz="1800" dirty="0"/>
                        <a:t>Potential attack vectors</a:t>
                      </a:r>
                    </a:p>
                    <a:p>
                      <a:pPr marL="285750" indent="-285750">
                        <a:buFont typeface="Arial" panose="020B0604020202020204" pitchFamily="34" charset="0"/>
                        <a:buChar char="•"/>
                      </a:pPr>
                      <a:r>
                        <a:rPr lang="en-US" sz="1800" dirty="0"/>
                        <a:t>Fuzzed signal robustness</a:t>
                      </a:r>
                    </a:p>
                    <a:p>
                      <a:pPr marL="285750" indent="-285750">
                        <a:buFont typeface="Arial" panose="020B0604020202020204" pitchFamily="34" charset="0"/>
                        <a:buChar char="•"/>
                      </a:pPr>
                      <a:r>
                        <a:rPr lang="en-US" sz="1800" dirty="0"/>
                        <a:t>Risk mitigation</a:t>
                      </a:r>
                    </a:p>
                  </a:txBody>
                  <a:tcPr/>
                </a:tc>
                <a:extLst>
                  <a:ext uri="{0D108BD9-81ED-4DB2-BD59-A6C34878D82A}">
                    <a16:rowId xmlns:a16="http://schemas.microsoft.com/office/drawing/2014/main" val="236809326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a:t>User Interface</a:t>
                      </a:r>
                    </a:p>
                  </a:txBody>
                  <a:tcPr anchor="ctr"/>
                </a:tc>
                <a:tc>
                  <a:txBody>
                    <a:bodyPr/>
                    <a:lstStyle/>
                    <a:p>
                      <a:r>
                        <a:rPr lang="en-US" sz="1800" dirty="0"/>
                        <a:t>Ensure that users can easily deal with the most complex scenarios in real time</a:t>
                      </a:r>
                    </a:p>
                  </a:txBody>
                  <a:tcPr/>
                </a:tc>
                <a:extLst>
                  <a:ext uri="{0D108BD9-81ED-4DB2-BD59-A6C34878D82A}">
                    <a16:rowId xmlns:a16="http://schemas.microsoft.com/office/drawing/2014/main" val="3287342173"/>
                  </a:ext>
                </a:extLst>
              </a:tr>
            </a:tbl>
          </a:graphicData>
        </a:graphic>
      </p:graphicFrame>
      <p:pic>
        <p:nvPicPr>
          <p:cNvPr id="4" name="Audio 3">
            <a:hlinkClick r:id="" action="ppaction://media"/>
            <a:extLst>
              <a:ext uri="{FF2B5EF4-FFF2-40B4-BE49-F238E27FC236}">
                <a16:creationId xmlns:a16="http://schemas.microsoft.com/office/drawing/2014/main" id="{263E6F01-379B-4ABD-A196-F82F3CC5A80F}"/>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3018154251"/>
      </p:ext>
    </p:extLst>
  </p:cSld>
  <p:clrMapOvr>
    <a:masterClrMapping/>
  </p:clrMapOvr>
  <mc:AlternateContent xmlns:mc="http://schemas.openxmlformats.org/markup-compatibility/2006" xmlns:p14="http://schemas.microsoft.com/office/powerpoint/2010/main">
    <mc:Choice Requires="p14">
      <p:transition spd="slow" p14:dur="2000" advTm="93101"/>
    </mc:Choice>
    <mc:Fallback xmlns="">
      <p:transition spd="slow" advTm="9310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extLst>
    <p:ext uri="{3A86A75C-4F4B-4683-9AE1-C65F6400EC91}">
      <p14:laserTraceLst xmlns:p14="http://schemas.microsoft.com/office/powerpoint/2010/main">
        <p14:tracePtLst>
          <p14:tracePt t="4982" x="25400" y="1393825"/>
          <p14:tracePt t="4990" x="25400" y="1401763"/>
          <p14:tracePt t="5046" x="42863" y="1401763"/>
          <p14:tracePt t="5054" x="58738" y="1411288"/>
          <p14:tracePt t="5062" x="93663" y="1419225"/>
          <p14:tracePt t="5070" x="136525" y="1444625"/>
          <p14:tracePt t="5079" x="169863" y="1462088"/>
          <p14:tracePt t="5086" x="220663" y="1477963"/>
          <p14:tracePt t="5096" x="280988" y="1477963"/>
          <p14:tracePt t="5102" x="314325" y="1487488"/>
          <p14:tracePt t="5112" x="339725" y="1487488"/>
          <p14:tracePt t="5118" x="357188" y="1487488"/>
          <p14:tracePt t="5129" x="382588" y="1487488"/>
          <p14:tracePt t="5145" x="400050" y="1487488"/>
          <p14:tracePt t="5150" x="425450" y="1477963"/>
          <p14:tracePt t="5165" x="450850" y="1470025"/>
          <p14:tracePt t="5174" x="458788" y="1470025"/>
          <p14:tracePt t="5181" x="476250" y="1462088"/>
          <p14:tracePt t="5190" x="492125" y="1462088"/>
          <p14:tracePt t="5278" x="492125" y="1470025"/>
          <p14:tracePt t="5286" x="492125" y="1504950"/>
          <p14:tracePt t="5295" x="492125" y="1538288"/>
          <p14:tracePt t="5302" x="492125" y="1563688"/>
          <p14:tracePt t="5311" x="501650" y="1597025"/>
          <p14:tracePt t="5317" x="501650" y="1631950"/>
          <p14:tracePt t="5327" x="509588" y="1665288"/>
          <p14:tracePt t="5333" x="509588" y="1682750"/>
          <p14:tracePt t="5341" x="509588" y="1708150"/>
          <p14:tracePt t="5348" x="509588" y="1733550"/>
          <p14:tracePt t="5357" x="509588" y="1751013"/>
          <p14:tracePt t="5365" x="509588" y="1776413"/>
          <p14:tracePt t="5372" x="517525" y="1809750"/>
          <p14:tracePt t="5381" x="544513" y="1844675"/>
          <p14:tracePt t="5389" x="544513" y="1870075"/>
          <p14:tracePt t="5397" x="560388" y="1895475"/>
          <p14:tracePt t="5405" x="577850" y="1903413"/>
          <p14:tracePt t="5413" x="595313" y="1903413"/>
          <p14:tracePt t="5429" x="603250" y="1885950"/>
          <p14:tracePt t="5694" x="620713" y="1885950"/>
          <p14:tracePt t="5702" x="628650" y="1885950"/>
          <p14:tracePt t="5711" x="646113" y="1895475"/>
          <p14:tracePt t="5717" x="646113" y="1903413"/>
          <p14:tracePt t="5729" x="654050" y="1911350"/>
          <p14:tracePt t="5734" x="654050" y="1928813"/>
          <p14:tracePt t="5745" x="661988" y="1938338"/>
          <p14:tracePt t="5750" x="661988" y="1954213"/>
          <p14:tracePt t="5798" x="654050" y="1954213"/>
          <p14:tracePt t="5870" x="646113" y="1963738"/>
          <p14:tracePt t="5878" x="646113" y="1971675"/>
          <p14:tracePt t="5885" x="611188" y="2039938"/>
          <p14:tracePt t="5895" x="603250" y="2133600"/>
          <p14:tracePt t="5902" x="577850" y="2268538"/>
          <p14:tracePt t="5912" x="534988" y="2473325"/>
          <p14:tracePt t="5918" x="501650" y="2805113"/>
          <p14:tracePt t="5930" x="492125" y="3041650"/>
          <p14:tracePt t="5933" x="441325" y="3348038"/>
          <p14:tracePt t="5944" x="425450" y="3535363"/>
          <p14:tracePt t="5950" x="415925" y="3671888"/>
          <p14:tracePt t="5957" x="415925" y="3849688"/>
          <p14:tracePt t="5966" x="415925" y="3935413"/>
          <p14:tracePt t="5974" x="415925" y="4027488"/>
          <p14:tracePt t="5981" x="415925" y="4105275"/>
          <p14:tracePt t="5990" x="415925" y="4189413"/>
          <p14:tracePt t="5997" x="425450" y="4265613"/>
          <p14:tracePt t="6006" x="433388" y="4325938"/>
          <p14:tracePt t="6013" x="441325" y="4384675"/>
          <p14:tracePt t="6022" x="441325" y="4427538"/>
          <p14:tracePt t="6030" x="458788" y="4495800"/>
          <p14:tracePt t="6038" x="466725" y="4529138"/>
          <p14:tracePt t="6046" x="484188" y="4589463"/>
          <p14:tracePt t="6054" x="501650" y="4630738"/>
          <p14:tracePt t="6062" x="517525" y="4673600"/>
          <p14:tracePt t="6070" x="527050" y="4708525"/>
          <p14:tracePt t="6078" x="534988" y="4733925"/>
          <p14:tracePt t="6086" x="544513" y="4741863"/>
          <p14:tracePt t="6311" x="544513" y="4749800"/>
          <p14:tracePt t="6317" x="552450" y="4775200"/>
          <p14:tracePt t="6325" x="552450" y="4818063"/>
          <p14:tracePt t="6333" x="569913" y="4911725"/>
          <p14:tracePt t="6341" x="585788" y="4972050"/>
          <p14:tracePt t="6349" x="611188" y="5048250"/>
          <p14:tracePt t="6357" x="628650" y="5081588"/>
          <p14:tracePt t="6365" x="636588" y="5099050"/>
          <p14:tracePt t="6446" x="646113" y="5099050"/>
          <p14:tracePt t="6455" x="661988" y="5099050"/>
          <p14:tracePt t="6463" x="704850" y="5116513"/>
          <p14:tracePt t="6470" x="765175" y="5141913"/>
          <p14:tracePt t="6479" x="866775" y="5167313"/>
          <p14:tracePt t="6486" x="942975" y="5175250"/>
          <p14:tracePt t="6496" x="1036638" y="5175250"/>
          <p14:tracePt t="6502" x="1069975" y="5175250"/>
          <p14:tracePt t="6511" x="1104900" y="5175250"/>
          <p14:tracePt t="6518" x="1130300" y="5175250"/>
          <p14:tracePt t="6529" x="1130300" y="5167313"/>
          <p14:tracePt t="6534" x="1138238" y="5157788"/>
          <p14:tracePt t="6545" x="1147763" y="5157788"/>
          <p14:tracePt t="6550" x="1147763" y="5149850"/>
          <p14:tracePt t="6558" x="1155700" y="5141913"/>
          <p14:tracePt t="6670" x="1147763" y="5141913"/>
          <p14:tracePt t="6679" x="1138238" y="5141913"/>
          <p14:tracePt t="6694" x="1130300" y="5141913"/>
          <p14:tracePt t="6702" x="1120775" y="5141913"/>
          <p14:tracePt t="6718" x="1112838" y="5141913"/>
          <p14:tracePt t="6734" x="1104900" y="5141913"/>
          <p14:tracePt t="6750" x="1087438" y="5141913"/>
          <p14:tracePt t="6757" x="1087438" y="5132388"/>
          <p14:tracePt t="6766" x="1069975" y="5106988"/>
          <p14:tracePt t="6774" x="1054100" y="5073650"/>
          <p14:tracePt t="6782" x="1011238" y="5005388"/>
          <p14:tracePt t="6790" x="985838" y="4929188"/>
          <p14:tracePt t="6798" x="950913" y="4843463"/>
          <p14:tracePt t="6806" x="909638" y="4699000"/>
          <p14:tracePt t="6813" x="858838" y="4589463"/>
          <p14:tracePt t="6822" x="815975" y="4460875"/>
          <p14:tracePt t="6830" x="773113" y="4359275"/>
          <p14:tracePt t="6837" x="739775" y="4232275"/>
          <p14:tracePt t="6845" x="704850" y="4156075"/>
          <p14:tracePt t="6854" x="679450" y="4079875"/>
          <p14:tracePt t="6861" x="654050" y="4002088"/>
          <p14:tracePt t="6870" x="646113" y="3925888"/>
          <p14:tracePt t="6878" x="646113" y="3832225"/>
          <p14:tracePt t="6885" x="646113" y="3748088"/>
          <p14:tracePt t="6893" x="646113" y="3662363"/>
          <p14:tracePt t="6901" x="654050" y="3568700"/>
          <p14:tracePt t="6910" x="704850" y="3459163"/>
          <p14:tracePt t="6917" x="739775" y="3365500"/>
          <p14:tracePt t="6926" x="781050" y="3289300"/>
          <p14:tracePt t="6942" x="909638" y="3101975"/>
          <p14:tracePt t="6949" x="976313" y="3016250"/>
          <p14:tracePt t="6957" x="1044575" y="2949575"/>
          <p14:tracePt t="6965" x="1120775" y="2863850"/>
          <p14:tracePt t="6973" x="1173163" y="2830513"/>
          <p14:tracePt t="6981" x="1249363" y="2770188"/>
          <p14:tracePt t="6989" x="1317625" y="2736850"/>
          <p14:tracePt t="6997" x="1368425" y="2711450"/>
          <p14:tracePt t="7005" x="1376363" y="2701925"/>
          <p14:tracePt t="7037" x="1343025" y="2727325"/>
          <p14:tracePt t="7045" x="1308100" y="2752725"/>
          <p14:tracePt t="7054" x="1257300" y="2795588"/>
          <p14:tracePt t="7246" x="1223963" y="2795588"/>
          <p14:tracePt t="7254" x="1163638" y="2778125"/>
          <p14:tracePt t="7263" x="1120775" y="2778125"/>
          <p14:tracePt t="7270" x="1062038" y="2778125"/>
          <p14:tracePt t="7278" x="1003300" y="2778125"/>
          <p14:tracePt t="7286" x="976313" y="2778125"/>
          <p14:tracePt t="7296" x="935038" y="2778125"/>
          <p14:tracePt t="7301" x="925513" y="2778125"/>
          <p14:tracePt t="7317" x="925513" y="2762250"/>
          <p14:tracePt t="7333" x="925513" y="2752725"/>
          <p14:tracePt t="7343" x="925513" y="2736850"/>
          <p14:tracePt t="7357" x="935038" y="2727325"/>
          <p14:tracePt t="7365" x="935038" y="2719388"/>
          <p14:tracePt t="7373" x="942975" y="2701925"/>
          <p14:tracePt t="7381" x="950913" y="2676525"/>
          <p14:tracePt t="7389" x="976313" y="2651125"/>
          <p14:tracePt t="7397" x="1028700" y="2600325"/>
          <p14:tracePt t="7405" x="1079500" y="2549525"/>
          <p14:tracePt t="7413" x="1189038" y="2422525"/>
          <p14:tracePt t="7421" x="1282700" y="2336800"/>
          <p14:tracePt t="7429" x="1435100" y="2192338"/>
          <p14:tracePt t="7437" x="1563688" y="2090738"/>
          <p14:tracePt t="7446" x="1682750" y="1989138"/>
          <p14:tracePt t="7453" x="1885950" y="1852613"/>
          <p14:tracePt t="7461" x="2005013" y="1776413"/>
          <p14:tracePt t="7469" x="2141538" y="1700213"/>
          <p14:tracePt t="7477" x="2217738" y="1674813"/>
          <p14:tracePt t="7485" x="2319338" y="1622425"/>
          <p14:tracePt t="7494" x="2370138" y="1597025"/>
          <p14:tracePt t="7501" x="2430463" y="1571625"/>
          <p14:tracePt t="7510" x="2463800" y="1555750"/>
          <p14:tracePt t="7517" x="2481263" y="1546225"/>
          <p14:tracePt t="7526" x="2497138" y="1538288"/>
          <p14:tracePt t="7533" x="2506663" y="1538288"/>
          <p14:tracePt t="7581" x="2497138" y="1538288"/>
          <p14:tracePt t="8158" x="2481263" y="1538288"/>
          <p14:tracePt t="8166" x="2438400" y="1538288"/>
          <p14:tracePt t="8175" x="2327275" y="1538288"/>
          <p14:tracePt t="8180" x="2225675" y="1538288"/>
          <p14:tracePt t="8189" x="2022475" y="1563688"/>
          <p14:tracePt t="8196" x="1893888" y="1571625"/>
          <p14:tracePt t="8205" x="1733550" y="1614488"/>
          <p14:tracePt t="8212" x="1647825" y="1639888"/>
          <p14:tracePt t="8221" x="1554163" y="1657350"/>
          <p14:tracePt t="8228" x="1512888" y="1690688"/>
          <p14:tracePt t="8236" x="1470025" y="1716088"/>
          <p14:tracePt t="8245" x="1444625" y="1751013"/>
          <p14:tracePt t="8253" x="1427163" y="1766888"/>
          <p14:tracePt t="8261" x="1419225" y="1793875"/>
          <p14:tracePt t="8269" x="1419225" y="1801813"/>
          <p14:tracePt t="8277" x="1419225" y="1819275"/>
          <p14:tracePt t="8285" x="1427163" y="1835150"/>
          <p14:tracePt t="8293" x="1444625" y="1844675"/>
          <p14:tracePt t="8301" x="1470025" y="1852613"/>
          <p14:tracePt t="8325" x="1477963" y="1852613"/>
          <p14:tracePt t="8333" x="1477963" y="1844675"/>
          <p14:tracePt t="8344" x="1477963" y="1809750"/>
          <p14:tracePt t="8350" x="1462088" y="1751013"/>
          <p14:tracePt t="8358" x="1427163" y="1690688"/>
          <p14:tracePt t="8366" x="1368425" y="1622425"/>
          <p14:tracePt t="8374" x="1317625" y="1571625"/>
          <p14:tracePt t="8383" x="1265238" y="1530350"/>
          <p14:tracePt t="8390" x="1257300" y="1512888"/>
          <p14:tracePt t="8534" x="1257300" y="1504950"/>
          <p14:tracePt t="8542" x="1257300" y="1487488"/>
          <p14:tracePt t="8550" x="1257300" y="1477963"/>
          <p14:tracePt t="8558" x="1274763" y="1477963"/>
          <p14:tracePt t="8567" x="1290638" y="1477963"/>
          <p14:tracePt t="8573" x="1300163" y="1477963"/>
          <p14:tracePt t="8581" x="1317625" y="1477963"/>
          <p14:tracePt t="8597" x="1325563" y="1487488"/>
          <p14:tracePt t="8605" x="1325563" y="1495425"/>
          <p14:tracePt t="8613" x="1308100" y="1495425"/>
          <p14:tracePt t="8621" x="1282700" y="1495425"/>
          <p14:tracePt t="8629" x="1265238" y="1504950"/>
          <p14:tracePt t="8637" x="1231900" y="1504950"/>
          <p14:tracePt t="8645" x="1206500" y="1504950"/>
          <p14:tracePt t="8653" x="1181100" y="1504950"/>
          <p14:tracePt t="8661" x="1173163" y="1504950"/>
          <p14:tracePt t="8669" x="1155700" y="1504950"/>
          <p14:tracePt t="8677" x="1130300" y="1495425"/>
          <p14:tracePt t="8685" x="1095375" y="1477963"/>
          <p14:tracePt t="8694" x="1062038" y="1462088"/>
          <p14:tracePt t="8701" x="1028700" y="1452563"/>
          <p14:tracePt t="8710" x="968375" y="1427163"/>
          <p14:tracePt t="8717" x="935038" y="1411288"/>
          <p14:tracePt t="8726" x="900113" y="1393825"/>
          <p14:tracePt t="8733" x="892175" y="1393825"/>
          <p14:tracePt t="8806" x="892175" y="1385888"/>
          <p14:tracePt t="9327" x="900113" y="1385888"/>
          <p14:tracePt t="9334" x="909638" y="1385888"/>
          <p14:tracePt t="9341" x="925513" y="1385888"/>
          <p14:tracePt t="9349" x="950913" y="1385888"/>
          <p14:tracePt t="9357" x="1019175" y="1419225"/>
          <p14:tracePt t="9364" x="1104900" y="1487488"/>
          <p14:tracePt t="9373" x="1206500" y="1555750"/>
          <p14:tracePt t="9381" x="1308100" y="1614488"/>
          <p14:tracePt t="9389" x="1419225" y="1649413"/>
          <p14:tracePt t="9397" x="1512888" y="1674813"/>
          <p14:tracePt t="9405" x="1589088" y="1674813"/>
          <p14:tracePt t="9413" x="1657350" y="1674813"/>
          <p14:tracePt t="9421" x="1698625" y="1674813"/>
          <p14:tracePt t="9429" x="1733550" y="1674813"/>
          <p14:tracePt t="9437" x="1749425" y="1674813"/>
          <p14:tracePt t="9445" x="1766888" y="1665288"/>
          <p14:tracePt t="9686" x="1792288" y="1690688"/>
          <p14:tracePt t="9695" x="1827213" y="1716088"/>
          <p14:tracePt t="9702" x="1868488" y="1733550"/>
          <p14:tracePt t="9712" x="1868488" y="1758950"/>
          <p14:tracePt t="9718" x="1893888" y="1766888"/>
          <p14:tracePt t="9750" x="1903413" y="1766888"/>
          <p14:tracePt t="9758" x="1911350" y="1766888"/>
          <p14:tracePt t="9765" x="1928813" y="1766888"/>
          <p14:tracePt t="9774" x="1946275" y="1766888"/>
          <p14:tracePt t="9790" x="1954213" y="1766888"/>
          <p14:tracePt t="10476" x="1954213" y="1758950"/>
          <p14:tracePt t="10493" x="1946275" y="1758950"/>
          <p14:tracePt t="10500" x="1928813" y="1758950"/>
          <p14:tracePt t="10508" x="1920875" y="1758950"/>
          <p14:tracePt t="10516" x="1911350" y="1758950"/>
          <p14:tracePt t="10532" x="1903413" y="1758950"/>
          <p14:tracePt t="10541" x="1893888" y="1758950"/>
          <p14:tracePt t="10548" x="1878013" y="1758950"/>
          <p14:tracePt t="10558" x="1868488" y="1758950"/>
          <p14:tracePt t="10565" x="1868488" y="1766888"/>
          <p14:tracePt t="10589" x="1878013" y="1766888"/>
          <p14:tracePt t="10597" x="1911350" y="1766888"/>
          <p14:tracePt t="10605" x="1928813" y="1758950"/>
          <p14:tracePt t="10613" x="1954213" y="1741488"/>
          <p14:tracePt t="10620" x="1971675" y="1725613"/>
          <p14:tracePt t="10629" x="1979613" y="1708150"/>
          <p14:tracePt t="10637" x="1979613" y="1690688"/>
          <p14:tracePt t="10645" x="1979613" y="1674813"/>
          <p14:tracePt t="10653" x="1979613" y="1665288"/>
          <p14:tracePt t="10669" x="1979613" y="1657350"/>
          <p14:tracePt t="10677" x="1979613" y="1649413"/>
          <p14:tracePt t="10685" x="1979613" y="1639888"/>
          <p14:tracePt t="10701" x="1987550" y="1631950"/>
          <p14:tracePt t="10710" x="1987550" y="1622425"/>
          <p14:tracePt t="10733" x="1987550" y="1606550"/>
          <p14:tracePt t="10743" x="1987550" y="1597025"/>
          <p14:tracePt t="10765" x="1987550" y="1589088"/>
          <p14:tracePt t="10773" x="1987550" y="1581150"/>
          <p14:tracePt t="10789" x="1987550" y="1563688"/>
          <p14:tracePt t="10797" x="1979613" y="1546225"/>
          <p14:tracePt t="10806" x="1979613" y="1538288"/>
          <p14:tracePt t="10813" x="1971675" y="1520825"/>
          <p14:tracePt t="10821" x="1962150" y="1504950"/>
          <p14:tracePt t="10837" x="1962150" y="1487488"/>
          <p14:tracePt t="10845" x="1954213" y="1487488"/>
          <p14:tracePt t="10853" x="1946275" y="1477963"/>
          <p14:tracePt t="10861" x="1936750" y="1477963"/>
          <p14:tracePt t="10869" x="1928813" y="1470025"/>
          <p14:tracePt t="10878" x="1920875" y="1462088"/>
          <p14:tracePt t="10885" x="1911350" y="1452563"/>
          <p14:tracePt t="10974" x="1903413" y="1452563"/>
          <p14:tracePt t="11637" x="1911350" y="1452563"/>
          <p14:tracePt t="11645" x="1946275" y="1444625"/>
          <p14:tracePt t="11654" x="1997075" y="1436688"/>
          <p14:tracePt t="11661" x="2022475" y="1427163"/>
          <p14:tracePt t="11670" x="2038350" y="1419225"/>
          <p14:tracePt t="11678" x="2047875" y="1411288"/>
          <p14:tracePt t="11725" x="2038350" y="1419225"/>
          <p14:tracePt t="11734" x="2022475" y="1436688"/>
          <p14:tracePt t="11742" x="2012950" y="1436688"/>
          <p14:tracePt t="11750" x="2005013" y="1444625"/>
          <p14:tracePt t="11766" x="2012950" y="1444625"/>
          <p14:tracePt t="11773" x="2030413" y="1444625"/>
          <p14:tracePt t="11781" x="2047875" y="1444625"/>
          <p14:tracePt t="11789" x="2065338" y="1444625"/>
          <p14:tracePt t="12022" x="2073275" y="1444625"/>
          <p14:tracePt t="12036" x="2073275" y="1452563"/>
          <p14:tracePt t="12142" x="2065338" y="1452563"/>
          <p14:tracePt t="12262" x="2055813" y="1462088"/>
          <p14:tracePt t="12277" x="2073275" y="1462088"/>
          <p14:tracePt t="12285" x="2090738" y="1462088"/>
          <p14:tracePt t="12293" x="2106613" y="1462088"/>
          <p14:tracePt t="12309" x="2116138" y="1462088"/>
          <p14:tracePt t="12317" x="2124075" y="1462088"/>
          <p14:tracePt t="12333" x="2132013" y="1462088"/>
          <p14:tracePt t="12382" x="2132013" y="1452563"/>
          <p14:tracePt t="12398" x="2124075" y="1452563"/>
          <p14:tracePt t="12406" x="2116138" y="1452563"/>
          <p14:tracePt t="12750" x="2124075" y="1452563"/>
          <p14:tracePt t="12775" x="2132013" y="1452563"/>
          <p14:tracePt t="12798" x="2149475" y="1452563"/>
          <p14:tracePt t="12806" x="2157413" y="1452563"/>
          <p14:tracePt t="12814" x="2174875" y="1452563"/>
          <p14:tracePt t="12822" x="2208213" y="1444625"/>
          <p14:tracePt t="12829" x="2225675" y="1444625"/>
          <p14:tracePt t="12837" x="2260600" y="1436688"/>
          <p14:tracePt t="12845" x="2286000" y="1427163"/>
          <p14:tracePt t="12853" x="2311400" y="1427163"/>
          <p14:tracePt t="12861" x="2344738" y="1419225"/>
          <p14:tracePt t="12869" x="2362200" y="1419225"/>
          <p14:tracePt t="12878" x="2387600" y="1411288"/>
          <p14:tracePt t="12885" x="2413000" y="1411288"/>
          <p14:tracePt t="12895" x="2430463" y="1401763"/>
          <p14:tracePt t="12901" x="2446338" y="1401763"/>
          <p14:tracePt t="12910" x="2463800" y="1393825"/>
          <p14:tracePt t="13262" x="2455863" y="1393825"/>
          <p14:tracePt t="13294" x="2446338" y="1393825"/>
          <p14:tracePt t="13302" x="2438400" y="1393825"/>
          <p14:tracePt t="13326" x="2430463" y="1401763"/>
          <p14:tracePt t="13333" x="2420938" y="1401763"/>
          <p14:tracePt t="13343" x="2413000" y="1401763"/>
          <p14:tracePt t="13350" x="2405063" y="1411288"/>
          <p14:tracePt t="13366" x="2405063" y="1419225"/>
          <p14:tracePt t="13382" x="2395538" y="1419225"/>
          <p14:tracePt t="13398" x="2387600" y="1419225"/>
          <p14:tracePt t="13814" x="2387600" y="1427163"/>
          <p14:tracePt t="13822" x="2387600" y="1436688"/>
          <p14:tracePt t="13830" x="2387600" y="1444625"/>
          <p14:tracePt t="13848" x="2387600" y="1452563"/>
          <p14:tracePt t="13853" x="2387600" y="1462088"/>
          <p14:tracePt t="13870" x="2379663" y="1470025"/>
          <p14:tracePt t="13878" x="2379663" y="1477963"/>
          <p14:tracePt t="13886" x="2362200" y="1487488"/>
          <p14:tracePt t="13902" x="2362200" y="1495425"/>
          <p14:tracePt t="13910" x="2352675" y="1495425"/>
          <p14:tracePt t="14093" x="2370138" y="1495425"/>
          <p14:tracePt t="14101" x="2387600" y="1487488"/>
          <p14:tracePt t="14117" x="2405063" y="1487488"/>
          <p14:tracePt t="14125" x="2413000" y="1477963"/>
          <p14:tracePt t="14158" x="2420938" y="1477963"/>
          <p14:tracePt t="14182" x="2430463" y="1470025"/>
          <p14:tracePt t="14247" x="2438400" y="1470025"/>
          <p14:tracePt t="14406" x="2430463" y="1470025"/>
          <p14:tracePt t="14414" x="2420938" y="1477963"/>
          <p14:tracePt t="14422" x="2413000" y="1477963"/>
          <p14:tracePt t="14430" x="2405063" y="1477963"/>
          <p14:tracePt t="14438" x="2395538" y="1477963"/>
          <p14:tracePt t="14582" x="2387600" y="1487488"/>
          <p14:tracePt t="14718" x="2379663" y="1487488"/>
          <p14:tracePt t="14724" x="2379663" y="1495425"/>
          <p14:tracePt t="14740" x="2370138" y="1495425"/>
          <p14:tracePt t="14748" x="2362200" y="1504950"/>
          <p14:tracePt t="14781" x="2362200" y="1512888"/>
          <p14:tracePt t="14821" x="2352675" y="1512888"/>
          <p14:tracePt t="14829" x="2352675" y="1520825"/>
          <p14:tracePt t="14879" x="2352675" y="1530350"/>
          <p14:tracePt t="14885" x="2352675" y="1538288"/>
          <p14:tracePt t="14893" x="2352675" y="1546225"/>
          <p14:tracePt t="14900" x="2362200" y="1546225"/>
          <p14:tracePt t="14949" x="2362200" y="1555750"/>
          <p14:tracePt t="14957" x="2352675" y="1555750"/>
          <p14:tracePt t="14974" x="2344738" y="1555750"/>
          <p14:tracePt t="15093" x="2336800" y="1555750"/>
          <p14:tracePt t="15108" x="2327275" y="1555750"/>
          <p14:tracePt t="15133" x="2319338" y="1555750"/>
          <p14:tracePt t="15302" x="2319338" y="1546225"/>
          <p14:tracePt t="15310" x="2327275" y="1546225"/>
          <p14:tracePt t="15317" x="2327275" y="1538288"/>
          <p14:tracePt t="15328" x="2336800" y="1530350"/>
          <p14:tracePt t="15334" x="2344738" y="1530350"/>
          <p14:tracePt t="15345" x="2352675" y="1530350"/>
          <p14:tracePt t="15375" x="2352675" y="1520825"/>
          <p14:tracePt t="15534" x="2336800" y="1520825"/>
          <p14:tracePt t="15542" x="2319338" y="1520825"/>
          <p14:tracePt t="15558" x="2311400" y="1520825"/>
          <p14:tracePt t="15606" x="2301875" y="1520825"/>
          <p14:tracePt t="15622" x="2293938" y="1520825"/>
          <p14:tracePt t="15630" x="2286000" y="1520825"/>
          <p14:tracePt t="15638" x="2276475" y="1520825"/>
          <p14:tracePt t="15654" x="2268538" y="1530350"/>
          <p14:tracePt t="15661" x="2260600" y="1530350"/>
          <p14:tracePt t="15670" x="2251075" y="1530350"/>
          <p14:tracePt t="15685" x="2243138" y="1530350"/>
          <p14:tracePt t="15694" x="2235200" y="1538288"/>
          <p14:tracePt t="15702" x="2208213" y="1546225"/>
          <p14:tracePt t="15710" x="2157413" y="1571625"/>
          <p14:tracePt t="15717" x="2149475" y="1589088"/>
          <p14:tracePt t="15727" x="2149475" y="1606550"/>
          <p14:tracePt t="15734" x="2149475" y="1614488"/>
          <p14:tracePt t="15743" x="2166938" y="1639888"/>
          <p14:tracePt t="15750" x="2208213" y="1665288"/>
          <p14:tracePt t="15760" x="2293938" y="1725613"/>
          <p14:tracePt t="15766" x="2379663" y="1766888"/>
          <p14:tracePt t="15776" x="2471738" y="1801813"/>
          <p14:tracePt t="15782" x="2574925" y="1835150"/>
          <p14:tracePt t="15790" x="2659063" y="1852613"/>
          <p14:tracePt t="15798" x="2770188" y="1860550"/>
          <p14:tracePt t="15805" x="2846388" y="1860550"/>
          <p14:tracePt t="15813" x="2930525" y="1860550"/>
          <p14:tracePt t="15822" x="2973388" y="1860550"/>
          <p14:tracePt t="15829" x="3041650" y="1860550"/>
          <p14:tracePt t="15837" x="3100388" y="1860550"/>
          <p14:tracePt t="15845" x="3160713" y="1860550"/>
          <p14:tracePt t="15854" x="3228975" y="1860550"/>
          <p14:tracePt t="15861" x="3287713" y="1860550"/>
          <p14:tracePt t="15870" x="3348038" y="1878013"/>
          <p14:tracePt t="15878" x="3389313" y="1878013"/>
          <p14:tracePt t="15886" x="3424238" y="1885950"/>
          <p14:tracePt t="15894" x="3449638" y="1885950"/>
          <p14:tracePt t="15902" x="3475038" y="1895475"/>
          <p14:tracePt t="15917" x="3492500" y="1895475"/>
          <p14:tracePt t="15927" x="3508375" y="1895475"/>
          <p14:tracePt t="15934" x="3525838" y="1885950"/>
          <p14:tracePt t="15944" x="3551238" y="1878013"/>
          <p14:tracePt t="15950" x="3576638" y="1870075"/>
          <p14:tracePt t="15960" x="3636963" y="1852613"/>
          <p14:tracePt t="15966" x="3678238" y="1827213"/>
          <p14:tracePt t="15976" x="3763963" y="1819275"/>
          <p14:tracePt t="15981" x="3865563" y="1809750"/>
          <p14:tracePt t="15990" x="3992563" y="1784350"/>
          <p14:tracePt t="15998" x="4187825" y="1784350"/>
          <p14:tracePt t="16006" x="4341813" y="1784350"/>
          <p14:tracePt t="16013" x="4511675" y="1784350"/>
          <p14:tracePt t="16022" x="4630738" y="1784350"/>
          <p14:tracePt t="16029" x="4740275" y="1801813"/>
          <p14:tracePt t="16038" x="4818063" y="1809750"/>
          <p14:tracePt t="16045" x="4851400" y="1819275"/>
          <p14:tracePt t="16053" x="4851400" y="1827213"/>
          <p14:tracePt t="16118" x="4843463" y="1827213"/>
          <p14:tracePt t="16126" x="4826000" y="1827213"/>
          <p14:tracePt t="16134" x="4800600" y="1835150"/>
          <p14:tracePt t="16141" x="4765675" y="1844675"/>
          <p14:tracePt t="16150" x="4740275" y="1844675"/>
          <p14:tracePt t="16160" x="4724400" y="1844675"/>
          <p14:tracePt t="16166" x="4714875" y="1844675"/>
          <p14:tracePt t="16177" x="4714875" y="1852613"/>
          <p14:tracePt t="16197" x="4714875" y="1860550"/>
          <p14:tracePt t="16206" x="4724400" y="1878013"/>
          <p14:tracePt t="16213" x="4757738" y="1885950"/>
          <p14:tracePt t="16222" x="4783138" y="1895475"/>
          <p14:tracePt t="16229" x="4818063" y="1895475"/>
          <p14:tracePt t="16237" x="4826000" y="1895475"/>
          <p14:tracePt t="16245" x="4833938" y="1895475"/>
          <p14:tracePt t="16269" x="4818063" y="1885950"/>
          <p14:tracePt t="16278" x="4765675" y="1870075"/>
          <p14:tracePt t="16285" x="4681538" y="1860550"/>
          <p14:tracePt t="16294" x="4579938" y="1835150"/>
          <p14:tracePt t="16301" x="4410075" y="1819275"/>
          <p14:tracePt t="16310" x="4281488" y="1809750"/>
          <p14:tracePt t="16317" x="4162425" y="1809750"/>
          <p14:tracePt t="16326" x="4111625" y="1809750"/>
          <p14:tracePt t="16334" x="4095750" y="1809750"/>
          <p14:tracePt t="16350" x="4095750" y="1819275"/>
          <p14:tracePt t="16360" x="4137025" y="1835150"/>
          <p14:tracePt t="16366" x="4214813" y="1870075"/>
          <p14:tracePt t="16376" x="4349750" y="1920875"/>
          <p14:tracePt t="16382" x="4460875" y="1954213"/>
          <p14:tracePt t="16390" x="4621213" y="1963738"/>
          <p14:tracePt t="16399" x="4706938" y="1979613"/>
          <p14:tracePt t="16406" x="4775200" y="1979613"/>
          <p14:tracePt t="16413" x="4800600" y="1979613"/>
          <p14:tracePt t="16454" x="4800600" y="1971675"/>
          <p14:tracePt t="16461" x="4765675" y="1963738"/>
          <p14:tracePt t="16470" x="4732338" y="1954213"/>
          <p14:tracePt t="16479" x="4706938" y="1954213"/>
          <p14:tracePt t="16486" x="4699000" y="1954213"/>
          <p14:tracePt t="16517" x="4757738" y="1954213"/>
          <p14:tracePt t="16525" x="4826000" y="1954213"/>
          <p14:tracePt t="16534" x="4970463" y="1954213"/>
          <p14:tracePt t="16543" x="5054600" y="1954213"/>
          <p14:tracePt t="16550" x="5183188" y="1954213"/>
          <p14:tracePt t="16560" x="5249863" y="1954213"/>
          <p14:tracePt t="16566" x="5310188" y="1954213"/>
          <p14:tracePt t="16577" x="5327650" y="1954213"/>
          <p14:tracePt t="16582" x="5335588" y="1954213"/>
          <p14:tracePt t="16630" x="5327650" y="1954213"/>
          <p14:tracePt t="16638" x="5318125" y="1954213"/>
          <p14:tracePt t="17078" x="5343525" y="1954213"/>
          <p14:tracePt t="17086" x="5368925" y="1954213"/>
          <p14:tracePt t="17094" x="5472113" y="1954213"/>
          <p14:tracePt t="17102" x="5522913" y="1938338"/>
          <p14:tracePt t="17112" x="5556250" y="1911350"/>
          <p14:tracePt t="17118" x="5573713" y="1885950"/>
          <p14:tracePt t="17128" x="5573713" y="1860550"/>
          <p14:tracePt t="17134" x="5573713" y="1835150"/>
          <p14:tracePt t="17143" x="5573713" y="1819275"/>
          <p14:tracePt t="17150" x="5556250" y="1793875"/>
          <p14:tracePt t="17160" x="5548313" y="1758950"/>
          <p14:tracePt t="17166" x="5522913" y="1733550"/>
          <p14:tracePt t="17177" x="5513388" y="1708150"/>
          <p14:tracePt t="17182" x="5505450" y="1700213"/>
          <p14:tracePt t="17190" x="5497513" y="1700213"/>
          <p14:tracePt t="17197" x="5487988" y="1700213"/>
          <p14:tracePt t="17246" x="5505450" y="1700213"/>
          <p14:tracePt t="17254" x="5565775" y="1700213"/>
          <p14:tracePt t="17261" x="5641975" y="1725613"/>
          <p14:tracePt t="17270" x="5751513" y="1733550"/>
          <p14:tracePt t="17279" x="5837238" y="1751013"/>
          <p14:tracePt t="17286" x="5921375" y="1751013"/>
          <p14:tracePt t="17295" x="5956300" y="1751013"/>
          <p14:tracePt t="17302" x="5972175" y="1741488"/>
          <p14:tracePt t="17310" x="5981700" y="1733550"/>
          <p14:tracePt t="17533" x="5972175" y="1725613"/>
          <p14:tracePt t="17540" x="5972175" y="1708150"/>
          <p14:tracePt t="17574" x="5972175" y="1690688"/>
          <p14:tracePt t="17581" x="5972175" y="1682750"/>
          <p14:tracePt t="17597" x="5972175" y="1674813"/>
          <p14:tracePt t="17613" x="5972175" y="1665288"/>
          <p14:tracePt t="17621" x="5964238" y="1665288"/>
          <p14:tracePt t="17629" x="5956300" y="1665288"/>
          <p14:tracePt t="17637" x="5946775" y="1665288"/>
          <p14:tracePt t="17644" x="5946775" y="1657350"/>
          <p14:tracePt t="17653" x="5946775" y="1649413"/>
          <p14:tracePt t="18230" x="5938838" y="1649413"/>
          <p14:tracePt t="18238" x="5930900" y="1657350"/>
          <p14:tracePt t="18246" x="5905500" y="1700213"/>
          <p14:tracePt t="18254" x="5870575" y="1758950"/>
          <p14:tracePt t="18262" x="5827713" y="1852613"/>
          <p14:tracePt t="18270" x="5794375" y="1946275"/>
          <p14:tracePt t="18279" x="5735638" y="2047875"/>
          <p14:tracePt t="18286" x="5692775" y="2124075"/>
          <p14:tracePt t="18294" x="5657850" y="2200275"/>
          <p14:tracePt t="18302" x="5616575" y="2303463"/>
          <p14:tracePt t="18310" x="5581650" y="2354263"/>
          <p14:tracePt t="18317" x="5530850" y="2422525"/>
          <p14:tracePt t="18325" x="5505450" y="2455863"/>
          <p14:tracePt t="18333" x="5454650" y="2481263"/>
          <p14:tracePt t="18342" x="5403850" y="2516188"/>
          <p14:tracePt t="18349" x="5310188" y="2549525"/>
          <p14:tracePt t="18358" x="5241925" y="2582863"/>
          <p14:tracePt t="18365" x="5148263" y="2592388"/>
          <p14:tracePt t="18376" x="4995863" y="2600325"/>
          <p14:tracePt t="18381" x="4868863" y="2600325"/>
          <p14:tracePt t="18390" x="4630738" y="2600325"/>
          <p14:tracePt t="18397" x="4476750" y="2600325"/>
          <p14:tracePt t="18405" x="4316413" y="2566988"/>
          <p14:tracePt t="18413" x="4187825" y="2541588"/>
          <p14:tracePt t="18421" x="4010025" y="2524125"/>
          <p14:tracePt t="18429" x="3900488" y="2524125"/>
          <p14:tracePt t="18437" x="3771900" y="2524125"/>
          <p14:tracePt t="18445" x="3551238" y="2549525"/>
          <p14:tracePt t="18453" x="3355975" y="2592388"/>
          <p14:tracePt t="18461" x="3100388" y="2633663"/>
          <p14:tracePt t="18469" x="2905125" y="2676525"/>
          <p14:tracePt t="18477" x="2676525" y="2676525"/>
          <p14:tracePt t="18485" x="2549525" y="2676525"/>
          <p14:tracePt t="18493" x="2387600" y="2676525"/>
          <p14:tracePt t="18501" x="2276475" y="2676525"/>
          <p14:tracePt t="18509" x="2149475" y="2676525"/>
          <p14:tracePt t="18517" x="1979613" y="2676525"/>
          <p14:tracePt t="18525" x="1852613" y="2676525"/>
          <p14:tracePt t="18533" x="1698625" y="2676525"/>
          <p14:tracePt t="18542" x="1597025" y="2676525"/>
          <p14:tracePt t="18549" x="1528763" y="2676525"/>
          <p14:tracePt t="18558" x="1503363" y="2676525"/>
          <p14:tracePt t="18565" x="1487488" y="2676525"/>
          <p14:tracePt t="18638" x="1477963" y="2676525"/>
          <p14:tracePt t="18661" x="1470025" y="2686050"/>
          <p14:tracePt t="19981" x="1487488" y="2686050"/>
          <p14:tracePt t="19989" x="1495425" y="2693988"/>
          <p14:tracePt t="19997" x="1520825" y="2693988"/>
          <p14:tracePt t="20005" x="1546225" y="2701925"/>
          <p14:tracePt t="20013" x="1554163" y="2701925"/>
          <p14:tracePt t="20021" x="1579563" y="2711450"/>
          <p14:tracePt t="20029" x="1614488" y="2719388"/>
          <p14:tracePt t="20036" x="1639888" y="2719388"/>
          <p14:tracePt t="20045" x="1673225" y="2736850"/>
          <p14:tracePt t="20053" x="1690688" y="2744788"/>
          <p14:tracePt t="20061" x="1724025" y="2762250"/>
          <p14:tracePt t="20069" x="1741488" y="2762250"/>
          <p14:tracePt t="20077" x="1749425" y="2770188"/>
          <p14:tracePt t="20109" x="1758950" y="2770188"/>
          <p14:tracePt t="20117" x="1766888" y="2770188"/>
          <p14:tracePt t="20126" x="1776413" y="2770188"/>
          <p14:tracePt t="20133" x="1792288" y="2770188"/>
          <p14:tracePt t="20141" x="1817688" y="2770188"/>
          <p14:tracePt t="20149" x="1860550" y="2770188"/>
          <p14:tracePt t="20158" x="1878013" y="2770188"/>
          <p14:tracePt t="20165" x="1911350" y="2770188"/>
          <p14:tracePt t="20175" x="1936750" y="2770188"/>
          <p14:tracePt t="20181" x="1946275" y="2770188"/>
          <p14:tracePt t="20189" x="1971675" y="2770188"/>
          <p14:tracePt t="20197" x="1979613" y="2770188"/>
          <p14:tracePt t="20205" x="1979613" y="2778125"/>
          <p14:tracePt t="20213" x="1987550" y="2778125"/>
          <p14:tracePt t="20221" x="1987550" y="2787650"/>
          <p14:tracePt t="20382" x="2005013" y="2787650"/>
          <p14:tracePt t="20390" x="2022475" y="2787650"/>
          <p14:tracePt t="20399" x="2065338" y="2787650"/>
          <p14:tracePt t="20406" x="2106613" y="2787650"/>
          <p14:tracePt t="20414" x="2157413" y="2787650"/>
          <p14:tracePt t="20422" x="2182813" y="2787650"/>
          <p14:tracePt t="20430" x="2208213" y="2787650"/>
          <p14:tracePt t="20437" x="2235200" y="2778125"/>
          <p14:tracePt t="20445" x="2243138" y="2778125"/>
          <p14:tracePt t="20453" x="2260600" y="2762250"/>
          <p14:tracePt t="20461" x="2301875" y="2762250"/>
          <p14:tracePt t="20469" x="2362200" y="2752725"/>
          <p14:tracePt t="20477" x="2463800" y="2736850"/>
          <p14:tracePt t="20485" x="2574925" y="2736850"/>
          <p14:tracePt t="20493" x="2811463" y="2736850"/>
          <p14:tracePt t="20501" x="3041650" y="2736850"/>
          <p14:tracePt t="20510" x="3389313" y="2736850"/>
          <p14:tracePt t="20517" x="3678238" y="2736850"/>
          <p14:tracePt t="20525" x="3908425" y="2736850"/>
          <p14:tracePt t="20533" x="4248150" y="2668588"/>
          <p14:tracePt t="20541" x="4384675" y="2643188"/>
          <p14:tracePt t="20549" x="4511675" y="2608263"/>
          <p14:tracePt t="20558" x="4570413" y="2574925"/>
          <p14:tracePt t="20565" x="4638675" y="2549525"/>
          <p14:tracePt t="20575" x="4656138" y="2532063"/>
          <p14:tracePt t="20582" x="4673600" y="2532063"/>
          <p14:tracePt t="20590" x="4681538" y="2524125"/>
          <p14:tracePt t="20618" x="4689475" y="2524125"/>
          <p14:tracePt t="20774" x="4689475" y="2516188"/>
          <p14:tracePt t="21238" x="4699000" y="2516188"/>
          <p14:tracePt t="21244" x="4706938" y="2516188"/>
          <p14:tracePt t="21253" x="4740275" y="2498725"/>
          <p14:tracePt t="21260" x="4775200" y="2489200"/>
          <p14:tracePt t="21269" x="4833938" y="2481263"/>
          <p14:tracePt t="21276" x="4894263" y="2473325"/>
          <p14:tracePt t="21284" x="4953000" y="2463800"/>
          <p14:tracePt t="21293" x="5013325" y="2455863"/>
          <p14:tracePt t="21301" x="5097463" y="2447925"/>
          <p14:tracePt t="21309" x="5148263" y="2430463"/>
          <p14:tracePt t="21317" x="5191125" y="2422525"/>
          <p14:tracePt t="21325" x="5241925" y="2413000"/>
          <p14:tracePt t="21333" x="5276850" y="2405063"/>
          <p14:tracePt t="21341" x="5318125" y="2405063"/>
          <p14:tracePt t="21349" x="5327650" y="2405063"/>
          <p14:tracePt t="21358" x="5360988" y="2397125"/>
          <p14:tracePt t="21365" x="5378450" y="2397125"/>
          <p14:tracePt t="21374" x="5394325" y="2387600"/>
          <p14:tracePt t="21381" x="5411788" y="2387600"/>
          <p14:tracePt t="21389" x="5429250" y="2387600"/>
          <p14:tracePt t="21405" x="5446713" y="2379663"/>
          <p14:tracePt t="21413" x="5462588" y="2379663"/>
          <p14:tracePt t="21421" x="5472113" y="2379663"/>
          <p14:tracePt t="21429" x="5472113" y="2371725"/>
          <p14:tracePt t="21437" x="5480050" y="2371725"/>
          <p14:tracePt t="21550" x="5487988" y="2371725"/>
          <p14:tracePt t="21566" x="5497513" y="2371725"/>
          <p14:tracePt t="21575" x="5522913" y="2362200"/>
          <p14:tracePt t="21582" x="5548313" y="2362200"/>
          <p14:tracePt t="21590" x="5591175" y="2354263"/>
          <p14:tracePt t="21597" x="5641975" y="2344738"/>
          <p14:tracePt t="21606" x="5700713" y="2336800"/>
          <p14:tracePt t="21613" x="5761038" y="2336800"/>
          <p14:tracePt t="21622" x="5776913" y="2336800"/>
          <p14:tracePt t="21629" x="5786438" y="2336800"/>
          <p14:tracePt t="21645" x="5794375" y="2336800"/>
          <p14:tracePt t="21661" x="5837238" y="2362200"/>
          <p14:tracePt t="21670" x="5905500" y="2405063"/>
          <p14:tracePt t="21678" x="5989638" y="2447925"/>
          <p14:tracePt t="21686" x="6083300" y="2481263"/>
          <p14:tracePt t="21694" x="6142038" y="2489200"/>
          <p14:tracePt t="21702" x="6184900" y="2489200"/>
          <p14:tracePt t="21710" x="6210300" y="2489200"/>
          <p14:tracePt t="21790" x="6219825" y="2506663"/>
          <p14:tracePt t="21797" x="6235700" y="2516188"/>
          <p14:tracePt t="21806" x="6270625" y="2566988"/>
          <p14:tracePt t="21814" x="6303963" y="2582863"/>
          <p14:tracePt t="21822" x="6346825" y="2608263"/>
          <p14:tracePt t="21829" x="6372225" y="2633663"/>
          <p14:tracePt t="21838" x="6372225" y="2651125"/>
          <p14:tracePt t="21854" x="6346825" y="2651125"/>
          <p14:tracePt t="22030" x="6354763" y="2651125"/>
          <p14:tracePt t="22037" x="6364288" y="2651125"/>
          <p14:tracePt t="22078" x="6346825" y="2668588"/>
          <p14:tracePt t="22086" x="6364288" y="2643188"/>
          <p14:tracePt t="22095" x="6372225" y="2643188"/>
          <p14:tracePt t="22126" x="6372225" y="2633663"/>
          <p14:tracePt t="22229" x="6372225" y="2625725"/>
          <p14:tracePt t="22237" x="6380163" y="2625725"/>
          <p14:tracePt t="22318" x="6389688" y="2625725"/>
          <p14:tracePt t="22327" x="6397625" y="2625725"/>
          <p14:tracePt t="23518" x="6405563" y="2625725"/>
          <p14:tracePt t="23534" x="6423025" y="2625725"/>
          <p14:tracePt t="23541" x="6440488" y="2617788"/>
          <p14:tracePt t="23549" x="6456363" y="2608263"/>
          <p14:tracePt t="23561" x="6473825" y="2608263"/>
          <p14:tracePt t="23566" x="6483350" y="2608263"/>
          <p14:tracePt t="23582" x="6491288" y="2608263"/>
          <p14:tracePt t="23594" x="6508750" y="2608263"/>
          <p14:tracePt t="23597" x="6524625" y="2608263"/>
          <p14:tracePt t="23615" x="6575425" y="2608263"/>
          <p14:tracePt t="23623" x="6592888" y="2608263"/>
          <p14:tracePt t="23630" x="6600825" y="2608263"/>
          <p14:tracePt t="23638" x="6618288" y="2608263"/>
          <p14:tracePt t="23646" x="6626225" y="2608263"/>
          <p14:tracePt t="23654" x="6635750" y="2608263"/>
          <p14:tracePt t="23661" x="6643688" y="2608263"/>
          <p14:tracePt t="23670" x="6661150" y="2608263"/>
          <p14:tracePt t="23677" x="6678613" y="2608263"/>
          <p14:tracePt t="23686" x="6686550" y="2608263"/>
          <p14:tracePt t="23694" x="6704013" y="2608263"/>
          <p14:tracePt t="23702" x="6719888" y="2608263"/>
          <p14:tracePt t="23717" x="6729413" y="2608263"/>
          <p14:tracePt t="23726" x="6729413" y="2617788"/>
          <p14:tracePt t="23734" x="6737350" y="2617788"/>
          <p14:tracePt t="23870" x="6737350" y="2625725"/>
          <p14:tracePt t="23878" x="6719888" y="2633663"/>
          <p14:tracePt t="23886" x="6719888" y="2643188"/>
          <p14:tracePt t="23895" x="6704013" y="2651125"/>
          <p14:tracePt t="23902" x="6686550" y="2660650"/>
          <p14:tracePt t="23910" x="6686550" y="2668588"/>
          <p14:tracePt t="23917" x="6678613" y="2676525"/>
          <p14:tracePt t="23927" x="6669088" y="2676525"/>
          <p14:tracePt t="23942" x="6669088" y="2686050"/>
          <p14:tracePt t="23950" x="6669088" y="2693988"/>
          <p14:tracePt t="23966" x="6669088" y="2711450"/>
          <p14:tracePt t="23977" x="6669088" y="2719388"/>
          <p14:tracePt t="23982" x="6678613" y="2719388"/>
          <p14:tracePt t="23997" x="6694488" y="2719388"/>
          <p14:tracePt t="24007" x="6704013" y="2719388"/>
          <p14:tracePt t="24013" x="6704013" y="2727325"/>
          <p14:tracePt t="24191" x="6711950" y="2727325"/>
          <p14:tracePt t="24198" x="6729413" y="2727325"/>
          <p14:tracePt t="24207" x="6745288" y="2719388"/>
          <p14:tracePt t="24214" x="6788150" y="2693988"/>
          <p14:tracePt t="24350" x="6797675" y="2693988"/>
          <p14:tracePt t="24358" x="6813550" y="2686050"/>
          <p14:tracePt t="24366" x="6838950" y="2668588"/>
          <p14:tracePt t="24378" x="6873875" y="2643188"/>
          <p14:tracePt t="24381" x="6899275" y="2625725"/>
          <p14:tracePt t="24395" x="6915150" y="2608263"/>
          <p14:tracePt t="24399" x="6932613" y="2574925"/>
          <p14:tracePt t="24407" x="6932613" y="2557463"/>
          <p14:tracePt t="24412" x="6932613" y="2549525"/>
          <p14:tracePt t="24421" x="6932613" y="2532063"/>
          <p14:tracePt t="24429" x="6932613" y="2524125"/>
          <p14:tracePt t="24494" x="6924675" y="2524125"/>
          <p14:tracePt t="24510" x="6915150" y="2524125"/>
          <p14:tracePt t="24517" x="6899275" y="2524125"/>
          <p14:tracePt t="24526" x="6873875" y="2524125"/>
          <p14:tracePt t="24534" x="6838950" y="2524125"/>
          <p14:tracePt t="24542" x="6780213" y="2532063"/>
          <p14:tracePt t="24549" x="6704013" y="2541588"/>
          <p14:tracePt t="24559" x="6559550" y="2574925"/>
          <p14:tracePt t="24566" x="6448425" y="2600325"/>
          <p14:tracePt t="24576" x="6245225" y="2625725"/>
          <p14:tracePt t="24582" x="6049963" y="2668588"/>
          <p14:tracePt t="24593" x="5853113" y="2711450"/>
          <p14:tracePt t="24597" x="5616575" y="2787650"/>
          <p14:tracePt t="24606" x="5487988" y="2820988"/>
          <p14:tracePt t="24615" x="5353050" y="2871788"/>
          <p14:tracePt t="24621" x="5292725" y="2906713"/>
          <p14:tracePt t="24629" x="5224463" y="2932113"/>
          <p14:tracePt t="24637" x="5208588" y="2940050"/>
          <p14:tracePt t="24645" x="5191125" y="2949575"/>
          <p14:tracePt t="25366" x="5183188" y="2949575"/>
          <p14:tracePt t="25373" x="5157788" y="2957513"/>
          <p14:tracePt t="25382" x="5097463" y="2990850"/>
          <p14:tracePt t="25390" x="4978400" y="3033713"/>
          <p14:tracePt t="25397" x="4876800" y="3076575"/>
          <p14:tracePt t="25406" x="4757738" y="3127375"/>
          <p14:tracePt t="25413" x="4656138" y="3170238"/>
          <p14:tracePt t="25422" x="4519613" y="3221038"/>
          <p14:tracePt t="25430" x="4435475" y="3246438"/>
          <p14:tracePt t="25438" x="4349750" y="3254375"/>
          <p14:tracePt t="25446" x="4273550" y="3263900"/>
          <p14:tracePt t="25453" x="4214813" y="3271838"/>
          <p14:tracePt t="25461" x="4137025" y="3297238"/>
          <p14:tracePt t="25470" x="4078288" y="3305175"/>
          <p14:tracePt t="25477" x="3992563" y="3330575"/>
          <p14:tracePt t="25486" x="3916363" y="3340100"/>
          <p14:tracePt t="25494" x="3840163" y="3355975"/>
          <p14:tracePt t="25501" x="3797300" y="3365500"/>
          <p14:tracePt t="25510" x="3738563" y="3390900"/>
          <p14:tracePt t="25517" x="3703638" y="3408363"/>
          <p14:tracePt t="25526" x="3678238" y="3424238"/>
          <p14:tracePt t="25534" x="3652838" y="3433763"/>
          <p14:tracePt t="25543" x="3644900" y="3433763"/>
          <p14:tracePt t="25638" x="3644900" y="3408363"/>
          <p14:tracePt t="25646" x="3662363" y="3365500"/>
          <p14:tracePt t="25653" x="3703638" y="3289300"/>
          <p14:tracePt t="25661" x="3721100" y="3254375"/>
          <p14:tracePt t="25670" x="3738563" y="3221038"/>
          <p14:tracePt t="25677" x="3738563" y="3203575"/>
          <p14:tracePt t="25686" x="3738563" y="3195638"/>
          <p14:tracePt t="25830" x="3746500" y="3186113"/>
          <p14:tracePt t="25837" x="3771900" y="3178175"/>
          <p14:tracePt t="25846" x="3797300" y="3170238"/>
          <p14:tracePt t="25853" x="3873500" y="3144838"/>
          <p14:tracePt t="25861" x="3951288" y="3135313"/>
          <p14:tracePt t="25870" x="4078288" y="3135313"/>
          <p14:tracePt t="25878" x="4214813" y="3135313"/>
          <p14:tracePt t="25886" x="4384675" y="3135313"/>
          <p14:tracePt t="25895" x="4765675" y="3135313"/>
          <p14:tracePt t="25901" x="5054600" y="3135313"/>
          <p14:tracePt t="25909" x="5368925" y="3135313"/>
          <p14:tracePt t="25917" x="5573713" y="3135313"/>
          <p14:tracePt t="25925" x="5776913" y="3135313"/>
          <p14:tracePt t="25942" x="5989638" y="3101975"/>
          <p14:tracePt t="25949" x="6065838" y="3094038"/>
          <p14:tracePt t="25957" x="6116638" y="3076575"/>
          <p14:tracePt t="25964" x="6142038" y="3067050"/>
          <p14:tracePt t="25973" x="6159500" y="3051175"/>
          <p14:tracePt t="25981" x="6176963" y="3041650"/>
          <p14:tracePt t="25989" x="6184900" y="3033713"/>
          <p14:tracePt t="26654" x="6194425" y="3033713"/>
          <p14:tracePt t="26662" x="6219825" y="3033713"/>
          <p14:tracePt t="26669" x="6235700" y="3041650"/>
          <p14:tracePt t="26678" x="6261100" y="3059113"/>
          <p14:tracePt t="26685" x="6278563" y="3076575"/>
          <p14:tracePt t="26695" x="6296025" y="3076575"/>
          <p14:tracePt t="26701" x="6296025" y="3084513"/>
          <p14:tracePt t="26757" x="6303963" y="3084513"/>
          <p14:tracePt t="26773" x="6311900" y="3084513"/>
          <p14:tracePt t="26790" x="6321425" y="3084513"/>
          <p14:tracePt t="26797" x="6338888" y="3076575"/>
          <p14:tracePt t="26806" x="6354763" y="3059113"/>
          <p14:tracePt t="26813" x="6372225" y="3051175"/>
          <p14:tracePt t="26982" x="6380163" y="3051175"/>
          <p14:tracePt t="26990" x="6389688" y="3051175"/>
          <p14:tracePt t="27006" x="6415088" y="3051175"/>
          <p14:tracePt t="27022" x="6405563" y="3051175"/>
          <p14:tracePt t="27029" x="6397625" y="3051175"/>
          <p14:tracePt t="27054" x="6389688" y="3051175"/>
          <p14:tracePt t="27070" x="6380163" y="3051175"/>
          <p14:tracePt t="27094" x="6364288" y="3051175"/>
          <p14:tracePt t="27101" x="6338888" y="3051175"/>
          <p14:tracePt t="27117" x="6329363" y="3051175"/>
          <p14:tracePt t="27126" x="6321425" y="3051175"/>
          <p14:tracePt t="27500" x="6311900" y="3051175"/>
          <p14:tracePt t="27509" x="6286500" y="3059113"/>
          <p14:tracePt t="27525" x="6278563" y="3059113"/>
          <p14:tracePt t="27532" x="6270625" y="3059113"/>
          <p14:tracePt t="27541" x="6261100" y="3059113"/>
          <p14:tracePt t="27548" x="6253163" y="3059113"/>
          <p14:tracePt t="27927" x="6245225" y="3059113"/>
          <p14:tracePt t="27943" x="6210300" y="3059113"/>
          <p14:tracePt t="27949" x="6184900" y="3067050"/>
          <p14:tracePt t="27957" x="6151563" y="3067050"/>
          <p14:tracePt t="27965" x="6091238" y="3067050"/>
          <p14:tracePt t="27973" x="6007100" y="3094038"/>
          <p14:tracePt t="27981" x="5905500" y="3101975"/>
          <p14:tracePt t="27989" x="5811838" y="3119438"/>
          <p14:tracePt t="27997" x="5675313" y="3127375"/>
          <p14:tracePt t="28004" x="5556250" y="3127375"/>
          <p14:tracePt t="28013" x="5378450" y="3127375"/>
          <p14:tracePt t="28020" x="5249863" y="3127375"/>
          <p14:tracePt t="28029" x="5097463" y="3127375"/>
          <p14:tracePt t="28036" x="4970463" y="3127375"/>
          <p14:tracePt t="28044" x="4843463" y="3127375"/>
          <p14:tracePt t="28053" x="4706938" y="3127375"/>
          <p14:tracePt t="28060" x="4605338" y="3127375"/>
          <p14:tracePt t="28069" x="4494213" y="3127375"/>
          <p14:tracePt t="28076" x="4425950" y="3127375"/>
          <p14:tracePt t="28085" x="4306888" y="3127375"/>
          <p14:tracePt t="28093" x="4240213" y="3127375"/>
          <p14:tracePt t="28101" x="4179888" y="3127375"/>
          <p14:tracePt t="28109" x="4129088" y="3119438"/>
          <p14:tracePt t="28117" x="4111625" y="3101975"/>
          <p14:tracePt t="28125" x="4103688" y="3067050"/>
          <p14:tracePt t="28133" x="4103688" y="3051175"/>
          <p14:tracePt t="28141" x="4111625" y="3033713"/>
          <p14:tracePt t="28149" x="4111625" y="3016250"/>
          <p14:tracePt t="28374" x="4103688" y="3016250"/>
          <p14:tracePt t="28390" x="4060825" y="3016250"/>
          <p14:tracePt t="28398" x="3967163" y="3059113"/>
          <p14:tracePt t="28406" x="3890963" y="3067050"/>
          <p14:tracePt t="28414" x="3781425" y="3094038"/>
          <p14:tracePt t="28422" x="3703638" y="3101975"/>
          <p14:tracePt t="28429" x="3594100" y="3127375"/>
          <p14:tracePt t="28437" x="3492500" y="3152775"/>
          <p14:tracePt t="28445" x="3313113" y="3178175"/>
          <p14:tracePt t="28453" x="3074988" y="3254375"/>
          <p14:tracePt t="28461" x="2871788" y="3314700"/>
          <p14:tracePt t="28469" x="2497138" y="3424238"/>
          <p14:tracePt t="28478" x="2352675" y="3459163"/>
          <p14:tracePt t="28485" x="2124075" y="3502025"/>
          <p14:tracePt t="28493" x="1997075" y="3527425"/>
          <p14:tracePt t="28501" x="1852613" y="3552825"/>
          <p14:tracePt t="28510" x="1784350" y="3586163"/>
          <p14:tracePt t="28517" x="1708150" y="3619500"/>
          <p14:tracePt t="28525" x="1631950" y="3636963"/>
          <p14:tracePt t="28533" x="1597025" y="3654425"/>
          <p14:tracePt t="28541" x="1546225" y="3687763"/>
          <p14:tracePt t="28549" x="1528763" y="3687763"/>
          <p14:tracePt t="28558" x="1503363" y="3697288"/>
          <p14:tracePt t="28565" x="1487488" y="3705225"/>
          <p14:tracePt t="28574" x="1470025" y="3713163"/>
          <p14:tracePt t="28581" x="1462088" y="3730625"/>
          <p14:tracePt t="28591" x="1444625" y="3738563"/>
          <p14:tracePt t="28638" x="1435100" y="3748088"/>
          <p14:tracePt t="28646" x="1419225" y="3756025"/>
          <p14:tracePt t="28654" x="1409700" y="3773488"/>
          <p14:tracePt t="28661" x="1393825" y="3781425"/>
          <p14:tracePt t="28670" x="1358900" y="3798888"/>
          <p14:tracePt t="28677" x="1333500" y="3798888"/>
          <p14:tracePt t="28686" x="1300163" y="3816350"/>
          <p14:tracePt t="28694" x="1282700" y="3824288"/>
          <p14:tracePt t="28702" x="1249363" y="3841750"/>
          <p14:tracePt t="28710" x="1231900" y="3849688"/>
          <p14:tracePt t="28717" x="1206500" y="3857625"/>
          <p14:tracePt t="28726" x="1189038" y="3867150"/>
          <p14:tracePt t="28734" x="1173163" y="3875088"/>
          <p14:tracePt t="28743" x="1163638" y="3875088"/>
          <p14:tracePt t="28750" x="1147763" y="3875088"/>
          <p14:tracePt t="28895" x="1147763" y="3867150"/>
          <p14:tracePt t="28901" x="1163638" y="3857625"/>
          <p14:tracePt t="28911" x="1163638" y="3849688"/>
          <p14:tracePt t="28917" x="1163638" y="3841750"/>
          <p14:tracePt t="28959" x="1163638" y="3832225"/>
          <p14:tracePt t="28966" x="1173163" y="3824288"/>
          <p14:tracePt t="28974" x="1189038" y="3816350"/>
          <p14:tracePt t="28981" x="1206500" y="3798888"/>
          <p14:tracePt t="28991" x="1249363" y="3773488"/>
          <p14:tracePt t="28997" x="1257300" y="3756025"/>
          <p14:tracePt t="29006" x="1274763" y="3738563"/>
          <p14:tracePt t="29013" x="1274763" y="3730625"/>
          <p14:tracePt t="29021" x="1274763" y="3713163"/>
          <p14:tracePt t="29029" x="1239838" y="3679825"/>
          <p14:tracePt t="29037" x="1231900" y="3679825"/>
          <p14:tracePt t="29214" x="1231900" y="3671888"/>
          <p14:tracePt t="29222" x="1223963" y="3671888"/>
          <p14:tracePt t="29230" x="1214438" y="3671888"/>
          <p14:tracePt t="29253" x="1206500" y="3671888"/>
          <p14:tracePt t="29269" x="1189038" y="3671888"/>
          <p14:tracePt t="29293" x="1189038" y="3662363"/>
          <p14:tracePt t="29309" x="1181100" y="3662363"/>
          <p14:tracePt t="29325" x="1163638" y="3654425"/>
          <p14:tracePt t="29333" x="1147763" y="3646488"/>
          <p14:tracePt t="29341" x="1130300" y="3636963"/>
          <p14:tracePt t="29349" x="1112838" y="3636963"/>
          <p14:tracePt t="29470" x="1112838" y="3629025"/>
          <p14:tracePt t="29518" x="1130300" y="3619500"/>
          <p14:tracePt t="29527" x="1130300" y="3611563"/>
          <p14:tracePt t="29533" x="1147763" y="3603625"/>
          <p14:tracePt t="29544" x="1155700" y="3603625"/>
          <p14:tracePt t="29550" x="1173163" y="3594100"/>
          <p14:tracePt t="29561" x="1181100" y="3594100"/>
          <p14:tracePt t="29565" x="1189038" y="3594100"/>
          <p14:tracePt t="29573" x="1223963" y="3586163"/>
          <p14:tracePt t="29580" x="1239838" y="3586163"/>
          <p14:tracePt t="29589" x="1265238" y="3586163"/>
          <p14:tracePt t="29597" x="1300163" y="3586163"/>
          <p14:tracePt t="29606" x="1333500" y="3586163"/>
          <p14:tracePt t="29613" x="1358900" y="3586163"/>
          <p14:tracePt t="29622" x="1384300" y="3586163"/>
          <p14:tracePt t="29628" x="1444625" y="3586163"/>
          <p14:tracePt t="29636" x="1470025" y="3586163"/>
          <p14:tracePt t="29645" x="1528763" y="3586163"/>
          <p14:tracePt t="29653" x="1579563" y="3586163"/>
          <p14:tracePt t="29660" x="1665288" y="3586163"/>
          <p14:tracePt t="29669" x="1741488" y="3568700"/>
          <p14:tracePt t="29677" x="1843088" y="3568700"/>
          <p14:tracePt t="29685" x="1928813" y="3568700"/>
          <p14:tracePt t="29693" x="2055813" y="3568700"/>
          <p14:tracePt t="29701" x="2149475" y="3568700"/>
          <p14:tracePt t="29709" x="2235200" y="3568700"/>
          <p14:tracePt t="29717" x="2379663" y="3568700"/>
          <p14:tracePt t="29725" x="2481263" y="3568700"/>
          <p14:tracePt t="29733" x="2608263" y="3578225"/>
          <p14:tracePt t="29740" x="2701925" y="3578225"/>
          <p14:tracePt t="29749" x="2828925" y="3578225"/>
          <p14:tracePt t="29757" x="2914650" y="3586163"/>
          <p14:tracePt t="29764" x="3041650" y="3586163"/>
          <p14:tracePt t="29773" x="3127375" y="3586163"/>
          <p14:tracePt t="29781" x="3211513" y="3586163"/>
          <p14:tracePt t="29790" x="3313113" y="3586163"/>
          <p14:tracePt t="29797" x="3398838" y="3586163"/>
          <p14:tracePt t="29807" x="3508375" y="3586163"/>
          <p14:tracePt t="29813" x="3611563" y="3586163"/>
          <p14:tracePt t="29821" x="3713163" y="3586163"/>
          <p14:tracePt t="29829" x="3756025" y="3594100"/>
          <p14:tracePt t="29837" x="3789363" y="3603625"/>
          <p14:tracePt t="29845" x="3806825" y="3611563"/>
          <p14:tracePt t="29861" x="3806825" y="3619500"/>
          <p14:tracePt t="29869" x="3781425" y="3629025"/>
          <p14:tracePt t="29877" x="3729038" y="3654425"/>
          <p14:tracePt t="29885" x="3670300" y="3662363"/>
          <p14:tracePt t="29894" x="3576638" y="3662363"/>
          <p14:tracePt t="29901" x="3500438" y="3662363"/>
          <p14:tracePt t="29909" x="3492500" y="3662363"/>
          <p14:tracePt t="30142" x="3492500" y="3654425"/>
          <p14:tracePt t="30182" x="3500438" y="3654425"/>
          <p14:tracePt t="30190" x="3508375" y="3654425"/>
          <p14:tracePt t="30207" x="3525838" y="3654425"/>
          <p14:tracePt t="30246" x="3517900" y="3654425"/>
          <p14:tracePt t="30254" x="3500438" y="3654425"/>
          <p14:tracePt t="30262" x="3492500" y="3654425"/>
          <p14:tracePt t="30270" x="3482975" y="3654425"/>
          <p14:tracePt t="30278" x="3467100" y="3654425"/>
          <p14:tracePt t="30286" x="3457575" y="3654425"/>
          <p14:tracePt t="30342" x="3457575" y="3646488"/>
          <p14:tracePt t="30349" x="3475038" y="3646488"/>
          <p14:tracePt t="30357" x="3500438" y="3636963"/>
          <p14:tracePt t="30365" x="3543300" y="3629025"/>
          <p14:tracePt t="30376" x="3594100" y="3619500"/>
          <p14:tracePt t="30382" x="3652838" y="3611563"/>
          <p14:tracePt t="30392" x="3721100" y="3594100"/>
          <p14:tracePt t="30397" x="3806825" y="3594100"/>
          <p14:tracePt t="30408" x="3890963" y="3594100"/>
          <p14:tracePt t="30414" x="4010025" y="3586163"/>
          <p14:tracePt t="30422" x="4162425" y="3586163"/>
          <p14:tracePt t="30429" x="4273550" y="3578225"/>
          <p14:tracePt t="30438" x="4494213" y="3560763"/>
          <p14:tracePt t="30445" x="4646613" y="3560763"/>
          <p14:tracePt t="30454" x="4884738" y="3560763"/>
          <p14:tracePt t="30461" x="5038725" y="3560763"/>
          <p14:tracePt t="30470" x="5292725" y="3560763"/>
          <p14:tracePt t="30477" x="5446713" y="3560763"/>
          <p14:tracePt t="30486" x="5599113" y="3560763"/>
          <p14:tracePt t="30494" x="5776913" y="3568700"/>
          <p14:tracePt t="30502" x="5938838" y="3594100"/>
          <p14:tracePt t="30510" x="6176963" y="3594100"/>
          <p14:tracePt t="30517" x="6303963" y="3594100"/>
          <p14:tracePt t="30526" x="6440488" y="3594100"/>
          <p14:tracePt t="30534" x="6542088" y="3594100"/>
          <p14:tracePt t="30543" x="6635750" y="3594100"/>
          <p14:tracePt t="30550" x="6694488" y="3594100"/>
          <p14:tracePt t="30559" x="6754813" y="3594100"/>
          <p14:tracePt t="30566" x="6780213" y="3594100"/>
          <p14:tracePt t="30576" x="6797675" y="3594100"/>
          <p14:tracePt t="30582" x="6805613" y="3594100"/>
          <p14:tracePt t="30631" x="6770688" y="3629025"/>
          <p14:tracePt t="30637" x="6737350" y="3654425"/>
          <p14:tracePt t="30645" x="6686550" y="3671888"/>
          <p14:tracePt t="30654" x="6610350" y="3687763"/>
          <p14:tracePt t="30661" x="6567488" y="3687763"/>
          <p14:tracePt t="30670" x="6483350" y="3687763"/>
          <p14:tracePt t="30854" x="6448425" y="3687763"/>
          <p14:tracePt t="30862" x="6430963" y="3687763"/>
          <p14:tracePt t="30870" x="6415088" y="3687763"/>
          <p14:tracePt t="30877" x="6405563" y="3687763"/>
          <p14:tracePt t="30885" x="6397625" y="3687763"/>
          <p14:tracePt t="30925" x="6415088" y="3687763"/>
          <p14:tracePt t="30933" x="6430963" y="3687763"/>
          <p14:tracePt t="30941" x="6440488" y="3687763"/>
          <p14:tracePt t="30949" x="6465888" y="3687763"/>
          <p14:tracePt t="30957" x="6491288" y="3687763"/>
          <p14:tracePt t="30964" x="6508750" y="3697288"/>
          <p14:tracePt t="30973" x="6542088" y="3705225"/>
          <p14:tracePt t="30981" x="6567488" y="3705225"/>
          <p14:tracePt t="30990" x="6600825" y="3705225"/>
          <p14:tracePt t="30997" x="6635750" y="3705225"/>
          <p14:tracePt t="31007" x="6678613" y="3705225"/>
          <p14:tracePt t="31013" x="6762750" y="3687763"/>
          <p14:tracePt t="31021" x="6848475" y="3671888"/>
          <p14:tracePt t="31029" x="6950075" y="3654425"/>
          <p14:tracePt t="31037" x="7034213" y="3636963"/>
          <p14:tracePt t="31045" x="7170738" y="3619500"/>
          <p14:tracePt t="31053" x="7256463" y="3603625"/>
          <p14:tracePt t="31060" x="7366000" y="3586163"/>
          <p14:tracePt t="31069" x="7459663" y="3568700"/>
          <p14:tracePt t="31076" x="7545388" y="3560763"/>
          <p14:tracePt t="31085" x="7654925" y="3552825"/>
          <p14:tracePt t="31093" x="7715250" y="3552825"/>
          <p14:tracePt t="31101" x="7799388" y="3552825"/>
          <p14:tracePt t="31109" x="7859713" y="3552825"/>
          <p14:tracePt t="31117" x="7926388" y="3552825"/>
          <p14:tracePt t="31125" x="7969250" y="3552825"/>
          <p14:tracePt t="31133" x="8004175" y="3552825"/>
          <p14:tracePt t="31141" x="8037513" y="3552825"/>
          <p14:tracePt t="31149" x="8045450" y="3552825"/>
          <p14:tracePt t="31157" x="8062913" y="3552825"/>
          <p14:tracePt t="31166" x="8070850" y="3552825"/>
          <p14:tracePt t="31197" x="8080375" y="3552825"/>
          <p14:tracePt t="32453" x="8054975" y="3552825"/>
          <p14:tracePt t="32461" x="8020050" y="3552825"/>
          <p14:tracePt t="32469" x="7961313" y="3560763"/>
          <p14:tracePt t="32477" x="7893050" y="3578225"/>
          <p14:tracePt t="32486" x="7816850" y="3611563"/>
          <p14:tracePt t="32493" x="7697788" y="3646488"/>
          <p14:tracePt t="32502" x="7570788" y="3671888"/>
          <p14:tracePt t="32511" x="7467600" y="3697288"/>
          <p14:tracePt t="32517" x="7358063" y="3705225"/>
          <p14:tracePt t="32525" x="7239000" y="3730625"/>
          <p14:tracePt t="32533" x="7137400" y="3730625"/>
          <p14:tracePt t="32541" x="7008813" y="3730625"/>
          <p14:tracePt t="32549" x="6915150" y="3730625"/>
          <p14:tracePt t="32557" x="6805613" y="3730625"/>
          <p14:tracePt t="32565" x="6719888" y="3730625"/>
          <p14:tracePt t="32574" x="6626225" y="3730625"/>
          <p14:tracePt t="32581" x="6516688" y="3705225"/>
          <p14:tracePt t="32591" x="6430963" y="3697288"/>
          <p14:tracePt t="32597" x="6311900" y="3671888"/>
          <p14:tracePt t="32607" x="6227763" y="3662363"/>
          <p14:tracePt t="32613" x="6126163" y="3636963"/>
          <p14:tracePt t="32622" x="6040438" y="3629025"/>
          <p14:tracePt t="32629" x="5946775" y="3611563"/>
          <p14:tracePt t="32639" x="5888038" y="3603625"/>
          <p14:tracePt t="32645" x="5862638" y="3594100"/>
          <p14:tracePt t="32653" x="5802313" y="3594100"/>
          <p14:tracePt t="32661" x="5768975" y="3594100"/>
          <p14:tracePt t="32670" x="5726113" y="3594100"/>
          <p14:tracePt t="32677" x="5700713" y="3594100"/>
          <p14:tracePt t="32685" x="5692775" y="3594100"/>
          <p14:tracePt t="32693" x="5683250" y="3594100"/>
          <p14:tracePt t="32702" x="5683250" y="3578225"/>
          <p14:tracePt t="32709" x="5683250" y="3560763"/>
          <p14:tracePt t="32717" x="5700713" y="3552825"/>
          <p14:tracePt t="32725" x="5708650" y="3543300"/>
          <p14:tracePt t="32733" x="5718175" y="3527425"/>
          <p14:tracePt t="32741" x="5718175" y="3509963"/>
          <p14:tracePt t="32758" x="5708650" y="3509963"/>
          <p14:tracePt t="32951" x="5718175" y="3509963"/>
          <p14:tracePt t="32956" x="5735638" y="3509963"/>
          <p14:tracePt t="32965" x="5743575" y="3509963"/>
          <p14:tracePt t="32973" x="5768975" y="3509963"/>
          <p14:tracePt t="32981" x="5786438" y="3509963"/>
          <p14:tracePt t="32989" x="5794375" y="3509963"/>
          <p14:tracePt t="32997" x="5811838" y="3527425"/>
          <p14:tracePt t="33005" x="5811838" y="3535363"/>
          <p14:tracePt t="33021" x="5811838" y="3543300"/>
          <p14:tracePt t="33029" x="5811838" y="3560763"/>
          <p14:tracePt t="33037" x="5802313" y="3560763"/>
          <p14:tracePt t="33045" x="5794375" y="3560763"/>
          <p14:tracePt t="33127" x="5786438" y="3560763"/>
          <p14:tracePt t="33134" x="5768975" y="3560763"/>
          <p14:tracePt t="33143" x="5768975" y="3568700"/>
          <p14:tracePt t="33150" x="5743575" y="3568700"/>
          <p14:tracePt t="33160" x="5735638" y="3568700"/>
          <p14:tracePt t="33166" x="5708650" y="3578225"/>
          <p14:tracePt t="33175" x="5692775" y="3578225"/>
          <p14:tracePt t="33182" x="5683250" y="3586163"/>
          <p14:tracePt t="33192" x="5667375" y="3586163"/>
          <p14:tracePt t="33197" x="5641975" y="3586163"/>
          <p14:tracePt t="33208" x="5632450" y="3594100"/>
          <p14:tracePt t="33214" x="5599113" y="3594100"/>
          <p14:tracePt t="33222" x="5573713" y="3594100"/>
          <p14:tracePt t="33230" x="5538788" y="3594100"/>
          <p14:tracePt t="33237" x="5522913" y="3594100"/>
          <p14:tracePt t="33246" x="5480050" y="3594100"/>
          <p14:tracePt t="33253" x="5454650" y="3594100"/>
          <p14:tracePt t="33262" x="5429250" y="3594100"/>
          <p14:tracePt t="33270" x="5421313" y="3594100"/>
          <p14:tracePt t="33277" x="5411788" y="3594100"/>
          <p14:tracePt t="33286" x="5403850" y="3594100"/>
          <p14:tracePt t="33318" x="5394325" y="3594100"/>
          <p14:tracePt t="33341" x="5386388" y="3594100"/>
          <p14:tracePt t="33366" x="5378450" y="3594100"/>
          <p14:tracePt t="33373" x="5353050" y="3594100"/>
          <p14:tracePt t="33382" x="5335588" y="3603625"/>
          <p14:tracePt t="33389" x="5302250" y="3603625"/>
          <p14:tracePt t="33398" x="5267325" y="3603625"/>
          <p14:tracePt t="33408" x="5224463" y="3603625"/>
          <p14:tracePt t="33414" x="5165725" y="3603625"/>
          <p14:tracePt t="33422" x="5132388" y="3594100"/>
          <p14:tracePt t="33430" x="5089525" y="3578225"/>
          <p14:tracePt t="33438" x="5038725" y="3568700"/>
          <p14:tracePt t="33446" x="4995863" y="3560763"/>
          <p14:tracePt t="33453" x="4970463" y="3552825"/>
          <p14:tracePt t="33462" x="4935538" y="3543300"/>
          <p14:tracePt t="33470" x="4919663" y="3543300"/>
          <p14:tracePt t="33477" x="4902200" y="3543300"/>
          <p14:tracePt t="33486" x="4876800" y="3543300"/>
          <p14:tracePt t="33494" x="4859338" y="3543300"/>
          <p14:tracePt t="33502" x="4826000" y="3543300"/>
          <p14:tracePt t="33510" x="4800600" y="3543300"/>
          <p14:tracePt t="33517" x="4783138" y="3543300"/>
          <p14:tracePt t="33526" x="4757738" y="3543300"/>
          <p14:tracePt t="33534" x="4740275" y="3543300"/>
          <p14:tracePt t="33676" x="4732338" y="3543300"/>
          <p14:tracePt t="33685" x="4732338" y="3535363"/>
          <p14:tracePt t="33701" x="4724400" y="3535363"/>
          <p14:tracePt t="33709" x="4714875" y="3535363"/>
          <p14:tracePt t="33717" x="4714875" y="3527425"/>
          <p14:tracePt t="33725" x="4706938" y="3527425"/>
          <p14:tracePt t="33733" x="4699000" y="3517900"/>
          <p14:tracePt t="33749" x="4689475" y="3517900"/>
          <p14:tracePt t="33757" x="4673600" y="3509963"/>
          <p14:tracePt t="33765" x="4664075" y="3509963"/>
          <p14:tracePt t="33774" x="4638675" y="3509963"/>
          <p14:tracePt t="33781" x="4630738" y="3509963"/>
          <p14:tracePt t="33792" x="4621213" y="3509963"/>
          <p14:tracePt t="33797" x="4605338" y="3509963"/>
          <p14:tracePt t="33862" x="4595813" y="3509963"/>
          <p14:tracePt t="33878" x="4587875" y="3509963"/>
          <p14:tracePt t="33886" x="4579938" y="3509963"/>
          <p14:tracePt t="33894" x="4570413" y="3509963"/>
          <p14:tracePt t="33901" x="4554538" y="3509963"/>
          <p14:tracePt t="33909" x="4529138" y="3527425"/>
          <p14:tracePt t="33916" x="4494213" y="3535363"/>
          <p14:tracePt t="33924" x="4486275" y="3543300"/>
          <p14:tracePt t="33933" x="4468813" y="3552825"/>
          <p14:tracePt t="33940" x="4443413" y="3560763"/>
          <p14:tracePt t="33949" x="4435475" y="3568700"/>
          <p14:tracePt t="33957" x="4410075" y="3568700"/>
          <p14:tracePt t="33965" x="4392613" y="3568700"/>
          <p14:tracePt t="33973" x="4367213" y="3586163"/>
          <p14:tracePt t="33981" x="4359275" y="3586163"/>
          <p14:tracePt t="33990" x="4324350" y="3586163"/>
          <p14:tracePt t="33997" x="4306888" y="3594100"/>
          <p14:tracePt t="34007" x="4291013" y="3594100"/>
          <p14:tracePt t="34013" x="4265613" y="3594100"/>
          <p14:tracePt t="34021" x="4230688" y="3603625"/>
          <p14:tracePt t="34030" x="4214813" y="3611563"/>
          <p14:tracePt t="34038" x="4197350" y="3611563"/>
          <p14:tracePt t="34045" x="4162425" y="3619500"/>
          <p14:tracePt t="34053" x="4154488" y="3619500"/>
          <p14:tracePt t="34061" x="4146550" y="3619500"/>
          <p14:tracePt t="34109" x="4171950" y="3619500"/>
          <p14:tracePt t="34117" x="4240213" y="3619500"/>
          <p14:tracePt t="34125" x="4306888" y="3619500"/>
          <p14:tracePt t="34133" x="4435475" y="3619500"/>
          <p14:tracePt t="34140" x="4554538" y="3619500"/>
          <p14:tracePt t="34149" x="4724400" y="3619500"/>
          <p14:tracePt t="34157" x="4818063" y="3619500"/>
          <p14:tracePt t="34165" x="4919663" y="3619500"/>
          <p14:tracePt t="34173" x="5021263" y="3619500"/>
          <p14:tracePt t="34181" x="5106988" y="3619500"/>
          <p14:tracePt t="34190" x="5191125" y="3619500"/>
          <p14:tracePt t="34197" x="5249863" y="3619500"/>
          <p14:tracePt t="34206" x="5292725" y="3611563"/>
          <p14:tracePt t="34213" x="5302250" y="3611563"/>
          <p14:tracePt t="34237" x="5292725" y="3611563"/>
          <p14:tracePt t="34245" x="5249863" y="3611563"/>
          <p14:tracePt t="34253" x="5183188" y="3611563"/>
          <p14:tracePt t="34260" x="5038725" y="3611563"/>
          <p14:tracePt t="34269" x="4902200" y="3611563"/>
          <p14:tracePt t="34277" x="4656138" y="3568700"/>
          <p14:tracePt t="34285" x="4435475" y="3517900"/>
          <p14:tracePt t="34292" x="4265613" y="3492500"/>
          <p14:tracePt t="34301" x="4017963" y="3467100"/>
          <p14:tracePt t="34309" x="3908425" y="3441700"/>
          <p14:tracePt t="34317" x="3806825" y="3416300"/>
          <p14:tracePt t="34326" x="3763963" y="3416300"/>
          <p14:tracePt t="34333" x="3738563" y="3408363"/>
          <p14:tracePt t="34357" x="3763963" y="3408363"/>
          <p14:tracePt t="34365" x="3814763" y="3408363"/>
          <p14:tracePt t="34374" x="3941763" y="3408363"/>
          <p14:tracePt t="34381" x="4070350" y="3408363"/>
          <p14:tracePt t="34391" x="4265613" y="3408363"/>
          <p14:tracePt t="34397" x="4494213" y="3408363"/>
          <p14:tracePt t="34407" x="4868863" y="3408363"/>
          <p14:tracePt t="34413" x="5132388" y="3408363"/>
          <p14:tracePt t="34421" x="5421313" y="3408363"/>
          <p14:tracePt t="34429" x="5657850" y="3408363"/>
          <p14:tracePt t="34437" x="5946775" y="3408363"/>
          <p14:tracePt t="34445" x="6065838" y="3408363"/>
          <p14:tracePt t="34453" x="6194425" y="3408363"/>
          <p14:tracePt t="34460" x="6338888" y="3408363"/>
          <p14:tracePt t="34468" x="6423025" y="3408363"/>
          <p14:tracePt t="34476" x="6491288" y="3408363"/>
          <p14:tracePt t="34485" x="6542088" y="3408363"/>
          <p14:tracePt t="34492" x="6567488" y="3408363"/>
          <p14:tracePt t="34501" x="6575425" y="3408363"/>
          <p14:tracePt t="34509" x="6584950" y="3408363"/>
          <p14:tracePt t="34541" x="6592888" y="3408363"/>
          <p14:tracePt t="34549" x="6610350" y="3408363"/>
          <p14:tracePt t="34557" x="6626225" y="3408363"/>
          <p14:tracePt t="34565" x="6661150" y="3408363"/>
          <p14:tracePt t="34573" x="6704013" y="3408363"/>
          <p14:tracePt t="34581" x="6762750" y="3408363"/>
          <p14:tracePt t="34589" x="6831013" y="3408363"/>
          <p14:tracePt t="34597" x="6889750" y="3408363"/>
          <p14:tracePt t="34606" x="6975475" y="3408363"/>
          <p14:tracePt t="34613" x="7034213" y="3408363"/>
          <p14:tracePt t="34622" x="7119938" y="3390900"/>
          <p14:tracePt t="34629" x="7178675" y="3390900"/>
          <p14:tracePt t="34639" x="7281863" y="3390900"/>
          <p14:tracePt t="34644" x="7348538" y="3390900"/>
          <p14:tracePt t="34652" x="7434263" y="3390900"/>
          <p14:tracePt t="34661" x="7535863" y="3390900"/>
          <p14:tracePt t="34669" x="7629525" y="3390900"/>
          <p14:tracePt t="34676" x="7756525" y="3390900"/>
          <p14:tracePt t="34685" x="7850188" y="3416300"/>
          <p14:tracePt t="34692" x="7977188" y="3441700"/>
          <p14:tracePt t="34701" x="8062913" y="3449638"/>
          <p14:tracePt t="34709" x="8147050" y="3467100"/>
          <p14:tracePt t="34717" x="8224838" y="3484563"/>
          <p14:tracePt t="34724" x="8301038" y="3492500"/>
          <p14:tracePt t="34733" x="8326438" y="3502025"/>
          <p14:tracePt t="34741" x="8377238" y="3502025"/>
          <p14:tracePt t="34749" x="8410575" y="3509963"/>
          <p14:tracePt t="34757" x="8453438" y="3509963"/>
          <p14:tracePt t="34765" x="8504238" y="3509963"/>
          <p14:tracePt t="34773" x="8564563" y="3509963"/>
          <p14:tracePt t="34781" x="8623300" y="3509963"/>
          <p14:tracePt t="34790" x="8666163" y="3509963"/>
          <p14:tracePt t="34797" x="8724900" y="3509963"/>
          <p14:tracePt t="34807" x="8750300" y="3509963"/>
          <p14:tracePt t="34813" x="8777288" y="3509963"/>
          <p14:tracePt t="34825" x="8802688" y="3509963"/>
          <p14:tracePt t="34829" x="8828088" y="3502025"/>
          <p14:tracePt t="34837" x="8861425" y="3502025"/>
          <p14:tracePt t="34845" x="8878888" y="3492500"/>
          <p14:tracePt t="34853" x="8894763" y="3484563"/>
          <p14:tracePt t="34861" x="8912225" y="3475038"/>
          <p14:tracePt t="34869" x="8921750" y="3475038"/>
          <p14:tracePt t="34885" x="8929688" y="3475038"/>
          <p14:tracePt t="34893" x="8947150" y="3475038"/>
          <p14:tracePt t="34909" x="8955088" y="3467100"/>
          <p14:tracePt t="34940" x="8963025" y="3467100"/>
          <p14:tracePt t="34949" x="8972550" y="3467100"/>
          <p14:tracePt t="34956" x="8980488" y="3467100"/>
          <p14:tracePt t="34965" x="9013825" y="3467100"/>
          <p14:tracePt t="34972" x="9048750" y="3467100"/>
          <p14:tracePt t="34981" x="9091613" y="3467100"/>
          <p14:tracePt t="34989" x="9124950" y="3467100"/>
          <p14:tracePt t="34997" x="9132888" y="3467100"/>
          <p14:tracePt t="35238" x="9142413" y="3475038"/>
          <p14:tracePt t="35245" x="9142413" y="3484563"/>
          <p14:tracePt t="35253" x="9150350" y="3492500"/>
          <p14:tracePt t="35269" x="9150350" y="3502025"/>
          <p14:tracePt t="35277" x="9150350" y="3509963"/>
          <p14:tracePt t="37789" x="9150350" y="3517900"/>
          <p14:tracePt t="37797" x="9142413" y="3527425"/>
          <p14:tracePt t="37805" x="9142413" y="3535363"/>
          <p14:tracePt t="37814" x="9124950" y="3543300"/>
          <p14:tracePt t="37823" x="9117013" y="3543300"/>
          <p14:tracePt t="37829" x="9107488" y="3543300"/>
          <p14:tracePt t="37837" x="9099550" y="3543300"/>
          <p14:tracePt t="37845" x="9082088" y="3535363"/>
          <p14:tracePt t="37853" x="9064625" y="3527425"/>
          <p14:tracePt t="37861" x="9064625" y="3517900"/>
          <p14:tracePt t="38174" x="9074150" y="3527425"/>
          <p14:tracePt t="38206" x="9091613" y="3527425"/>
          <p14:tracePt t="38223" x="9099550" y="3535363"/>
          <p14:tracePt t="38228" x="9107488" y="3535363"/>
          <p14:tracePt t="38245" x="9117013" y="3535363"/>
          <p14:tracePt t="38253" x="9124950" y="3535363"/>
          <p14:tracePt t="38261" x="9132888" y="3543300"/>
          <p14:tracePt t="38285" x="9132888" y="3552825"/>
          <p14:tracePt t="38470" x="9142413" y="3560763"/>
          <p14:tracePt t="38486" x="9150350" y="3568700"/>
          <p14:tracePt t="38518" x="9150350" y="3578225"/>
          <p14:tracePt t="38534" x="9150350" y="3586163"/>
          <p14:tracePt t="38542" x="9150350" y="3594100"/>
          <p14:tracePt t="38550" x="9150350" y="3611563"/>
          <p14:tracePt t="38560" x="9150350" y="3629025"/>
          <p14:tracePt t="38566" x="9132888" y="3654425"/>
          <p14:tracePt t="38576" x="9124950" y="3654425"/>
          <p14:tracePt t="38581" x="9124950" y="3662363"/>
          <p14:tracePt t="40511" x="9124950" y="3679825"/>
          <p14:tracePt t="40518" x="9132888" y="3697288"/>
          <p14:tracePt t="40528" x="9142413" y="3730625"/>
          <p14:tracePt t="40533" x="9167813" y="3756025"/>
          <p14:tracePt t="40542" x="9183688" y="3781425"/>
          <p14:tracePt t="40549" x="9226550" y="3816350"/>
          <p14:tracePt t="40557" x="9261475" y="3824288"/>
          <p14:tracePt t="40565" x="9302750" y="3832225"/>
          <p14:tracePt t="40573" x="9328150" y="3832225"/>
          <p14:tracePt t="40581" x="9353550" y="3832225"/>
          <p14:tracePt t="40589" x="9380538" y="3824288"/>
          <p14:tracePt t="40597" x="9388475" y="3816350"/>
          <p14:tracePt t="40606" x="9405938" y="3798888"/>
          <p14:tracePt t="40790" x="9413875" y="3798888"/>
          <p14:tracePt t="40797" x="9421813" y="3798888"/>
          <p14:tracePt t="40813" x="9431338" y="3806825"/>
          <p14:tracePt t="40821" x="9439275" y="3806825"/>
          <p14:tracePt t="40836" x="9447213" y="3806825"/>
          <p14:tracePt t="40853" x="9439275" y="3806825"/>
          <p14:tracePt t="40861" x="9421813" y="3806825"/>
          <p14:tracePt t="40869" x="9405938" y="3806825"/>
          <p14:tracePt t="40877" x="9388475" y="3816350"/>
          <p14:tracePt t="40885" x="9363075" y="3816350"/>
          <p14:tracePt t="40902" x="9353550" y="3816350"/>
          <p14:tracePt t="40917" x="9345613" y="3816350"/>
          <p14:tracePt t="40927" x="9345613" y="3824288"/>
          <p14:tracePt t="40957" x="9337675" y="3824288"/>
          <p14:tracePt t="40966" x="9328150" y="3832225"/>
          <p14:tracePt t="40974" x="9320213" y="3832225"/>
          <p14:tracePt t="40982" x="9312275" y="3832225"/>
          <p14:tracePt t="40991" x="9302750" y="3832225"/>
          <p14:tracePt t="40998" x="9286875" y="3841750"/>
          <p14:tracePt t="41009" x="9261475" y="3849688"/>
          <p14:tracePt t="41014" x="9236075" y="3849688"/>
          <p14:tracePt t="41025" x="9193213" y="3857625"/>
          <p14:tracePt t="41030" x="9158288" y="3875088"/>
          <p14:tracePt t="41038" x="9099550" y="3900488"/>
          <p14:tracePt t="41046" x="9048750" y="3917950"/>
          <p14:tracePt t="41053" x="8972550" y="3935413"/>
          <p14:tracePt t="41063" x="8912225" y="3960813"/>
          <p14:tracePt t="41069" x="8828088" y="3994150"/>
          <p14:tracePt t="41078" x="8750300" y="4011613"/>
          <p14:tracePt t="41085" x="8674100" y="4044950"/>
          <p14:tracePt t="41093" x="8572500" y="4070350"/>
          <p14:tracePt t="41101" x="8478838" y="4105275"/>
          <p14:tracePt t="41110" x="8394700" y="4121150"/>
          <p14:tracePt t="41117" x="8308975" y="4138613"/>
          <p14:tracePt t="41125" x="8207375" y="4146550"/>
          <p14:tracePt t="41133" x="8139113" y="4156075"/>
          <p14:tracePt t="41140" x="8045450" y="4181475"/>
          <p14:tracePt t="41149" x="7961313" y="4189413"/>
          <p14:tracePt t="41156" x="7875588" y="4197350"/>
          <p14:tracePt t="41165" x="7748588" y="4224338"/>
          <p14:tracePt t="41172" x="7646988" y="4249738"/>
          <p14:tracePt t="41181" x="7459663" y="4275138"/>
          <p14:tracePt t="41189" x="7332663" y="4291013"/>
          <p14:tracePt t="41196" x="7153275" y="4316413"/>
          <p14:tracePt t="41206" x="6924675" y="4384675"/>
          <p14:tracePt t="41213" x="6669088" y="4427538"/>
          <p14:tracePt t="41222" x="6440488" y="4486275"/>
          <p14:tracePt t="41229" x="6329363" y="4503738"/>
          <p14:tracePt t="41237" x="6184900" y="4529138"/>
          <p14:tracePt t="41245" x="6100763" y="4546600"/>
          <p14:tracePt t="41253" x="5956300" y="4564063"/>
          <p14:tracePt t="41261" x="5870575" y="4564063"/>
          <p14:tracePt t="41269" x="5761038" y="4564063"/>
          <p14:tracePt t="41277" x="5657850" y="4564063"/>
          <p14:tracePt t="41285" x="5573713" y="4564063"/>
          <p14:tracePt t="41293" x="5538788" y="4564063"/>
          <p14:tracePt t="41301" x="5530850" y="4564063"/>
          <p14:tracePt t="41309" x="5522913" y="4554538"/>
          <p14:tracePt t="41317" x="5538788" y="4538663"/>
          <p14:tracePt t="41325" x="5591175" y="4538663"/>
          <p14:tracePt t="41534" x="5581650" y="4538663"/>
          <p14:tracePt t="41550" x="5565775" y="4529138"/>
          <p14:tracePt t="41559" x="5530850" y="4529138"/>
          <p14:tracePt t="41565" x="5505450" y="4529138"/>
          <p14:tracePt t="41572" x="5472113" y="4529138"/>
          <p14:tracePt t="41581" x="5446713" y="4529138"/>
          <p14:tracePt t="41589" x="5421313" y="4529138"/>
          <p14:tracePt t="41596" x="5378450" y="4529138"/>
          <p14:tracePt t="41605" x="5343525" y="4529138"/>
          <p14:tracePt t="41613" x="5284788" y="4546600"/>
          <p14:tracePt t="41622" x="5224463" y="4546600"/>
          <p14:tracePt t="41629" x="5122863" y="4572000"/>
          <p14:tracePt t="41640" x="5038725" y="4579938"/>
          <p14:tracePt t="41644" x="4935538" y="4589463"/>
          <p14:tracePt t="41653" x="4851400" y="4605338"/>
          <p14:tracePt t="41661" x="4724400" y="4605338"/>
          <p14:tracePt t="41669" x="4621213" y="4605338"/>
          <p14:tracePt t="41677" x="4529138" y="4605338"/>
          <p14:tracePt t="41685" x="4418013" y="4605338"/>
          <p14:tracePt t="41692" x="4324350" y="4589463"/>
          <p14:tracePt t="41701" x="4214813" y="4564063"/>
          <p14:tracePt t="41709" x="4121150" y="4554538"/>
          <p14:tracePt t="41717" x="4010025" y="4529138"/>
          <p14:tracePt t="41726" x="3908425" y="4521200"/>
          <p14:tracePt t="41733" x="3806825" y="4495800"/>
          <p14:tracePt t="41741" x="3703638" y="4486275"/>
          <p14:tracePt t="41749" x="3619500" y="4478338"/>
          <p14:tracePt t="41757" x="3492500" y="4460875"/>
          <p14:tracePt t="41765" x="3406775" y="4452938"/>
          <p14:tracePt t="41773" x="3305175" y="4427538"/>
          <p14:tracePt t="41781" x="3228975" y="4419600"/>
          <p14:tracePt t="41789" x="3127375" y="4410075"/>
          <p14:tracePt t="41797" x="3059113" y="4384675"/>
          <p14:tracePt t="41806" x="2955925" y="4376738"/>
          <p14:tracePt t="41813" x="2879725" y="4368800"/>
          <p14:tracePt t="41823" x="2820988" y="4359275"/>
          <p14:tracePt t="41829" x="2752725" y="4351338"/>
          <p14:tracePt t="41837" x="2719388" y="4341813"/>
          <p14:tracePt t="41845" x="2641600" y="4341813"/>
          <p14:tracePt t="41854" x="2600325" y="4341813"/>
          <p14:tracePt t="41861" x="2557463" y="4341813"/>
          <p14:tracePt t="41869" x="2532063" y="4341813"/>
          <p14:tracePt t="41877" x="2524125" y="4325938"/>
          <p14:tracePt t="41885" x="2524125" y="4308475"/>
          <p14:tracePt t="41893" x="2524125" y="4275138"/>
          <p14:tracePt t="42055" x="2524125" y="4308475"/>
          <p14:tracePt t="42062" x="2514600" y="4333875"/>
          <p14:tracePt t="42069" x="2497138" y="4351338"/>
          <p14:tracePt t="42077" x="2463800" y="4351338"/>
          <p14:tracePt t="42085" x="2438400" y="4359275"/>
          <p14:tracePt t="42092" x="2395538" y="4359275"/>
          <p14:tracePt t="42101" x="2370138" y="4368800"/>
          <p14:tracePt t="42109" x="2336800" y="4368800"/>
          <p14:tracePt t="42116" x="2268538" y="4368800"/>
          <p14:tracePt t="42124" x="2208213" y="4368800"/>
          <p14:tracePt t="42133" x="2141538" y="4368800"/>
          <p14:tracePt t="42140" x="2073275" y="4368800"/>
          <p14:tracePt t="42149" x="1954213" y="4368800"/>
          <p14:tracePt t="42156" x="1868488" y="4368800"/>
          <p14:tracePt t="42165" x="1784350" y="4368800"/>
          <p14:tracePt t="42173" x="1741488" y="4368800"/>
          <p14:tracePt t="42181" x="1708150" y="4351338"/>
          <p14:tracePt t="42189" x="1673225" y="4341813"/>
          <p14:tracePt t="42197" x="1657350" y="4325938"/>
          <p14:tracePt t="42207" x="1631950" y="4325938"/>
          <p14:tracePt t="42213" x="1631950" y="4316413"/>
          <p14:tracePt t="42225" x="1622425" y="4308475"/>
          <p14:tracePt t="42230" x="1614488" y="4308475"/>
          <p14:tracePt t="42286" x="1614488" y="4300538"/>
          <p14:tracePt t="42295" x="1622425" y="4300538"/>
          <p14:tracePt t="42302" x="1639888" y="4283075"/>
          <p14:tracePt t="42310" x="1665288" y="4283075"/>
          <p14:tracePt t="42318" x="1690688" y="4283075"/>
          <p14:tracePt t="42326" x="1716088" y="4275138"/>
          <p14:tracePt t="42334" x="1776413" y="4265613"/>
          <p14:tracePt t="42342" x="1852613" y="4257675"/>
          <p14:tracePt t="42350" x="1979613" y="4232275"/>
          <p14:tracePt t="42359" x="2124075" y="4206875"/>
          <p14:tracePt t="42366" x="2387600" y="4164013"/>
          <p14:tracePt t="42374" x="2616200" y="4121150"/>
          <p14:tracePt t="42382" x="2947988" y="4070350"/>
          <p14:tracePt t="42390" x="3143250" y="4027488"/>
          <p14:tracePt t="42398" x="3270250" y="4002088"/>
          <p14:tracePt t="42407" x="3389313" y="3976688"/>
          <p14:tracePt t="42414" x="3475038" y="3968750"/>
          <p14:tracePt t="42425" x="3551238" y="3960813"/>
          <p14:tracePt t="42429" x="3594100" y="3951288"/>
          <p14:tracePt t="42437" x="3652838" y="3935413"/>
          <p14:tracePt t="42446" x="3695700" y="3935413"/>
          <p14:tracePt t="42454" x="3756025" y="3935413"/>
          <p14:tracePt t="42462" x="3797300" y="3935413"/>
          <p14:tracePt t="42470" x="3832225" y="3935413"/>
          <p14:tracePt t="42477" x="3865563" y="3935413"/>
          <p14:tracePt t="42486" x="3873500" y="3935413"/>
          <p14:tracePt t="42493" x="3900488" y="3935413"/>
          <p14:tracePt t="42502" x="3908425" y="3935413"/>
          <p14:tracePt t="42526" x="3900488" y="3943350"/>
          <p14:tracePt t="42534" x="3890963" y="3951288"/>
          <p14:tracePt t="42541" x="3873500" y="3960813"/>
          <p14:tracePt t="42550" x="3840163" y="3976688"/>
          <p14:tracePt t="42559" x="3814763" y="3986213"/>
          <p14:tracePt t="42743" x="3806825" y="3986213"/>
          <p14:tracePt t="42772" x="3822700" y="3968750"/>
          <p14:tracePt t="42780" x="3814763" y="3976688"/>
          <p14:tracePt t="42796" x="3814763" y="3986213"/>
          <p14:tracePt t="42812" x="3806825" y="3986213"/>
          <p14:tracePt t="42836" x="3814763" y="3986213"/>
          <p14:tracePt t="42844" x="3814763" y="3994150"/>
          <p14:tracePt t="42852" x="3806825" y="3994150"/>
          <p14:tracePt t="42860" x="3832225" y="3994150"/>
          <p14:tracePt t="42868" x="3814763" y="3994150"/>
          <p14:tracePt t="42884" x="3832225" y="3994150"/>
          <p14:tracePt t="42892" x="3832225" y="4002088"/>
          <p14:tracePt t="42909" x="3822700" y="4002088"/>
          <p14:tracePt t="42988" x="3865563" y="4002088"/>
          <p14:tracePt t="43188" x="3873500" y="4002088"/>
          <p14:tracePt t="43196" x="3883025" y="4002088"/>
          <p14:tracePt t="43204" x="3890963" y="4002088"/>
          <p14:tracePt t="43212" x="3916363" y="4002088"/>
          <p14:tracePt t="43221" x="3941763" y="4002088"/>
          <p14:tracePt t="43228" x="3992563" y="4002088"/>
          <p14:tracePt t="43236" x="4052888" y="4002088"/>
          <p14:tracePt t="43244" x="4146550" y="4002088"/>
          <p14:tracePt t="43252" x="4248150" y="4002088"/>
          <p14:tracePt t="43260" x="4375150" y="4002088"/>
          <p14:tracePt t="43268" x="4443413" y="4002088"/>
          <p14:tracePt t="43276" x="4545013" y="4002088"/>
          <p14:tracePt t="43284" x="4646613" y="4002088"/>
          <p14:tracePt t="43293" x="4714875" y="4002088"/>
          <p14:tracePt t="43300" x="4800600" y="4002088"/>
          <p14:tracePt t="43309" x="4859338" y="4002088"/>
          <p14:tracePt t="43317" x="4945063" y="3994150"/>
          <p14:tracePt t="43325" x="4987925" y="3994150"/>
          <p14:tracePt t="43332" x="5072063" y="3994150"/>
          <p14:tracePt t="43340" x="5132388" y="3994150"/>
          <p14:tracePt t="43349" x="5199063" y="3994150"/>
          <p14:tracePt t="43356" x="5318125" y="3994150"/>
          <p14:tracePt t="43365" x="5403850" y="3994150"/>
          <p14:tracePt t="43372" x="5497513" y="3994150"/>
          <p14:tracePt t="43380" x="5573713" y="3994150"/>
          <p14:tracePt t="43389" x="5632450" y="3994150"/>
          <p14:tracePt t="43397" x="5667375" y="3994150"/>
          <p14:tracePt t="43405" x="5675313" y="4002088"/>
          <p14:tracePt t="43413" x="5683250" y="4002088"/>
          <p14:tracePt t="43622" x="5683250" y="4011613"/>
          <p14:tracePt t="43646" x="5683250" y="4019550"/>
          <p14:tracePt t="43656" x="5675313" y="4019550"/>
          <p14:tracePt t="43665" x="5667375" y="4019550"/>
          <p14:tracePt t="43670" x="5657850" y="4019550"/>
          <p14:tracePt t="43677" x="5649913" y="4019550"/>
          <p14:tracePt t="43684" x="5632450" y="4027488"/>
          <p14:tracePt t="43693" x="5616575" y="4027488"/>
          <p14:tracePt t="43701" x="5591175" y="4027488"/>
          <p14:tracePt t="43709" x="5556250" y="4027488"/>
          <p14:tracePt t="43716" x="5538788" y="4027488"/>
          <p14:tracePt t="43724" x="5513388" y="4027488"/>
          <p14:tracePt t="43733" x="5480050" y="4027488"/>
          <p14:tracePt t="43740" x="5454650" y="4027488"/>
          <p14:tracePt t="43749" x="5437188" y="4027488"/>
          <p14:tracePt t="43757" x="5429250" y="4027488"/>
          <p14:tracePt t="43765" x="5421313" y="4027488"/>
          <p14:tracePt t="43789" x="5411788" y="4027488"/>
          <p14:tracePt t="44109" x="5403850" y="4027488"/>
          <p14:tracePt t="44125" x="5394325" y="4027488"/>
          <p14:tracePt t="44133" x="5368925" y="4027488"/>
          <p14:tracePt t="44140" x="5343525" y="4027488"/>
          <p14:tracePt t="44148" x="5318125" y="4027488"/>
          <p14:tracePt t="44156" x="5292725" y="4027488"/>
          <p14:tracePt t="44165" x="5259388" y="4019550"/>
          <p14:tracePt t="44172" x="5241925" y="4011613"/>
          <p14:tracePt t="44181" x="5216525" y="4011613"/>
          <p14:tracePt t="44188" x="5199063" y="4011613"/>
          <p14:tracePt t="44197" x="5173663" y="4011613"/>
          <p14:tracePt t="44205" x="5157788" y="4002088"/>
          <p14:tracePt t="44213" x="5148263" y="4002088"/>
          <p14:tracePt t="44221" x="5140325" y="4002088"/>
          <p14:tracePt t="44228" x="5132388" y="4002088"/>
          <p14:tracePt t="44414" x="5140325" y="4002088"/>
          <p14:tracePt t="44422" x="5148263" y="4002088"/>
          <p14:tracePt t="44429" x="5157788" y="4002088"/>
          <p14:tracePt t="44438" x="5173663" y="4002088"/>
          <p14:tracePt t="44445" x="5183188" y="4002088"/>
          <p14:tracePt t="44453" x="5191125" y="4002088"/>
          <p14:tracePt t="44461" x="5208588" y="4002088"/>
          <p14:tracePt t="44469" x="5208588" y="3994150"/>
          <p14:tracePt t="44477" x="5224463" y="3994150"/>
          <p14:tracePt t="44485" x="5241925" y="3986213"/>
          <p14:tracePt t="44493" x="5249863" y="3986213"/>
          <p14:tracePt t="44501" x="5276850" y="3976688"/>
          <p14:tracePt t="44509" x="5318125" y="3976688"/>
          <p14:tracePt t="44517" x="5378450" y="3968750"/>
          <p14:tracePt t="44525" x="5421313" y="3968750"/>
          <p14:tracePt t="44533" x="5462588" y="3968750"/>
          <p14:tracePt t="44541" x="5548313" y="3968750"/>
          <p14:tracePt t="44549" x="5624513" y="3986213"/>
          <p14:tracePt t="44557" x="5726113" y="4002088"/>
          <p14:tracePt t="44565" x="5811838" y="4011613"/>
          <p14:tracePt t="44573" x="5888038" y="4027488"/>
          <p14:tracePt t="44581" x="5972175" y="4044950"/>
          <p14:tracePt t="44589" x="6032500" y="4052888"/>
          <p14:tracePt t="44597" x="6091238" y="4070350"/>
          <p14:tracePt t="44606" x="6126163" y="4070350"/>
          <p14:tracePt t="44614" x="6151563" y="4070350"/>
          <p14:tracePt t="44629" x="6159500" y="4070350"/>
          <p14:tracePt t="44642" x="6167438" y="4070350"/>
          <p14:tracePt t="44774" x="6176963" y="4062413"/>
          <p14:tracePt t="44782" x="6184900" y="4062413"/>
          <p14:tracePt t="44790" x="6194425" y="4062413"/>
          <p14:tracePt t="44797" x="6219825" y="4052888"/>
          <p14:tracePt t="44806" x="6235700" y="4052888"/>
          <p14:tracePt t="44813" x="6253163" y="4044950"/>
          <p14:tracePt t="44823" x="6270625" y="4044950"/>
          <p14:tracePt t="44829" x="6296025" y="4044950"/>
          <p14:tracePt t="44839" x="6311900" y="4044950"/>
          <p14:tracePt t="44853" x="6321425" y="4044950"/>
          <p14:tracePt t="44877" x="6329363" y="4044950"/>
          <p14:tracePt t="44893" x="6329363" y="4037013"/>
          <p14:tracePt t="44901" x="6338888" y="4037013"/>
          <p14:tracePt t="44917" x="6346825" y="4037013"/>
          <p14:tracePt t="44966" x="6338888" y="4037013"/>
          <p14:tracePt t="44973" x="6329363" y="4037013"/>
          <p14:tracePt t="44982" x="6296025" y="4037013"/>
          <p14:tracePt t="45165" x="6296025" y="4044950"/>
          <p14:tracePt t="45173" x="6286500" y="4044950"/>
          <p14:tracePt t="45204" x="6278563" y="4044950"/>
          <p14:tracePt t="45213" x="6270625" y="4044950"/>
          <p14:tracePt t="45237" x="6261100" y="4044950"/>
          <p14:tracePt t="45245" x="6253163" y="4044950"/>
          <p14:tracePt t="45261" x="6245225" y="4044950"/>
          <p14:tracePt t="45269" x="6235700" y="4044950"/>
          <p14:tracePt t="45277" x="6219825" y="4044950"/>
          <p14:tracePt t="45285" x="6210300" y="4052888"/>
          <p14:tracePt t="45293" x="6194425" y="4070350"/>
          <p14:tracePt t="45301" x="6151563" y="4079875"/>
          <p14:tracePt t="45309" x="6116638" y="4087813"/>
          <p14:tracePt t="45317" x="6057900" y="4105275"/>
          <p14:tracePt t="45325" x="6007100" y="4113213"/>
          <p14:tracePt t="45333" x="5938838" y="4121150"/>
          <p14:tracePt t="45341" x="5895975" y="4121150"/>
          <p14:tracePt t="45349" x="5837238" y="4138613"/>
          <p14:tracePt t="45358" x="5802313" y="4138613"/>
          <p14:tracePt t="45365" x="5768975" y="4138613"/>
          <p14:tracePt t="45373" x="5726113" y="4138613"/>
          <p14:tracePt t="45381" x="5692775" y="4138613"/>
          <p14:tracePt t="45389" x="5675313" y="4138613"/>
          <p14:tracePt t="45397" x="5649913" y="4138613"/>
          <p14:tracePt t="45406" x="5632450" y="4138613"/>
          <p14:tracePt t="45423" x="5616575" y="4138613"/>
          <p14:tracePt t="45429" x="5599113" y="4138613"/>
          <p14:tracePt t="45438" x="5591175" y="4138613"/>
          <p14:tracePt t="45445" x="5581650" y="4138613"/>
          <p14:tracePt t="45453" x="5573713" y="4138613"/>
          <p14:tracePt t="45461" x="5556250" y="4138613"/>
          <p14:tracePt t="45469" x="5538788" y="4138613"/>
          <p14:tracePt t="45477" x="5522913" y="4138613"/>
          <p14:tracePt t="45485" x="5513388" y="4138613"/>
          <p14:tracePt t="45493" x="5505450" y="4138613"/>
          <p14:tracePt t="45501" x="5487988" y="4138613"/>
          <p14:tracePt t="45734" x="5487988" y="4146550"/>
          <p14:tracePt t="45758" x="5480050" y="4156075"/>
          <p14:tracePt t="45774" x="5480050" y="4164013"/>
          <p14:tracePt t="45789" x="5480050" y="4171950"/>
          <p14:tracePt t="45797" x="5480050" y="4181475"/>
          <p14:tracePt t="45813" x="5480050" y="4189413"/>
          <p14:tracePt t="45821" x="5472113" y="4189413"/>
          <p14:tracePt t="45829" x="5472113" y="4197350"/>
          <p14:tracePt t="45839" x="5454650" y="4197350"/>
          <p14:tracePt t="45845" x="5446713" y="4206875"/>
          <p14:tracePt t="45856" x="5429250" y="4206875"/>
          <p14:tracePt t="45861" x="5394325" y="4206875"/>
          <p14:tracePt t="45869" x="5368925" y="4214813"/>
          <p14:tracePt t="45877" x="5353050" y="4214813"/>
          <p14:tracePt t="45885" x="5327650" y="4214813"/>
          <p14:tracePt t="45893" x="5292725" y="4214813"/>
          <p14:tracePt t="45901" x="5284788" y="4214813"/>
          <p14:tracePt t="45909" x="5259388" y="4214813"/>
          <p14:tracePt t="45917" x="5249863" y="4214813"/>
          <p14:tracePt t="45925" x="5241925" y="4214813"/>
          <p14:tracePt t="45933" x="5216525" y="4214813"/>
          <p14:tracePt t="45957" x="5208588" y="4214813"/>
          <p14:tracePt t="45973" x="5199063" y="4214813"/>
          <p14:tracePt t="45989" x="5183188" y="4214813"/>
          <p14:tracePt t="45997" x="5173663" y="4214813"/>
          <p14:tracePt t="46006" x="5165725" y="4214813"/>
          <p14:tracePt t="46013" x="5157788" y="4214813"/>
          <p14:tracePt t="46024" x="5148263" y="4214813"/>
          <p14:tracePt t="46157" x="5157788" y="4214813"/>
          <p14:tracePt t="46165" x="5165725" y="4206875"/>
          <p14:tracePt t="46173" x="5173663" y="4197350"/>
          <p14:tracePt t="46181" x="5191125" y="4197350"/>
          <p14:tracePt t="46189" x="5199063" y="4197350"/>
          <p14:tracePt t="46197" x="5216525" y="4197350"/>
          <p14:tracePt t="46205" x="5241925" y="4189413"/>
          <p14:tracePt t="46213" x="5259388" y="4189413"/>
          <p14:tracePt t="46223" x="5284788" y="4181475"/>
          <p14:tracePt t="46229" x="5310188" y="4181475"/>
          <p14:tracePt t="46239" x="5335588" y="4181475"/>
          <p14:tracePt t="46245" x="5368925" y="4181475"/>
          <p14:tracePt t="46254" x="5403850" y="4181475"/>
          <p14:tracePt t="46261" x="5437188" y="4181475"/>
          <p14:tracePt t="46270" x="5480050" y="4181475"/>
          <p14:tracePt t="46277" x="5522913" y="4181475"/>
          <p14:tracePt t="46286" x="5581650" y="4181475"/>
          <p14:tracePt t="46294" x="5624513" y="4181475"/>
          <p14:tracePt t="46302" x="5649913" y="4181475"/>
          <p14:tracePt t="46309" x="5708650" y="4181475"/>
          <p14:tracePt t="46317" x="5743575" y="4181475"/>
          <p14:tracePt t="46325" x="5794375" y="4181475"/>
          <p14:tracePt t="46333" x="5853113" y="4181475"/>
          <p14:tracePt t="46341" x="5905500" y="4181475"/>
          <p14:tracePt t="46349" x="5981700" y="4181475"/>
          <p14:tracePt t="46357" x="6049963" y="4181475"/>
          <p14:tracePt t="46365" x="6151563" y="4181475"/>
          <p14:tracePt t="46373" x="6219825" y="4181475"/>
          <p14:tracePt t="46381" x="6303963" y="4181475"/>
          <p14:tracePt t="46389" x="6380163" y="4181475"/>
          <p14:tracePt t="46397" x="6465888" y="4181475"/>
          <p14:tracePt t="46407" x="6508750" y="4181475"/>
          <p14:tracePt t="46413" x="6567488" y="4181475"/>
          <p14:tracePt t="46424" x="6635750" y="4181475"/>
          <p14:tracePt t="46429" x="6694488" y="4181475"/>
          <p14:tracePt t="46440" x="6762750" y="4181475"/>
          <p14:tracePt t="46445" x="6805613" y="4181475"/>
          <p14:tracePt t="46454" x="6889750" y="4181475"/>
          <p14:tracePt t="46461" x="6942138" y="4181475"/>
          <p14:tracePt t="46470" x="6983413" y="4181475"/>
          <p14:tracePt t="46477" x="7043738" y="4181475"/>
          <p14:tracePt t="46488" x="7085013" y="4181475"/>
          <p14:tracePt t="46493" x="7094538" y="4181475"/>
          <p14:tracePt t="46502" x="7119938" y="4171950"/>
          <p14:tracePt t="46509" x="7145338" y="4164013"/>
          <p14:tracePt t="46517" x="7153275" y="4164013"/>
          <p14:tracePt t="46525" x="7162800" y="4164013"/>
          <p14:tracePt t="46533" x="7178675" y="4156075"/>
          <p14:tracePt t="46574" x="7153275" y="4156075"/>
          <p14:tracePt t="46582" x="7119938" y="4171950"/>
          <p14:tracePt t="46590" x="7059613" y="4171950"/>
          <p14:tracePt t="46597" x="6983413" y="4181475"/>
          <p14:tracePt t="46605" x="6915150" y="4181475"/>
          <p14:tracePt t="46613" x="6838950" y="4181475"/>
          <p14:tracePt t="46623" x="6788150" y="4181475"/>
          <p14:tracePt t="46797" x="6770688" y="4181475"/>
          <p14:tracePt t="46821" x="6754813" y="4189413"/>
          <p14:tracePt t="46829" x="6745288" y="4197350"/>
          <p14:tracePt t="46837" x="6729413" y="4197350"/>
          <p14:tracePt t="46846" x="6711950" y="4206875"/>
          <p14:tracePt t="46854" x="6704013" y="4206875"/>
          <p14:tracePt t="46861" x="6694488" y="4206875"/>
          <p14:tracePt t="46886" x="6704013" y="4197350"/>
          <p14:tracePt t="46894" x="6729413" y="4189413"/>
          <p14:tracePt t="46902" x="6780213" y="4181475"/>
          <p14:tracePt t="46910" x="6838950" y="4181475"/>
          <p14:tracePt t="46917" x="6924675" y="4181475"/>
          <p14:tracePt t="46926" x="6983413" y="4181475"/>
          <p14:tracePt t="46934" x="7094538" y="4206875"/>
          <p14:tracePt t="46942" x="7170738" y="4214813"/>
          <p14:tracePt t="46950" x="7256463" y="4214813"/>
          <p14:tracePt t="46957" x="7358063" y="4214813"/>
          <p14:tracePt t="46966" x="7442200" y="4214813"/>
          <p14:tracePt t="46974" x="7553325" y="4214813"/>
          <p14:tracePt t="46982" x="7621588" y="4214813"/>
          <p14:tracePt t="46990" x="7705725" y="4214813"/>
          <p14:tracePt t="46997" x="7748588" y="4214813"/>
          <p14:tracePt t="47007" x="7799388" y="4214813"/>
          <p14:tracePt t="47013" x="7832725" y="4206875"/>
          <p14:tracePt t="47024" x="7850188" y="4206875"/>
          <p14:tracePt t="47029" x="7875588" y="4197350"/>
          <p14:tracePt t="47040" x="7893050" y="4197350"/>
          <p14:tracePt t="47045" x="7900988" y="4189413"/>
          <p14:tracePt t="47057" x="7910513" y="4189413"/>
          <p14:tracePt t="47061" x="7918450" y="4189413"/>
          <p14:tracePt t="47390" x="7926388" y="4181475"/>
          <p14:tracePt t="47398" x="7935913" y="4171950"/>
          <p14:tracePt t="47407" x="7951788" y="4164013"/>
          <p14:tracePt t="47414" x="7961313" y="4164013"/>
          <p14:tracePt t="47424" x="7977188" y="4164013"/>
          <p14:tracePt t="47441" x="7986713" y="4164013"/>
          <p14:tracePt t="47446" x="7994650" y="4156075"/>
          <p14:tracePt t="47457" x="8004175" y="4156075"/>
          <p14:tracePt t="47462" x="8020050" y="4146550"/>
          <p14:tracePt t="47478" x="8029575" y="4146550"/>
          <p14:tracePt t="47486" x="8037513" y="4146550"/>
          <p14:tracePt t="47493" x="8045450" y="4146550"/>
          <p14:tracePt t="47532" x="8054975" y="4146550"/>
          <p14:tracePt t="47549" x="8062913" y="4146550"/>
          <p14:tracePt t="47572" x="8070850" y="4146550"/>
          <p14:tracePt t="47581" x="8080375" y="4146550"/>
          <p14:tracePt t="47588" x="8088313" y="4146550"/>
          <p14:tracePt t="47604" x="8088313" y="4156075"/>
          <p14:tracePt t="47613" x="8096250" y="4156075"/>
          <p14:tracePt t="47621" x="8096250" y="4164013"/>
          <p14:tracePt t="47639" x="8105775" y="4164013"/>
          <p14:tracePt t="47660" x="8113713" y="4164013"/>
          <p14:tracePt t="47669" x="8121650" y="4164013"/>
          <p14:tracePt t="47685" x="8131175" y="4164013"/>
          <p14:tracePt t="47701" x="8139113" y="4164013"/>
          <p14:tracePt t="47726" x="8147050" y="4164013"/>
          <p14:tracePt t="47750" x="8156575" y="4164013"/>
          <p14:tracePt t="47757" x="8174038" y="4164013"/>
          <p14:tracePt t="47774" x="8181975" y="4164013"/>
          <p14:tracePt t="47782" x="8189913" y="4164013"/>
          <p14:tracePt t="47791" x="8199438" y="4156075"/>
          <p14:tracePt t="47798" x="8207375" y="4156075"/>
          <p14:tracePt t="47808" x="8215313" y="4156075"/>
          <p14:tracePt t="47824" x="8224838" y="4156075"/>
          <p14:tracePt t="49478" x="8215313" y="4156075"/>
          <p14:tracePt t="49485" x="8207375" y="4164013"/>
          <p14:tracePt t="49495" x="8181975" y="4189413"/>
          <p14:tracePt t="49500" x="8113713" y="4232275"/>
          <p14:tracePt t="49510" x="8037513" y="4275138"/>
          <p14:tracePt t="49517" x="7935913" y="4341813"/>
          <p14:tracePt t="49524" x="7824788" y="4402138"/>
          <p14:tracePt t="49533" x="7654925" y="4495800"/>
          <p14:tracePt t="49540" x="7518400" y="4554538"/>
          <p14:tracePt t="49549" x="7340600" y="4657725"/>
          <p14:tracePt t="49556" x="7188200" y="4716463"/>
          <p14:tracePt t="49565" x="7051675" y="4767263"/>
          <p14:tracePt t="49572" x="6907213" y="4818063"/>
          <p14:tracePt t="49581" x="6813550" y="4860925"/>
          <p14:tracePt t="49589" x="6745288" y="4894263"/>
          <p14:tracePt t="49597" x="6704013" y="4911725"/>
          <p14:tracePt t="49604" x="6643688" y="4937125"/>
          <p14:tracePt t="49612" x="6618288" y="4954588"/>
          <p14:tracePt t="49621" x="6600825" y="4972050"/>
          <p14:tracePt t="49629" x="6592888" y="4987925"/>
          <p14:tracePt t="49637" x="6584950" y="5013325"/>
          <p14:tracePt t="49645" x="6575425" y="5038725"/>
          <p14:tracePt t="49655" x="6575425" y="5056188"/>
          <p14:tracePt t="49661" x="6575425" y="5073650"/>
          <p14:tracePt t="49677" x="6567488" y="5073650"/>
          <p14:tracePt t="49694" x="6559550" y="5081588"/>
          <p14:tracePt t="49701" x="6559550" y="5091113"/>
          <p14:tracePt t="49710" x="6575425" y="5091113"/>
          <p14:tracePt t="49902" x="6584950" y="5091113"/>
          <p14:tracePt t="49911" x="6592888" y="5091113"/>
          <p14:tracePt t="49917" x="6600825" y="5091113"/>
          <p14:tracePt t="49924" x="6610350" y="5091113"/>
          <p14:tracePt t="49965" x="6610350" y="5099050"/>
          <p14:tracePt t="49973" x="6600825" y="5106988"/>
          <p14:tracePt t="49981" x="6584950" y="5106988"/>
          <p14:tracePt t="49988" x="6559550" y="5116513"/>
          <p14:tracePt t="49997" x="6534150" y="5116513"/>
          <p14:tracePt t="50005" x="6483350" y="5124450"/>
          <p14:tracePt t="50013" x="6423025" y="5132388"/>
          <p14:tracePt t="50022" x="6303963" y="5157788"/>
          <p14:tracePt t="50029" x="6176963" y="5200650"/>
          <p14:tracePt t="50040" x="5938838" y="5294313"/>
          <p14:tracePt t="50045" x="5708650" y="5370513"/>
          <p14:tracePt t="50056" x="5437188" y="5472113"/>
          <p14:tracePt t="50061" x="4927600" y="5591175"/>
          <p14:tracePt t="50069" x="4587875" y="5668963"/>
          <p14:tracePt t="50077" x="4230688" y="5795963"/>
          <p14:tracePt t="50085" x="3976688" y="5864225"/>
          <p14:tracePt t="50094" x="3746500" y="5922963"/>
          <p14:tracePt t="50101" x="3619500" y="5948363"/>
          <p14:tracePt t="50109" x="3457575" y="5965825"/>
          <p14:tracePt t="50117" x="3330575" y="5991225"/>
          <p14:tracePt t="50126" x="3203575" y="6008688"/>
          <p14:tracePt t="50133" x="3033713" y="6008688"/>
          <p14:tracePt t="50142" x="2930525" y="6008688"/>
          <p14:tracePt t="50149" x="2803525" y="6008688"/>
          <p14:tracePt t="50157" x="2735263" y="6008688"/>
          <p14:tracePt t="50165" x="2641600" y="5999163"/>
          <p14:tracePt t="50174" x="2608263" y="5983288"/>
          <p14:tracePt t="50181" x="2582863" y="5973763"/>
          <p14:tracePt t="50189" x="2540000" y="5957888"/>
          <p14:tracePt t="50197" x="2524125" y="5940425"/>
          <p14:tracePt t="50205" x="2497138" y="5932488"/>
          <p14:tracePt t="50213" x="2481263" y="5932488"/>
          <p14:tracePt t="50221" x="2463800" y="5915025"/>
          <p14:tracePt t="50229" x="2455863" y="5897563"/>
          <p14:tracePt t="50237" x="2438400" y="5880100"/>
          <p14:tracePt t="50244" x="2420938" y="5864225"/>
          <p14:tracePt t="50254" x="2395538" y="5854700"/>
          <p14:tracePt t="50261" x="2362200" y="5821363"/>
          <p14:tracePt t="50269" x="2327275" y="5795963"/>
          <p14:tracePt t="50277" x="2276475" y="5753100"/>
          <p14:tracePt t="50286" x="2235200" y="5727700"/>
          <p14:tracePt t="50294" x="2174875" y="5684838"/>
          <p14:tracePt t="50302" x="2124075" y="5659438"/>
          <p14:tracePt t="50311" x="2065338" y="5626100"/>
          <p14:tracePt t="50317" x="2012950" y="5608638"/>
          <p14:tracePt t="50326" x="1979613" y="5600700"/>
          <p14:tracePt t="50334" x="1928813" y="5565775"/>
          <p14:tracePt t="50342" x="1911350" y="5540375"/>
          <p14:tracePt t="50350" x="1893888" y="5524500"/>
          <p14:tracePt t="50357" x="1878013" y="5497513"/>
          <p14:tracePt t="50366" x="1860550" y="5464175"/>
          <p14:tracePt t="50374" x="1852613" y="5413375"/>
          <p14:tracePt t="50382" x="1827213" y="5370513"/>
          <p14:tracePt t="50390" x="1817688" y="5337175"/>
          <p14:tracePt t="50397" x="1817688" y="5302250"/>
          <p14:tracePt t="50407" x="1817688" y="5286375"/>
          <p14:tracePt t="50413" x="1817688" y="5276850"/>
          <p14:tracePt t="50424" x="1817688" y="5268913"/>
          <p14:tracePt t="50441" x="1817688" y="5260975"/>
          <p14:tracePt t="52821" x="1817688" y="5251450"/>
          <p14:tracePt t="52830" x="1809750" y="5243513"/>
          <p14:tracePt t="52837" x="1784350" y="5235575"/>
          <p14:tracePt t="52846" x="1766888" y="5218113"/>
          <p14:tracePt t="52857" x="1741488" y="5183188"/>
          <p14:tracePt t="52861" x="1741488" y="5175250"/>
          <p14:tracePt t="53045" x="1741488" y="5167313"/>
          <p14:tracePt t="53054" x="1741488" y="5157788"/>
          <p14:tracePt t="53108" x="1741488" y="5167313"/>
          <p14:tracePt t="53118" x="1708150" y="5167313"/>
          <p14:tracePt t="53127" x="1673225" y="5157788"/>
          <p14:tracePt t="53135" x="1647825" y="5157788"/>
          <p14:tracePt t="53140" x="1631950" y="5149850"/>
          <p14:tracePt t="53149" x="1597025" y="5149850"/>
          <p14:tracePt t="53156" x="1563688" y="5149850"/>
          <p14:tracePt t="53165" x="1554163" y="5141913"/>
          <p14:tracePt t="53172" x="1528763" y="5141913"/>
          <p14:tracePt t="53181" x="1512888" y="5141913"/>
          <p14:tracePt t="53188" x="1503363" y="5141913"/>
          <p14:tracePt t="53197" x="1487488" y="5141913"/>
          <p14:tracePt t="54205" x="1503363" y="5132388"/>
          <p14:tracePt t="54213" x="1579563" y="5106988"/>
          <p14:tracePt t="54222" x="1776413" y="5038725"/>
          <p14:tracePt t="54229" x="1979613" y="4962525"/>
          <p14:tracePt t="54239" x="2235200" y="4894263"/>
          <p14:tracePt t="54245" x="2327275" y="4886325"/>
          <p14:tracePt t="54256" x="2370138" y="4878388"/>
          <p14:tracePt t="54261" x="2379663" y="4878388"/>
          <p14:tracePt t="54279" x="2379663" y="4886325"/>
          <p14:tracePt t="54286" x="2370138" y="4911725"/>
          <p14:tracePt t="54294" x="2352675" y="4954588"/>
          <p14:tracePt t="54301" x="2311400" y="4997450"/>
          <p14:tracePt t="54310" x="2293938" y="5022850"/>
          <p14:tracePt t="54317" x="2251075" y="5038725"/>
          <p14:tracePt t="54510" x="2251075" y="5048250"/>
          <p14:tracePt t="54614" x="2243138" y="5048250"/>
          <p14:tracePt t="54638" x="2225675" y="5048250"/>
          <p14:tracePt t="54645" x="2225675" y="5056188"/>
          <p14:tracePt t="54653" x="2217738" y="5064125"/>
          <p14:tracePt t="54661" x="2208213" y="5064125"/>
          <p14:tracePt t="54742" x="2225675" y="5064125"/>
          <p14:tracePt t="54750" x="2235200" y="5064125"/>
          <p14:tracePt t="54757" x="2286000" y="5056188"/>
          <p14:tracePt t="54765" x="2311400" y="5048250"/>
          <p14:tracePt t="54773" x="2352675" y="5030788"/>
          <p14:tracePt t="54781" x="2379663" y="5022850"/>
          <p14:tracePt t="54789" x="2430463" y="5005388"/>
          <p14:tracePt t="54797" x="2455863" y="4997450"/>
          <p14:tracePt t="54804" x="2471738" y="4987925"/>
          <p14:tracePt t="55038" x="2463800" y="4987925"/>
          <p14:tracePt t="55046" x="2455863" y="4987925"/>
          <p14:tracePt t="55061" x="2438400" y="4987925"/>
          <p14:tracePt t="55070" x="2430463" y="4987925"/>
          <p14:tracePt t="55101" x="2438400" y="4987925"/>
          <p14:tracePt t="55110" x="2446338" y="4987925"/>
          <p14:tracePt t="55126" x="2463800" y="4987925"/>
          <p14:tracePt t="55133" x="2471738" y="4987925"/>
          <p14:tracePt t="55141" x="2489200" y="4987925"/>
          <p14:tracePt t="55149" x="2506663" y="4979988"/>
          <p14:tracePt t="55157" x="2532063" y="4979988"/>
          <p14:tracePt t="55165" x="2557463" y="4972050"/>
          <p14:tracePt t="55173" x="2590800" y="4954588"/>
          <p14:tracePt t="55181" x="2625725" y="4937125"/>
          <p14:tracePt t="55189" x="2651125" y="4929188"/>
          <p14:tracePt t="55197" x="2676525" y="4919663"/>
          <p14:tracePt t="55205" x="2684463" y="4911725"/>
          <p14:tracePt t="55221" x="2693988" y="4911725"/>
          <p14:tracePt t="55261" x="2684463" y="4919663"/>
          <p14:tracePt t="55270" x="2676525" y="4919663"/>
          <p14:tracePt t="55277" x="2659063" y="4929188"/>
          <p14:tracePt t="55390" x="2641600" y="4929188"/>
          <p14:tracePt t="55398" x="2625725" y="4929188"/>
          <p14:tracePt t="55406" x="2616200" y="4929188"/>
          <p14:tracePt t="55413" x="2608263" y="4937125"/>
          <p14:tracePt t="55421" x="2600325" y="4937125"/>
          <p14:tracePt t="55438" x="2574925" y="4937125"/>
          <p14:tracePt t="55455" x="2557463" y="4937125"/>
          <p14:tracePt t="55461" x="2549525" y="4937125"/>
          <p14:tracePt t="55471" x="2540000" y="4937125"/>
          <p14:tracePt t="55477" x="2524125" y="4937125"/>
          <p14:tracePt t="55494" x="2506663" y="4937125"/>
          <p14:tracePt t="55622" x="2497138" y="4937125"/>
          <p14:tracePt t="55694" x="2497138" y="4929188"/>
          <p14:tracePt t="55710" x="2489200" y="4929188"/>
          <p14:tracePt t="55717" x="2481263" y="4929188"/>
          <p14:tracePt t="55764" x="2481263" y="4919663"/>
          <p14:tracePt t="55780" x="2489200" y="4919663"/>
          <p14:tracePt t="55796" x="2506663" y="4911725"/>
          <p14:tracePt t="55804" x="2532063" y="4903788"/>
          <p14:tracePt t="55812" x="2549525" y="4894263"/>
          <p14:tracePt t="55823" x="2600325" y="4878388"/>
          <p14:tracePt t="55828" x="2641600" y="4860925"/>
          <p14:tracePt t="55837" x="2709863" y="4827588"/>
          <p14:tracePt t="55844" x="2735263" y="4827588"/>
          <p14:tracePt t="55853" x="2770188" y="4818063"/>
          <p14:tracePt t="55860" x="2803525" y="4818063"/>
          <p14:tracePt t="55949" x="2803525" y="4827588"/>
          <p14:tracePt t="55957" x="2803525" y="4843463"/>
          <p14:tracePt t="55964" x="2795588" y="4868863"/>
          <p14:tracePt t="55972" x="2795588" y="4878388"/>
          <p14:tracePt t="55980" x="2770188" y="4894263"/>
          <p14:tracePt t="55988" x="2760663" y="4911725"/>
          <p14:tracePt t="55996" x="2744788" y="4929188"/>
          <p14:tracePt t="56004" x="2719388" y="4946650"/>
          <p14:tracePt t="56012" x="2684463" y="4946650"/>
          <p14:tracePt t="56021" x="2659063" y="4962525"/>
          <p14:tracePt t="56028" x="2641600" y="4972050"/>
          <p14:tracePt t="56037" x="2608263" y="4987925"/>
          <p14:tracePt t="56044" x="2582863" y="5005388"/>
          <p14:tracePt t="56053" x="2557463" y="5013325"/>
          <p14:tracePt t="56061" x="2532063" y="5022850"/>
          <p14:tracePt t="56068" x="2514600" y="5030788"/>
          <p14:tracePt t="56076" x="2497138" y="5038725"/>
          <p14:tracePt t="56084" x="2471738" y="5038725"/>
          <p14:tracePt t="56093" x="2430463" y="5048250"/>
          <p14:tracePt t="56100" x="2387600" y="5056188"/>
          <p14:tracePt t="56108" x="2336800" y="5064125"/>
          <p14:tracePt t="56116" x="2301875" y="5073650"/>
          <p14:tracePt t="56124" x="2286000" y="5091113"/>
          <p14:tracePt t="56132" x="2276475" y="5091113"/>
          <p14:tracePt t="56140" x="2276475" y="5099050"/>
          <p14:tracePt t="56148" x="2286000" y="5099050"/>
          <p14:tracePt t="56156" x="2327275" y="5099050"/>
          <p14:tracePt t="56164" x="2405063" y="5099050"/>
          <p14:tracePt t="56172" x="2481263" y="5091113"/>
          <p14:tracePt t="56180" x="2608263" y="5064125"/>
          <p14:tracePt t="56188" x="2693988" y="5056188"/>
          <p14:tracePt t="56196" x="2820988" y="5030788"/>
          <p14:tracePt t="56204" x="2922588" y="5005388"/>
          <p14:tracePt t="56212" x="3049588" y="4987925"/>
          <p14:tracePt t="56221" x="3135313" y="4972050"/>
          <p14:tracePt t="56228" x="3211513" y="4962525"/>
          <p14:tracePt t="56237" x="3330575" y="4911725"/>
          <p14:tracePt t="56244" x="3414713" y="4886325"/>
          <p14:tracePt t="56253" x="3508375" y="4852988"/>
          <p14:tracePt t="56260" x="3586163" y="4818063"/>
          <p14:tracePt t="56268" x="3644900" y="4792663"/>
          <p14:tracePt t="56276" x="3695700" y="4775200"/>
          <p14:tracePt t="56284" x="3738563" y="4759325"/>
          <p14:tracePt t="56293" x="3797300" y="4759325"/>
          <p14:tracePt t="56300" x="3857625" y="4749800"/>
          <p14:tracePt t="56308" x="3916363" y="4741863"/>
          <p14:tracePt t="56316" x="3951288" y="4733925"/>
          <p14:tracePt t="56324" x="3992563" y="4733925"/>
          <p14:tracePt t="56332" x="4010025" y="4733925"/>
          <p14:tracePt t="56348" x="4017963" y="4733925"/>
          <p14:tracePt t="56356" x="4027488" y="4724400"/>
          <p14:tracePt t="56372" x="4035425" y="4724400"/>
          <p14:tracePt t="56380" x="4044950" y="4724400"/>
          <p14:tracePt t="56388" x="4052888" y="4724400"/>
          <p14:tracePt t="56396" x="4060825" y="4716463"/>
          <p14:tracePt t="56404" x="4070350" y="4716463"/>
          <p14:tracePt t="56412" x="4095750" y="4716463"/>
          <p14:tracePt t="56420" x="4121150" y="4716463"/>
          <p14:tracePt t="56428" x="4162425" y="4724400"/>
          <p14:tracePt t="56437" x="4240213" y="4733925"/>
          <p14:tracePt t="56444" x="4281488" y="4741863"/>
          <p14:tracePt t="56453" x="4384675" y="4759325"/>
          <p14:tracePt t="56460" x="4443413" y="4767263"/>
          <p14:tracePt t="56468" x="4519613" y="4784725"/>
          <p14:tracePt t="56476" x="4579938" y="4792663"/>
          <p14:tracePt t="56484" x="4646613" y="4792663"/>
          <p14:tracePt t="56493" x="4706938" y="4810125"/>
          <p14:tracePt t="56500" x="4783138" y="4818063"/>
          <p14:tracePt t="56508" x="4818063" y="4827588"/>
          <p14:tracePt t="56516" x="4843463" y="4827588"/>
          <p14:tracePt t="56524" x="4868863" y="4827588"/>
          <p14:tracePt t="56532" x="4884738" y="4827588"/>
          <p14:tracePt t="56540" x="4894263" y="4827588"/>
          <p14:tracePt t="56548" x="4910138" y="4827588"/>
          <p14:tracePt t="56556" x="4927600" y="4818063"/>
          <p14:tracePt t="56564" x="4935538" y="4810125"/>
          <p14:tracePt t="56572" x="4953000" y="4802188"/>
          <p14:tracePt t="56580" x="4970463" y="4802188"/>
          <p14:tracePt t="56588" x="4978400" y="4792663"/>
          <p14:tracePt t="56596" x="4995863" y="4784725"/>
          <p14:tracePt t="56604" x="5003800" y="4784725"/>
          <p14:tracePt t="56613" x="5013325" y="4775200"/>
          <p14:tracePt t="56621" x="5038725" y="4775200"/>
          <p14:tracePt t="56628" x="5072063" y="4767263"/>
          <p14:tracePt t="56637" x="5106988" y="4767263"/>
          <p14:tracePt t="56644" x="5148263" y="4759325"/>
          <p14:tracePt t="56653" x="5183188" y="4759325"/>
          <p14:tracePt t="56660" x="5199063" y="4759325"/>
          <p14:tracePt t="56668" x="5224463" y="4759325"/>
          <p14:tracePt t="56676" x="5233988" y="4759325"/>
          <p14:tracePt t="56684" x="5249863" y="4759325"/>
          <p14:tracePt t="56693" x="5267325" y="4759325"/>
          <p14:tracePt t="56708" x="5276850" y="4759325"/>
          <p14:tracePt t="56716" x="5292725" y="4759325"/>
          <p14:tracePt t="56724" x="5302250" y="4759325"/>
          <p14:tracePt t="56732" x="5318125" y="4759325"/>
          <p14:tracePt t="56748" x="5327650" y="4759325"/>
          <p14:tracePt t="56772" x="5292725" y="4759325"/>
          <p14:tracePt t="56780" x="5284788" y="4759325"/>
          <p14:tracePt t="57020" x="5267325" y="4767263"/>
          <p14:tracePt t="57052" x="5259388" y="4767263"/>
          <p14:tracePt t="57100" x="5249863" y="4767263"/>
          <p14:tracePt t="57108" x="5241925" y="4775200"/>
          <p14:tracePt t="57156" x="5241925" y="4784725"/>
          <p14:tracePt t="57172" x="5249863" y="4784725"/>
          <p14:tracePt t="57188" x="5259388" y="4784725"/>
          <p14:tracePt t="57196" x="5276850" y="4784725"/>
          <p14:tracePt t="57204" x="5302250" y="4784725"/>
          <p14:tracePt t="57213" x="5310188" y="4792663"/>
          <p14:tracePt t="57221" x="5335588" y="4792663"/>
          <p14:tracePt t="57228" x="5343525" y="4792663"/>
          <p14:tracePt t="57236" x="5360988" y="4792663"/>
          <p14:tracePt t="57253" x="5368925" y="4792663"/>
          <p14:tracePt t="57260" x="5378450" y="4792663"/>
          <p14:tracePt t="57340" x="5386388" y="4792663"/>
          <p14:tracePt t="58213" x="5421313" y="4792663"/>
          <p14:tracePt t="58220" x="5472113" y="4792663"/>
          <p14:tracePt t="58228" x="5522913" y="4810125"/>
          <p14:tracePt t="58236" x="5607050" y="4827588"/>
          <p14:tracePt t="58244" x="5675313" y="4835525"/>
          <p14:tracePt t="58253" x="5811838" y="4860925"/>
          <p14:tracePt t="58260" x="5895975" y="4894263"/>
          <p14:tracePt t="58268" x="6040438" y="4929188"/>
          <p14:tracePt t="58276" x="6151563" y="4937125"/>
          <p14:tracePt t="58284" x="6296025" y="4962525"/>
          <p14:tracePt t="58293" x="6397625" y="4987925"/>
          <p14:tracePt t="58300" x="6499225" y="4997450"/>
          <p14:tracePt t="58308" x="6600825" y="5022850"/>
          <p14:tracePt t="58316" x="6643688" y="5030788"/>
          <p14:tracePt t="58324" x="6704013" y="5038725"/>
          <p14:tracePt t="58332" x="6719888" y="5038725"/>
          <p14:tracePt t="58340" x="6729413" y="5038725"/>
          <p14:tracePt t="58372" x="6737350" y="5048250"/>
          <p14:tracePt t="58380" x="6745288" y="5048250"/>
          <p14:tracePt t="58388" x="6745288" y="5056188"/>
          <p14:tracePt t="58396" x="6745288" y="5064125"/>
          <p14:tracePt t="58404" x="6737350" y="5073650"/>
          <p14:tracePt t="58412" x="6719888" y="5081588"/>
          <p14:tracePt t="58421" x="6711950" y="5091113"/>
          <p14:tracePt t="58604" x="6711950" y="5099050"/>
          <p14:tracePt t="58612" x="6704013" y="5099050"/>
          <p14:tracePt t="58637" x="6694488" y="5099050"/>
          <p14:tracePt t="58644" x="6719888" y="5099050"/>
          <p14:tracePt t="58653" x="6770688" y="5091113"/>
          <p14:tracePt t="58661" x="6770688" y="5081588"/>
          <p14:tracePt t="58670" x="6770688" y="5073650"/>
          <p14:tracePt t="58685" x="6770688" y="5064125"/>
          <p14:tracePt t="58700" x="6780213" y="5056188"/>
          <p14:tracePt t="58724" x="6780213" y="5048250"/>
          <p14:tracePt t="58740" x="6780213" y="5038725"/>
          <p14:tracePt t="58748" x="6780213" y="5030788"/>
          <p14:tracePt t="58756" x="6780213" y="5022850"/>
          <p14:tracePt t="58764" x="6770688" y="5022850"/>
          <p14:tracePt t="58780" x="6770688" y="5013325"/>
          <p14:tracePt t="58788" x="6770688" y="5005388"/>
          <p14:tracePt t="58796" x="6770688" y="4997450"/>
          <p14:tracePt t="58812" x="6770688" y="4987925"/>
          <p14:tracePt t="58820" x="6770688" y="4979988"/>
          <p14:tracePt t="58860" x="6780213" y="4972050"/>
          <p14:tracePt t="58868" x="6780213" y="4962525"/>
          <p14:tracePt t="59404" x="6788150" y="4962525"/>
          <p14:tracePt t="59412" x="6788150" y="4972050"/>
          <p14:tracePt t="59428" x="6797675" y="4979988"/>
          <p14:tracePt t="59445" x="6797675" y="4987925"/>
          <p14:tracePt t="59460" x="6788150" y="4979988"/>
          <p14:tracePt t="59469" x="6780213" y="4954588"/>
          <p14:tracePt t="59477" x="6770688" y="4911725"/>
          <p14:tracePt t="59756" x="6762750" y="4911725"/>
          <p14:tracePt t="59764" x="6754813" y="4911725"/>
          <p14:tracePt t="59796" x="6737350" y="4919663"/>
          <p14:tracePt t="59804" x="6729413" y="4929188"/>
          <p14:tracePt t="59821" x="6711950" y="4929188"/>
          <p14:tracePt t="59828" x="6704013" y="4937125"/>
          <p14:tracePt t="59836" x="6694488" y="4946650"/>
          <p14:tracePt t="59844" x="6678613" y="4954588"/>
          <p14:tracePt t="59853" x="6669088" y="4962525"/>
          <p14:tracePt t="59860" x="6643688" y="4987925"/>
          <p14:tracePt t="59870" x="6618288" y="4997450"/>
          <p14:tracePt t="59877" x="6600825" y="5005388"/>
          <p14:tracePt t="59884" x="6592888" y="5013325"/>
          <p14:tracePt t="59924" x="6584950" y="5013325"/>
          <p14:tracePt t="59932" x="6584950" y="5022850"/>
          <p14:tracePt t="60268" x="6592888" y="5030788"/>
          <p14:tracePt t="60285" x="6610350" y="5030788"/>
          <p14:tracePt t="60292" x="6610350" y="5038725"/>
          <p14:tracePt t="60316" x="6618288" y="5038725"/>
          <p14:tracePt t="60396" x="6618288" y="5048250"/>
          <p14:tracePt t="60420" x="6618288" y="5056188"/>
          <p14:tracePt t="60444" x="6626225" y="5064125"/>
          <p14:tracePt t="60452" x="6626225" y="5073650"/>
          <p14:tracePt t="60460" x="6626225" y="5081588"/>
          <p14:tracePt t="60469" x="6626225" y="5099050"/>
          <p14:tracePt t="60477" x="6626225" y="5106988"/>
          <p14:tracePt t="60484" x="6635750" y="5106988"/>
          <p14:tracePt t="60492" x="6635750" y="5116513"/>
          <p14:tracePt t="60500" x="6635750" y="5132388"/>
          <p14:tracePt t="60508" x="6643688" y="5132388"/>
          <p14:tracePt t="60636" x="6643688" y="5141913"/>
          <p14:tracePt t="60748" x="6643688" y="5149850"/>
          <p14:tracePt t="60772" x="6635750" y="5157788"/>
          <p14:tracePt t="60780" x="6626225" y="5157788"/>
          <p14:tracePt t="60788" x="6626225" y="5167313"/>
          <p14:tracePt t="60860" x="6626225" y="5175250"/>
          <p14:tracePt t="60988" x="6626225" y="5183188"/>
          <p14:tracePt t="60996" x="6626225" y="5192713"/>
          <p14:tracePt t="61020" x="6626225" y="5200650"/>
          <p14:tracePt t="61028" x="6626225" y="5208588"/>
          <p14:tracePt t="61036" x="6626225" y="5218113"/>
          <p14:tracePt t="61052" x="6635750" y="5226050"/>
          <p14:tracePt t="61061" x="6635750" y="5235575"/>
          <p14:tracePt t="61077" x="6635750" y="5243513"/>
          <p14:tracePt t="61084" x="6635750" y="5251450"/>
          <p14:tracePt t="61092" x="6643688" y="5251450"/>
          <p14:tracePt t="61100" x="6653213" y="5251450"/>
          <p14:tracePt t="61108" x="6653213" y="5260975"/>
          <p14:tracePt t="61116" x="6661150" y="5260975"/>
          <p14:tracePt t="61148" x="6678613" y="5260975"/>
          <p14:tracePt t="61156" x="6686550" y="5268913"/>
          <p14:tracePt t="61164" x="6694488" y="5268913"/>
          <p14:tracePt t="61172" x="6711950" y="5268913"/>
          <p14:tracePt t="61180" x="6719888" y="5268913"/>
          <p14:tracePt t="61188" x="6754813" y="5268913"/>
          <p14:tracePt t="61204" x="6737350" y="5276850"/>
          <p14:tracePt t="61340" x="6729413" y="5276850"/>
          <p14:tracePt t="61364" x="6719888" y="5276850"/>
          <p14:tracePt t="61380" x="6694488" y="5276850"/>
          <p14:tracePt t="61388" x="6686550" y="5276850"/>
          <p14:tracePt t="61396" x="6678613" y="5276850"/>
          <p14:tracePt t="61404" x="6661150" y="5276850"/>
          <p14:tracePt t="61412" x="6653213" y="5276850"/>
          <p14:tracePt t="61420" x="6626225" y="5276850"/>
          <p14:tracePt t="61428" x="6600825" y="5276850"/>
          <p14:tracePt t="61437" x="6584950" y="5276850"/>
          <p14:tracePt t="61445" x="6575425" y="5276850"/>
          <p14:tracePt t="61453" x="6567488" y="5276850"/>
          <p14:tracePt t="61484" x="6559550" y="5276850"/>
          <p14:tracePt t="61532" x="6550025" y="5276850"/>
          <p14:tracePt t="61772" x="6542088" y="5276850"/>
          <p14:tracePt t="61780" x="6534150" y="5276850"/>
          <p14:tracePt t="61812" x="6524625" y="5276850"/>
          <p14:tracePt t="61828" x="6524625" y="5286375"/>
          <p14:tracePt t="61844" x="6516688" y="5286375"/>
          <p14:tracePt t="61852" x="6516688" y="5294313"/>
          <p14:tracePt t="61884" x="6508750" y="5294313"/>
          <p14:tracePt t="61908" x="6508750" y="5302250"/>
          <p14:tracePt t="62116" x="6516688" y="5302250"/>
          <p14:tracePt t="62148" x="6524625" y="5302250"/>
          <p14:tracePt t="62156" x="6534150" y="5302250"/>
          <p14:tracePt t="62164" x="6542088" y="5302250"/>
          <p14:tracePt t="62196" x="6550025" y="5302250"/>
          <p14:tracePt t="63719" x="6550025" y="5319713"/>
          <p14:tracePt t="63727" x="6550025" y="5337175"/>
          <p14:tracePt t="63734" x="6550025" y="5362575"/>
          <p14:tracePt t="63741" x="6550025" y="5380038"/>
          <p14:tracePt t="63748" x="6559550" y="5395913"/>
          <p14:tracePt t="63756" x="6575425" y="5405438"/>
          <p14:tracePt t="63764" x="6584950" y="5413375"/>
          <p14:tracePt t="63772" x="6600825" y="5413375"/>
          <p14:tracePt t="63780" x="6610350" y="5413375"/>
          <p14:tracePt t="63804" x="6618288" y="5413375"/>
          <p14:tracePt t="63868" x="6610350" y="5413375"/>
          <p14:tracePt t="63877" x="6592888" y="5413375"/>
          <p14:tracePt t="63884" x="6584950" y="5413375"/>
          <p14:tracePt t="63892" x="6559550" y="5421313"/>
          <p14:tracePt t="63900" x="6534150" y="5421313"/>
          <p14:tracePt t="63908" x="6516688" y="5430838"/>
          <p14:tracePt t="63916" x="6508750" y="5430838"/>
          <p14:tracePt t="63924" x="6499225" y="5430838"/>
          <p14:tracePt t="63956" x="6508750" y="5421313"/>
          <p14:tracePt t="63964" x="6534150" y="5387975"/>
          <p14:tracePt t="64140" x="6542088" y="5387975"/>
          <p14:tracePt t="64149" x="6550025" y="5387975"/>
          <p14:tracePt t="64204" x="6559550" y="5387975"/>
          <p14:tracePt t="64268" x="6550025" y="5380038"/>
          <p14:tracePt t="64292" x="6542088" y="5380038"/>
          <p14:tracePt t="64300" x="6534150" y="5380038"/>
          <p14:tracePt t="64308" x="6524625" y="5380038"/>
          <p14:tracePt t="64316" x="6508750" y="5380038"/>
          <p14:tracePt t="64324" x="6465888" y="5380038"/>
          <p14:tracePt t="64332" x="6430963" y="5380038"/>
          <p14:tracePt t="64340" x="6389688" y="5380038"/>
          <p14:tracePt t="64348" x="6354763" y="5380038"/>
          <p14:tracePt t="64356" x="6311900" y="5380038"/>
          <p14:tracePt t="64364" x="6296025" y="5380038"/>
          <p14:tracePt t="64372" x="6261100" y="5380038"/>
          <p14:tracePt t="64380" x="6235700" y="5380038"/>
          <p14:tracePt t="64468" x="6245225" y="5380038"/>
          <p14:tracePt t="64485" x="6253163" y="5380038"/>
          <p14:tracePt t="66302" x="6253163" y="5362575"/>
          <p14:tracePt t="66311" x="6261100" y="5353050"/>
          <p14:tracePt t="66318" x="6270625" y="5327650"/>
          <p14:tracePt t="66325" x="6286500" y="5311775"/>
          <p14:tracePt t="66334" x="6296025" y="5294313"/>
          <p14:tracePt t="66341" x="6303963" y="5276850"/>
          <p14:tracePt t="66349" x="6311900" y="5276850"/>
          <p14:tracePt t="66357" x="6329363" y="5260975"/>
          <p14:tracePt t="66365" x="6338888" y="5243513"/>
          <p14:tracePt t="66373" x="6364288" y="5235575"/>
          <p14:tracePt t="66381" x="6380163" y="5218113"/>
          <p14:tracePt t="66390" x="6380163" y="5208588"/>
          <p14:tracePt t="66566" x="6397625" y="5208588"/>
          <p14:tracePt t="66581" x="6415088" y="5208588"/>
          <p14:tracePt t="66588" x="6415088" y="5218113"/>
          <p14:tracePt t="66597" x="6430963" y="5218113"/>
          <p14:tracePt t="66604" x="6440488" y="5218113"/>
          <p14:tracePt t="66620" x="6448425" y="5218113"/>
          <p14:tracePt t="66629" x="6456363" y="5218113"/>
          <p14:tracePt t="66662" x="6465888" y="5218113"/>
          <p14:tracePt t="67061" x="6440488" y="5218113"/>
          <p14:tracePt t="67069" x="6415088" y="5218113"/>
          <p14:tracePt t="67077" x="6354763" y="5218113"/>
          <p14:tracePt t="67085" x="6286500" y="5218113"/>
          <p14:tracePt t="67094" x="6202363" y="5218113"/>
          <p14:tracePt t="67103" x="6057900" y="5218113"/>
          <p14:tracePt t="67110" x="5964238" y="5218113"/>
          <p14:tracePt t="67118" x="5819775" y="5218113"/>
          <p14:tracePt t="67125" x="5735638" y="5218113"/>
          <p14:tracePt t="67133" x="5632450" y="5226050"/>
          <p14:tracePt t="67141" x="5573713" y="5243513"/>
          <p14:tracePt t="67149" x="5513388" y="5251450"/>
          <p14:tracePt t="67156" x="5480050" y="5251450"/>
          <p14:tracePt t="67165" x="5454650" y="5251450"/>
          <p14:tracePt t="67172" x="5429250" y="5251450"/>
          <p14:tracePt t="67181" x="5403850" y="5251450"/>
          <p14:tracePt t="67197" x="5394325" y="5251450"/>
          <p14:tracePt t="67229" x="5394325" y="5243513"/>
          <p14:tracePt t="67237" x="5403850" y="5243513"/>
          <p14:tracePt t="67245" x="5421313" y="5226050"/>
          <p14:tracePt t="67256" x="5454650" y="5200650"/>
          <p14:tracePt t="67262" x="5480050" y="5183188"/>
          <p14:tracePt t="67273" x="5513388" y="5167313"/>
          <p14:tracePt t="67430" x="5522913" y="5167313"/>
          <p14:tracePt t="67439" x="5530850" y="5167313"/>
          <p14:tracePt t="67462" x="5548313" y="5157788"/>
          <p14:tracePt t="67469" x="5556250" y="5157788"/>
          <p14:tracePt t="67501" x="5565775" y="5157788"/>
          <p14:tracePt t="67510" x="5573713" y="5157788"/>
          <p14:tracePt t="67598" x="5565775" y="5157788"/>
          <p14:tracePt t="67622" x="5556250" y="5157788"/>
          <p14:tracePt t="67630" x="5538788" y="5157788"/>
          <p14:tracePt t="67637" x="5522913" y="5157788"/>
          <p14:tracePt t="67645" x="5513388" y="5157788"/>
          <p14:tracePt t="67653" x="5497513" y="5167313"/>
          <p14:tracePt t="67661" x="5480050" y="5167313"/>
          <p14:tracePt t="67670" x="5454650" y="5175250"/>
          <p14:tracePt t="67677" x="5429250" y="5175250"/>
          <p14:tracePt t="67687" x="5403850" y="5175250"/>
          <p14:tracePt t="67694" x="5343525" y="5183188"/>
          <p14:tracePt t="67701" x="5284788" y="5192713"/>
          <p14:tracePt t="67709" x="5199063" y="5218113"/>
          <p14:tracePt t="67719" x="5097463" y="5243513"/>
          <p14:tracePt t="67725" x="4987925" y="5251450"/>
          <p14:tracePt t="67732" x="4884738" y="5276850"/>
          <p14:tracePt t="67741" x="4791075" y="5286375"/>
          <p14:tracePt t="67748" x="4689475" y="5311775"/>
          <p14:tracePt t="67757" x="4621213" y="5319713"/>
          <p14:tracePt t="67765" x="4519613" y="5337175"/>
          <p14:tracePt t="67772" x="4468813" y="5353050"/>
          <p14:tracePt t="67781" x="4425950" y="5370513"/>
          <p14:tracePt t="67788" x="4375150" y="5380038"/>
          <p14:tracePt t="67797" x="4349750" y="5387975"/>
          <p14:tracePt t="67805" x="4324350" y="5395913"/>
          <p14:tracePt t="67813" x="4306888" y="5405438"/>
          <p14:tracePt t="67821" x="4291013" y="5405438"/>
          <p14:tracePt t="67829" x="4281488" y="5405438"/>
          <p14:tracePt t="67837" x="4256088" y="5413375"/>
          <p14:tracePt t="67845" x="4230688" y="5421313"/>
          <p14:tracePt t="67854" x="4197350" y="5430838"/>
          <p14:tracePt t="67861" x="4187825" y="5430838"/>
          <p14:tracePt t="67871" x="4154488" y="5438775"/>
          <p14:tracePt t="67878" x="4137025" y="5438775"/>
          <p14:tracePt t="67888" x="4121150" y="5438775"/>
          <p14:tracePt t="67894" x="4095750" y="5446713"/>
          <p14:tracePt t="67904" x="4070350" y="5446713"/>
          <p14:tracePt t="67910" x="4060825" y="5456238"/>
          <p14:tracePt t="67918" x="4052888" y="5456238"/>
          <p14:tracePt t="67925" x="4044950" y="5456238"/>
          <p14:tracePt t="67933" x="4035425" y="5456238"/>
          <p14:tracePt t="67941" x="4027488" y="5464175"/>
          <p14:tracePt t="67949" x="3992563" y="5464175"/>
          <p14:tracePt t="67957" x="3967163" y="5472113"/>
          <p14:tracePt t="67965" x="3916363" y="5481638"/>
          <p14:tracePt t="67973" x="3873500" y="5489575"/>
          <p14:tracePt t="67981" x="3814763" y="5489575"/>
          <p14:tracePt t="67990" x="3781425" y="5497513"/>
          <p14:tracePt t="67997" x="3721100" y="5507038"/>
          <p14:tracePt t="68005" x="3687763" y="5507038"/>
          <p14:tracePt t="68013" x="3652838" y="5514975"/>
          <p14:tracePt t="68021" x="3644900" y="5514975"/>
          <p14:tracePt t="68029" x="3636963" y="5514975"/>
          <p14:tracePt t="68037" x="3627438" y="5514975"/>
          <p14:tracePt t="68158" x="3627438" y="5507038"/>
          <p14:tracePt t="68293" x="3636963" y="5507038"/>
          <p14:tracePt t="68326" x="3644900" y="5507038"/>
          <p14:tracePt t="68341" x="3652838" y="5507038"/>
          <p14:tracePt t="68389" x="3662363" y="5507038"/>
          <p14:tracePt t="68404" x="3662363" y="5514975"/>
          <p14:tracePt t="68421" x="3670300" y="5524500"/>
          <p14:tracePt t="68429" x="3678238" y="5524500"/>
          <p14:tracePt t="68437" x="3678238" y="5532438"/>
          <p14:tracePt t="68445" x="3695700" y="5540375"/>
          <p14:tracePt t="68453" x="3713163" y="5540375"/>
          <p14:tracePt t="68460" x="3713163" y="5549900"/>
          <p14:tracePt t="68469" x="3721100" y="5549900"/>
          <p14:tracePt t="68477" x="3729038" y="5549900"/>
          <p14:tracePt t="68486" x="3738563" y="5549900"/>
          <p14:tracePt t="68493" x="3746500" y="5557838"/>
          <p14:tracePt t="68703" x="3756025" y="5557838"/>
          <p14:tracePt t="68717" x="3763963" y="5549900"/>
          <p14:tracePt t="68724" x="3763963" y="5540375"/>
          <p14:tracePt t="68733" x="3771900" y="5532438"/>
          <p14:tracePt t="68741" x="3789363" y="5524500"/>
          <p14:tracePt t="68749" x="3797300" y="5497513"/>
          <p14:tracePt t="68757" x="3814763" y="5472113"/>
          <p14:tracePt t="68765" x="3840163" y="5446713"/>
          <p14:tracePt t="68772" x="3857625" y="5395913"/>
          <p14:tracePt t="68781" x="3873500" y="5362575"/>
          <p14:tracePt t="68789" x="3890963" y="5294313"/>
          <p14:tracePt t="68797" x="3890963" y="5235575"/>
          <p14:tracePt t="68806" x="3890963" y="5167313"/>
          <p14:tracePt t="68813" x="3890963" y="5116513"/>
          <p14:tracePt t="68821" x="3890963" y="5073650"/>
          <p14:tracePt t="68829" x="3890963" y="5056188"/>
          <p14:tracePt t="68838" x="3890963" y="5048250"/>
          <p14:tracePt t="68845" x="3890963" y="5030788"/>
          <p14:tracePt t="68854" x="3883025" y="5030788"/>
          <p14:tracePt t="68934" x="3890963" y="5030788"/>
          <p14:tracePt t="68949" x="3908425" y="5030788"/>
          <p14:tracePt t="68966" x="3916363" y="5030788"/>
          <p14:tracePt t="68982" x="3925888" y="5030788"/>
          <p14:tracePt t="69005" x="3933825" y="5030788"/>
          <p14:tracePt t="69021" x="3941763" y="5013325"/>
          <p14:tracePt t="69029" x="3951288" y="5005388"/>
          <p14:tracePt t="69037" x="3967163" y="4997450"/>
          <p14:tracePt t="69045" x="3976688" y="4979988"/>
          <p14:tracePt t="69052" x="4002088" y="4962525"/>
          <p14:tracePt t="69061" x="4017963" y="4954588"/>
          <p14:tracePt t="69069" x="4035425" y="4946650"/>
          <p14:tracePt t="69077" x="4044950" y="4937125"/>
          <p14:tracePt t="69086" x="4060825" y="4919663"/>
          <p14:tracePt t="69093" x="4070350" y="4911725"/>
          <p14:tracePt t="69109" x="4070350" y="4903788"/>
          <p14:tracePt t="69125" x="4078288" y="4903788"/>
          <p14:tracePt t="69156" x="4086225" y="4903788"/>
          <p14:tracePt t="69166" x="4086225" y="4894263"/>
          <p14:tracePt t="69189" x="4095750" y="4886325"/>
          <p14:tracePt t="69254" x="4078288" y="4903788"/>
          <p14:tracePt t="69261" x="4052888" y="4937125"/>
          <p14:tracePt t="69268" x="4010025" y="4987925"/>
          <p14:tracePt t="69277" x="3976688" y="5064125"/>
          <p14:tracePt t="69286" x="3951288" y="5124450"/>
          <p14:tracePt t="69293" x="3900488" y="5218113"/>
          <p14:tracePt t="69302" x="3873500" y="5286375"/>
          <p14:tracePt t="69309" x="3857625" y="5380038"/>
          <p14:tracePt t="69316" x="3848100" y="5421313"/>
          <p14:tracePt t="69325" x="3848100" y="5456238"/>
          <p14:tracePt t="69333" x="3848100" y="5481638"/>
          <p14:tracePt t="69341" x="3848100" y="5489575"/>
          <p14:tracePt t="69350" x="3848100" y="5497513"/>
          <p14:tracePt t="69357" x="3848100" y="5507038"/>
          <p14:tracePt t="69382" x="3848100" y="5524500"/>
          <p14:tracePt t="69397" x="3848100" y="5532438"/>
          <p14:tracePt t="69421" x="3848100" y="5540375"/>
          <p14:tracePt t="69429" x="3840163" y="5549900"/>
          <p14:tracePt t="69438" x="3832225" y="5549900"/>
          <p14:tracePt t="69445" x="3832225" y="5557838"/>
          <p14:tracePt t="69455" x="3822700" y="5565775"/>
          <p14:tracePt t="69461" x="3814763" y="5575300"/>
          <p14:tracePt t="69471" x="3814763" y="5583238"/>
          <p14:tracePt t="69590" x="3814763" y="5591175"/>
          <p14:tracePt t="69598" x="3814763" y="5600700"/>
          <p14:tracePt t="69607" x="3840163" y="5600700"/>
          <p14:tracePt t="69613" x="3865563" y="5600700"/>
          <p14:tracePt t="69622" x="3900488" y="5600700"/>
          <p14:tracePt t="69630" x="3933825" y="5600700"/>
          <p14:tracePt t="69639" x="3959225" y="5600700"/>
          <p14:tracePt t="69645" x="3992563" y="5600700"/>
          <p14:tracePt t="69656" x="4010025" y="5600700"/>
          <p14:tracePt t="69662" x="4017963" y="5600700"/>
          <p14:tracePt t="69672" x="4035425" y="5600700"/>
          <p14:tracePt t="69678" x="4044950" y="5600700"/>
          <p14:tracePt t="69689" x="4044950" y="5591175"/>
          <p14:tracePt t="69706" x="4052888" y="5591175"/>
          <p14:tracePt t="69727" x="4060825" y="5591175"/>
          <p14:tracePt t="69734" x="4070350" y="5575300"/>
          <p14:tracePt t="69741" x="4086225" y="5575300"/>
          <p14:tracePt t="69750" x="4111625" y="5575300"/>
          <p14:tracePt t="69758" x="4129088" y="5575300"/>
          <p14:tracePt t="69766" x="4162425" y="5575300"/>
          <p14:tracePt t="69773" x="4205288" y="5565775"/>
          <p14:tracePt t="69782" x="4240213" y="5557838"/>
          <p14:tracePt t="69789" x="4298950" y="5540375"/>
          <p14:tracePt t="69798" x="4367213" y="5540375"/>
          <p14:tracePt t="69806" x="4418013" y="5540375"/>
          <p14:tracePt t="69814" x="4443413" y="5540375"/>
          <p14:tracePt t="69822" x="4460875" y="5540375"/>
          <p14:tracePt t="69839" x="4460875" y="5532438"/>
          <p14:tracePt t="69846" x="4410075" y="5532438"/>
          <p14:tracePt t="70062" x="4410075" y="5549900"/>
          <p14:tracePt t="70071" x="4400550" y="5583238"/>
          <p14:tracePt t="70086" x="4400550" y="5591175"/>
          <p14:tracePt t="70094" x="4400550" y="5600700"/>
          <p14:tracePt t="70133" x="4410075" y="5600700"/>
          <p14:tracePt t="70141" x="4418013" y="5600700"/>
          <p14:tracePt t="70157" x="4435475" y="5600700"/>
          <p14:tracePt t="70165" x="4451350" y="5616575"/>
          <p14:tracePt t="70173" x="4468813" y="5634038"/>
          <p14:tracePt t="70181" x="4486275" y="5641975"/>
          <p14:tracePt t="70190" x="4519613" y="5651500"/>
          <p14:tracePt t="70197" x="4545013" y="5668963"/>
          <p14:tracePt t="70205" x="4613275" y="5676900"/>
          <p14:tracePt t="70213" x="4681538" y="5684838"/>
          <p14:tracePt t="70221" x="4800600" y="5710238"/>
          <p14:tracePt t="70229" x="4902200" y="5735638"/>
          <p14:tracePt t="70238" x="5013325" y="5745163"/>
          <p14:tracePt t="70245" x="5140325" y="5770563"/>
          <p14:tracePt t="70255" x="5241925" y="5788025"/>
          <p14:tracePt t="70261" x="5368925" y="5803900"/>
          <p14:tracePt t="70271" x="5446713" y="5813425"/>
          <p14:tracePt t="70277" x="5530850" y="5813425"/>
          <p14:tracePt t="70288" x="5573713" y="5813425"/>
          <p14:tracePt t="70294" x="5616575" y="5813425"/>
          <p14:tracePt t="70304" x="5641975" y="5813425"/>
          <p14:tracePt t="70309" x="5657850" y="5813425"/>
          <p14:tracePt t="70438" x="5657850" y="5795963"/>
          <p14:tracePt t="70446" x="5667375" y="5795963"/>
          <p14:tracePt t="70461" x="5675313" y="5795963"/>
          <p14:tracePt t="70478" x="5675313" y="5788025"/>
          <p14:tracePt t="70534" x="5675313" y="5778500"/>
          <p14:tracePt t="70558" x="5667375" y="5770563"/>
          <p14:tracePt t="70566" x="5657850" y="5761038"/>
          <p14:tracePt t="70574" x="5641975" y="5753100"/>
          <p14:tracePt t="70582" x="5624513" y="5745163"/>
          <p14:tracePt t="70589" x="5607050" y="5735638"/>
          <p14:tracePt t="70597" x="5591175" y="5727700"/>
          <p14:tracePt t="70604" x="5565775" y="5719763"/>
          <p14:tracePt t="70613" x="5548313" y="5710238"/>
          <p14:tracePt t="70620" x="5530850" y="5702300"/>
          <p14:tracePt t="70629" x="5513388" y="5694363"/>
          <p14:tracePt t="70637" x="5505450" y="5694363"/>
          <p14:tracePt t="70645" x="5497513" y="5694363"/>
          <p14:tracePt t="70765" x="5497513" y="5684838"/>
          <p14:tracePt t="70782" x="5522913" y="5668963"/>
          <p14:tracePt t="70791" x="5538788" y="5641975"/>
          <p14:tracePt t="70799" x="5581650" y="5626100"/>
          <p14:tracePt t="70807" x="5599113" y="5616575"/>
          <p14:tracePt t="70942" x="5624513" y="5616575"/>
          <p14:tracePt t="70958" x="5632450" y="5616575"/>
          <p14:tracePt t="70973" x="5616575" y="5616575"/>
          <p14:tracePt t="71013" x="5607050" y="5616575"/>
          <p14:tracePt t="71021" x="5599113" y="5616575"/>
          <p14:tracePt t="71037" x="5591175" y="5616575"/>
          <p14:tracePt t="71045" x="5581650" y="5616575"/>
          <p14:tracePt t="71053" x="5573713" y="5616575"/>
          <p14:tracePt t="71061" x="5565775" y="5616575"/>
          <p14:tracePt t="71077" x="5556250" y="5616575"/>
          <p14:tracePt t="71134" x="5548313" y="5616575"/>
          <p14:tracePt t="71158" x="5538788" y="5616575"/>
          <p14:tracePt t="71173" x="5530850" y="5616575"/>
          <p14:tracePt t="71188" x="5522913" y="5616575"/>
          <p14:tracePt t="71197" x="5505450" y="5616575"/>
          <p14:tracePt t="71204" x="5487988" y="5616575"/>
          <p14:tracePt t="71213" x="5472113" y="5616575"/>
          <p14:tracePt t="71220" x="5454650" y="5616575"/>
          <p14:tracePt t="71229" x="5437188" y="5616575"/>
          <p14:tracePt t="71236" x="5429250" y="5608638"/>
          <p14:tracePt t="71245" x="5411788" y="5608638"/>
          <p14:tracePt t="71253" x="5394325" y="5600700"/>
          <p14:tracePt t="71261" x="5378450" y="5600700"/>
          <p14:tracePt t="71270" x="5360988" y="5591175"/>
          <p14:tracePt t="71277" x="5360988" y="5583238"/>
          <p14:tracePt t="71288" x="5353050" y="5583238"/>
          <p14:tracePt t="71294" x="5343525" y="5583238"/>
          <p14:tracePt t="71304" x="5335588" y="5583238"/>
          <p14:tracePt t="71309" x="5335588" y="5575300"/>
          <p14:tracePt t="71317" x="5327650" y="5575300"/>
          <p14:tracePt t="71325" x="5318125" y="5557838"/>
          <p14:tracePt t="71333" x="5310188" y="5557838"/>
          <p14:tracePt t="71341" x="5310188" y="5540375"/>
          <p14:tracePt t="71349" x="5302250" y="5524500"/>
          <p14:tracePt t="71358" x="5284788" y="5514975"/>
          <p14:tracePt t="71365" x="5267325" y="5507038"/>
          <p14:tracePt t="71373" x="5259388" y="5489575"/>
          <p14:tracePt t="71381" x="5241925" y="5481638"/>
          <p14:tracePt t="71389" x="5224463" y="5472113"/>
          <p14:tracePt t="71397" x="5208588" y="5464175"/>
          <p14:tracePt t="71413" x="5199063" y="5456238"/>
          <p14:tracePt t="71429" x="5191125" y="5446713"/>
          <p14:tracePt t="71445" x="5183188" y="5446713"/>
          <p14:tracePt t="71455" x="5183188" y="5438775"/>
          <p14:tracePt t="71461" x="5173663" y="5438775"/>
          <p14:tracePt t="71471" x="5165725" y="5438775"/>
          <p14:tracePt t="71489" x="5165725" y="5430838"/>
          <p14:tracePt t="71494" x="5157788" y="5421313"/>
          <p14:tracePt t="71518" x="5157788" y="5405438"/>
          <p14:tracePt t="71526" x="5165725" y="5387975"/>
          <p14:tracePt t="71534" x="5183188" y="5370513"/>
          <p14:tracePt t="71541" x="5208588" y="5319713"/>
          <p14:tracePt t="71550" x="5224463" y="5294313"/>
          <p14:tracePt t="71557" x="5224463" y="5286375"/>
          <p14:tracePt t="71806" x="5216525" y="5286375"/>
          <p14:tracePt t="71822" x="5208588" y="5286375"/>
          <p14:tracePt t="71830" x="5208588" y="5276850"/>
          <p14:tracePt t="71837" x="5199063" y="5276850"/>
          <p14:tracePt t="71845" x="5191125" y="5276850"/>
          <p14:tracePt t="71854" x="5183188" y="5276850"/>
          <p14:tracePt t="71861" x="5173663" y="5276850"/>
          <p14:tracePt t="71870" x="5157788" y="5276850"/>
          <p14:tracePt t="71877" x="5148263" y="5276850"/>
          <p14:tracePt t="71887" x="5140325" y="5276850"/>
          <p14:tracePt t="71894" x="5122863" y="5286375"/>
          <p14:tracePt t="71904" x="5114925" y="5286375"/>
          <p14:tracePt t="71910" x="5097463" y="5286375"/>
          <p14:tracePt t="71917" x="5080000" y="5286375"/>
          <p14:tracePt t="72286" x="5072063" y="5286375"/>
          <p14:tracePt t="72303" x="5064125" y="5294313"/>
          <p14:tracePt t="72308" x="5046663" y="5294313"/>
          <p14:tracePt t="72317" x="5029200" y="5294313"/>
          <p14:tracePt t="72325" x="5021263" y="5302250"/>
          <p14:tracePt t="72333" x="4978400" y="5302250"/>
          <p14:tracePt t="72341" x="4945063" y="5311775"/>
          <p14:tracePt t="72349" x="4884738" y="5319713"/>
          <p14:tracePt t="72357" x="4833938" y="5327650"/>
          <p14:tracePt t="72365" x="4749800" y="5345113"/>
          <p14:tracePt t="72373" x="4664075" y="5362575"/>
          <p14:tracePt t="72381" x="4537075" y="5387975"/>
          <p14:tracePt t="72388" x="4435475" y="5395913"/>
          <p14:tracePt t="72397" x="4306888" y="5421313"/>
          <p14:tracePt t="72405" x="4121150" y="5464175"/>
          <p14:tracePt t="72413" x="3959225" y="5489575"/>
          <p14:tracePt t="72421" x="3670300" y="5549900"/>
          <p14:tracePt t="72430" x="3500438" y="5608638"/>
          <p14:tracePt t="72437" x="3127375" y="5702300"/>
          <p14:tracePt t="72445" x="2811463" y="5770563"/>
          <p14:tracePt t="72454" x="2438400" y="5880100"/>
          <p14:tracePt t="72461" x="2319338" y="5932488"/>
          <p14:tracePt t="72471" x="2235200" y="5965825"/>
          <p14:tracePt t="72477" x="2182813" y="5991225"/>
          <p14:tracePt t="72488" x="2166938" y="5999163"/>
          <p14:tracePt t="72494" x="2141538" y="6008688"/>
          <p14:tracePt t="72510" x="2132013" y="6008688"/>
          <p14:tracePt t="72533" x="2124075" y="6016625"/>
          <p14:tracePt t="72541" x="2116138" y="6024563"/>
          <p14:tracePt t="72549" x="2098675" y="6049963"/>
          <p14:tracePt t="72557" x="2073275" y="6076950"/>
          <p14:tracePt t="72565" x="2030413" y="6127750"/>
          <p14:tracePt t="72574" x="1997075" y="6161088"/>
          <p14:tracePt t="72581" x="1936750" y="6221413"/>
          <p14:tracePt t="72589" x="1885950" y="6254750"/>
          <p14:tracePt t="72597" x="1827213" y="6297613"/>
          <p14:tracePt t="72605" x="1801813" y="6323013"/>
          <p14:tracePt t="72614" x="1766888" y="6338888"/>
          <p14:tracePt t="72621" x="1733550" y="6356350"/>
          <p14:tracePt t="72629" x="1708150" y="6373813"/>
          <p14:tracePt t="72637" x="1682750" y="6373813"/>
          <p14:tracePt t="72645" x="1682750" y="6381750"/>
          <p14:tracePt t="72654" x="1673225" y="6391275"/>
          <p14:tracePt t="72727" x="1673225" y="6399213"/>
          <p14:tracePt t="72742" x="1665288" y="6407150"/>
          <p14:tracePt t="72757" x="1665288" y="6416675"/>
          <p14:tracePt t="72765" x="1657350" y="6416675"/>
          <p14:tracePt t="73695" x="1682750" y="6416675"/>
          <p14:tracePt t="73703" x="1733550" y="6399213"/>
          <p14:tracePt t="73710" x="1817688" y="6381750"/>
          <p14:tracePt t="73718" x="1979613" y="6356350"/>
          <p14:tracePt t="73725" x="2106613" y="6348413"/>
          <p14:tracePt t="73736" x="2319338" y="6348413"/>
          <p14:tracePt t="73740" x="2463800" y="6348413"/>
          <p14:tracePt t="73749" x="2616200" y="6348413"/>
          <p14:tracePt t="73757" x="2828925" y="6348413"/>
          <p14:tracePt t="73765" x="2955925" y="6348413"/>
          <p14:tracePt t="73773" x="3084513" y="6348413"/>
          <p14:tracePt t="73780" x="3186113" y="6348413"/>
          <p14:tracePt t="73788" x="3279775" y="6348413"/>
          <p14:tracePt t="73796" x="3355975" y="6348413"/>
          <p14:tracePt t="73804" x="3414713" y="6348413"/>
          <p14:tracePt t="73813" x="3457575" y="6348413"/>
          <p14:tracePt t="73820" x="3482975" y="6348413"/>
          <p14:tracePt t="73829" x="3543300" y="6348413"/>
          <p14:tracePt t="73837" x="3559175" y="6348413"/>
          <p14:tracePt t="73845" x="3576638" y="6348413"/>
          <p14:tracePt t="73855" x="3594100" y="6348413"/>
          <p14:tracePt t="73872" x="3602038" y="6348413"/>
          <p14:tracePt t="74862" x="3619500" y="6338888"/>
          <p14:tracePt t="74868" x="3636963" y="6330950"/>
          <p14:tracePt t="74877" x="3662363" y="6330950"/>
          <p14:tracePt t="74885" x="3695700" y="6313488"/>
          <p14:tracePt t="74893" x="3729038" y="6313488"/>
          <p14:tracePt t="74902" x="3781425" y="6305550"/>
          <p14:tracePt t="74909" x="3814763" y="6305550"/>
          <p14:tracePt t="74918" x="3857625" y="6305550"/>
          <p14:tracePt t="74925" x="3959225" y="6305550"/>
          <p14:tracePt t="74934" x="4052888" y="6305550"/>
          <p14:tracePt t="74951" x="4306888" y="6305550"/>
          <p14:tracePt t="74957" x="4503738" y="6305550"/>
          <p14:tracePt t="74965" x="4630738" y="6305550"/>
          <p14:tracePt t="74973" x="4783138" y="6305550"/>
          <p14:tracePt t="74981" x="4894263" y="6305550"/>
          <p14:tracePt t="74989" x="5003800" y="6305550"/>
          <p14:tracePt t="74997" x="5080000" y="6305550"/>
          <p14:tracePt t="75005" x="5148263" y="6305550"/>
          <p14:tracePt t="75013" x="5208588" y="6305550"/>
          <p14:tracePt t="75021" x="5241925" y="6297613"/>
          <p14:tracePt t="75029" x="5284788" y="6288088"/>
          <p14:tracePt t="75037" x="5310188" y="6280150"/>
          <p14:tracePt t="75045" x="5327650" y="6280150"/>
          <p14:tracePt t="75061" x="5335588" y="6280150"/>
          <p14:tracePt t="75085" x="5343525" y="6280150"/>
          <p14:tracePt t="75101" x="5368925" y="6280150"/>
          <p14:tracePt t="75109" x="5378450" y="6280150"/>
          <p14:tracePt t="75117" x="5394325" y="6272213"/>
          <p14:tracePt t="75125" x="5411788" y="6272213"/>
          <p14:tracePt t="75141" x="5421313" y="6272213"/>
          <p14:tracePt t="75165" x="5411788" y="6280150"/>
          <p14:tracePt t="75174" x="5378450" y="6305550"/>
          <p14:tracePt t="75182" x="5310188" y="6330950"/>
          <p14:tracePt t="75189" x="5224463" y="6348413"/>
          <p14:tracePt t="75197" x="5140325" y="6348413"/>
          <p14:tracePt t="75205" x="5132388" y="6348413"/>
          <p14:tracePt t="75517" x="5106988" y="6348413"/>
          <p14:tracePt t="75525" x="5097463" y="6348413"/>
          <p14:tracePt t="75541" x="5097463" y="6356350"/>
          <p14:tracePt t="75557" x="5097463" y="6365875"/>
          <p14:tracePt t="75565" x="5106988" y="6365875"/>
          <p14:tracePt t="75573" x="5122863" y="6365875"/>
          <p14:tracePt t="75581" x="5132388" y="6365875"/>
          <p14:tracePt t="75589" x="5165725" y="6365875"/>
          <p14:tracePt t="75597" x="5199063" y="6365875"/>
          <p14:tracePt t="75605" x="5241925" y="6373813"/>
          <p14:tracePt t="75613" x="5284788" y="6373813"/>
          <p14:tracePt t="75621" x="5327650" y="6373813"/>
          <p14:tracePt t="75629" x="5353050" y="6373813"/>
          <p14:tracePt t="75637" x="5386388" y="6373813"/>
          <p14:tracePt t="75645" x="5411788" y="6373813"/>
          <p14:tracePt t="75653" x="5446713" y="6365875"/>
          <p14:tracePt t="75661" x="5497513" y="6356350"/>
          <p14:tracePt t="75670" x="5538788" y="6356350"/>
          <p14:tracePt t="75678" x="5607050" y="6356350"/>
          <p14:tracePt t="75687" x="5667375" y="6356350"/>
          <p14:tracePt t="75694" x="5751513" y="6356350"/>
          <p14:tracePt t="75704" x="5811838" y="6356350"/>
          <p14:tracePt t="75710" x="5880100" y="6356350"/>
          <p14:tracePt t="75717" x="5981700" y="6356350"/>
          <p14:tracePt t="75725" x="6049963" y="6348413"/>
          <p14:tracePt t="75734" x="6151563" y="6323013"/>
          <p14:tracePt t="75741" x="6227763" y="6313488"/>
          <p14:tracePt t="75753" x="6311900" y="6305550"/>
          <p14:tracePt t="75757" x="6354763" y="6305550"/>
          <p14:tracePt t="75765" x="6415088" y="6305550"/>
          <p14:tracePt t="75773" x="6499225" y="6305550"/>
          <p14:tracePt t="75781" x="6542088" y="6305550"/>
          <p14:tracePt t="75789" x="6626225" y="6305550"/>
          <p14:tracePt t="75797" x="6686550" y="6305550"/>
          <p14:tracePt t="75805" x="6770688" y="6305550"/>
          <p14:tracePt t="75813" x="6831013" y="6305550"/>
          <p14:tracePt t="75821" x="6899275" y="6305550"/>
          <p14:tracePt t="75829" x="6950075" y="6305550"/>
          <p14:tracePt t="75837" x="6992938" y="6305550"/>
          <p14:tracePt t="75845" x="7077075" y="6305550"/>
          <p14:tracePt t="75853" x="7119938" y="6305550"/>
          <p14:tracePt t="75861" x="7204075" y="6305550"/>
          <p14:tracePt t="75870" x="7264400" y="6305550"/>
          <p14:tracePt t="75878" x="7332663" y="6305550"/>
          <p14:tracePt t="75887" x="7373938" y="6305550"/>
          <p14:tracePt t="75894" x="7434263" y="6305550"/>
          <p14:tracePt t="75904" x="7477125" y="6305550"/>
          <p14:tracePt t="75910" x="7535863" y="6305550"/>
          <p14:tracePt t="75920" x="7578725" y="6305550"/>
          <p14:tracePt t="75925" x="7612063" y="6305550"/>
          <p14:tracePt t="75937" x="7680325" y="6305550"/>
          <p14:tracePt t="75952" x="7781925" y="6305550"/>
          <p14:tracePt t="75957" x="7807325" y="6305550"/>
          <p14:tracePt t="75965" x="7875588" y="6305550"/>
          <p14:tracePt t="75973" x="7918450" y="6305550"/>
          <p14:tracePt t="75981" x="7977188" y="6305550"/>
          <p14:tracePt t="75989" x="8020050" y="6305550"/>
          <p14:tracePt t="75997" x="8062913" y="6305550"/>
          <p14:tracePt t="76005" x="8121650" y="6305550"/>
          <p14:tracePt t="76013" x="8156575" y="6305550"/>
          <p14:tracePt t="76021" x="8199438" y="6297613"/>
          <p14:tracePt t="76029" x="8232775" y="6297613"/>
          <p14:tracePt t="76037" x="8291513" y="6288088"/>
          <p14:tracePt t="76045" x="8326438" y="6288088"/>
          <p14:tracePt t="76053" x="8402638" y="6288088"/>
          <p14:tracePt t="76061" x="8462963" y="6288088"/>
          <p14:tracePt t="76070" x="8564563" y="6288088"/>
          <p14:tracePt t="76077" x="8615363" y="6288088"/>
          <p14:tracePt t="76087" x="8691563" y="6288088"/>
          <p14:tracePt t="76094" x="8777288" y="6288088"/>
          <p14:tracePt t="76104" x="8836025" y="6288088"/>
          <p14:tracePt t="76110" x="8894763" y="6288088"/>
          <p14:tracePt t="76118" x="8937625" y="6288088"/>
          <p14:tracePt t="76125" x="8980488" y="6288088"/>
          <p14:tracePt t="76133" x="9013825" y="6288088"/>
          <p14:tracePt t="76141" x="9031288" y="6288088"/>
          <p14:tracePt t="76149" x="9039225" y="6288088"/>
          <p14:tracePt t="76157" x="9048750" y="6288088"/>
          <p14:tracePt t="76197" x="9039225" y="6288088"/>
          <p14:tracePt t="76205" x="9031288" y="6288088"/>
          <p14:tracePt t="76213" x="9005888" y="6288088"/>
          <p14:tracePt t="76221" x="8980488" y="6288088"/>
          <p14:tracePt t="76229" x="8963025" y="6288088"/>
          <p14:tracePt t="76558" x="8980488" y="6288088"/>
          <p14:tracePt t="76565" x="8997950" y="6288088"/>
          <p14:tracePt t="76573" x="9005888" y="6288088"/>
          <p14:tracePt t="76580" x="9031288" y="6288088"/>
          <p14:tracePt t="76589" x="9056688" y="6288088"/>
          <p14:tracePt t="76596" x="9064625" y="6288088"/>
          <p14:tracePt t="76604" x="9091613" y="6288088"/>
          <p14:tracePt t="76613" x="9107488" y="6288088"/>
          <p14:tracePt t="76620" x="9124950" y="6288088"/>
          <p14:tracePt t="76629" x="9142413" y="6288088"/>
          <p14:tracePt t="76637" x="9150350" y="6288088"/>
          <p14:tracePt t="76645" x="9167813" y="6288088"/>
          <p14:tracePt t="76653" x="9201150" y="6288088"/>
          <p14:tracePt t="76661" x="9209088" y="6288088"/>
          <p14:tracePt t="76671" x="9236075" y="6288088"/>
          <p14:tracePt t="76677" x="9261475" y="6288088"/>
          <p14:tracePt t="76688" x="9269413" y="6288088"/>
          <p14:tracePt t="76694" x="9286875" y="6280150"/>
          <p14:tracePt t="76704" x="9302750" y="6280150"/>
          <p14:tracePt t="76710" x="9312275" y="6272213"/>
          <p14:tracePt t="76718" x="9337675" y="6272213"/>
          <p14:tracePt t="76725" x="9371013" y="6262688"/>
          <p14:tracePt t="76734" x="9413875" y="6254750"/>
          <p14:tracePt t="76741" x="9498013" y="6254750"/>
          <p14:tracePt t="76753" x="9558338" y="6254750"/>
          <p14:tracePt t="76758" x="9642475" y="6254750"/>
          <p14:tracePt t="76765" x="9710738" y="6254750"/>
          <p14:tracePt t="76773" x="9796463" y="6254750"/>
          <p14:tracePt t="76781" x="9872663" y="6254750"/>
          <p14:tracePt t="76789" x="9940925" y="6254750"/>
          <p14:tracePt t="76797" x="10017125" y="6254750"/>
          <p14:tracePt t="76805" x="10085388" y="6254750"/>
          <p14:tracePt t="76813" x="10169525" y="6254750"/>
          <p14:tracePt t="76821" x="10229850" y="6254750"/>
          <p14:tracePt t="76828" x="10288588" y="6254750"/>
          <p14:tracePt t="76836" x="10339388" y="6254750"/>
          <p14:tracePt t="76845" x="10415588" y="6254750"/>
          <p14:tracePt t="76852" x="10475913" y="6254750"/>
          <p14:tracePt t="76861" x="10518775" y="6254750"/>
          <p14:tracePt t="76869" x="10577513" y="6254750"/>
          <p14:tracePt t="76877" x="10620375" y="6254750"/>
          <p14:tracePt t="76885" x="10663238" y="6254750"/>
          <p14:tracePt t="76893" x="10704513" y="6254750"/>
          <p14:tracePt t="76902" x="10747375" y="6254750"/>
          <p14:tracePt t="76909" x="10782300" y="6254750"/>
          <p14:tracePt t="76919" x="10823575" y="6254750"/>
          <p14:tracePt t="76925" x="10848975" y="6254750"/>
          <p14:tracePt t="76933" x="10866438" y="6254750"/>
          <p14:tracePt t="76951" x="10926763" y="6254750"/>
          <p14:tracePt t="76957" x="10960100" y="6237288"/>
          <p14:tracePt t="76964" x="10977563" y="6237288"/>
          <p14:tracePt t="76973" x="11010900" y="6229350"/>
          <p14:tracePt t="76980" x="11036300" y="6229350"/>
          <p14:tracePt t="76988" x="11061700" y="6229350"/>
          <p14:tracePt t="76996" x="11079163" y="6229350"/>
          <p14:tracePt t="77005" x="11104563" y="6229350"/>
          <p14:tracePt t="77013" x="11129963" y="6229350"/>
          <p14:tracePt t="77021" x="11137900" y="6229350"/>
          <p14:tracePt t="77029" x="11155363" y="6229350"/>
          <p14:tracePt t="77037" x="11163300" y="6229350"/>
          <p14:tracePt t="77045" x="11188700" y="6229350"/>
          <p14:tracePt t="77053" x="11198225" y="6237288"/>
          <p14:tracePt t="77061" x="11215688" y="6237288"/>
          <p14:tracePt t="77069" x="11231563" y="6237288"/>
          <p14:tracePt t="77077" x="11241088" y="6237288"/>
          <p14:tracePt t="77086" x="11256963" y="6237288"/>
          <p14:tracePt t="77094" x="11282363" y="6237288"/>
          <p14:tracePt t="77104" x="11299825" y="6237288"/>
          <p14:tracePt t="77109" x="11325225" y="6237288"/>
          <p14:tracePt t="77120" x="11350625" y="6237288"/>
          <p14:tracePt t="77125" x="11368088" y="6237288"/>
          <p14:tracePt t="77133" x="11393488" y="6237288"/>
          <p14:tracePt t="77141" x="11410950" y="6237288"/>
          <p14:tracePt t="77149" x="11426825" y="6237288"/>
          <p14:tracePt t="77157" x="11444288" y="6237288"/>
          <p14:tracePt t="77165" x="11452225" y="6237288"/>
          <p14:tracePt t="77180" x="11461750" y="6237288"/>
          <p14:tracePt t="77213" x="11469688" y="6237288"/>
          <p14:tracePt t="77718" x="11477625" y="6237288"/>
          <p14:tracePt t="77726" x="11487150" y="6237288"/>
          <p14:tracePt t="77742" x="11495088" y="6237288"/>
          <p14:tracePt t="77752" x="11495088" y="6229350"/>
          <p14:tracePt t="77764" x="11503025" y="6229350"/>
          <p14:tracePt t="77773" x="11512550" y="6221413"/>
          <p14:tracePt t="77789" x="11520488" y="6221413"/>
          <p14:tracePt t="77804" x="11530013" y="6221413"/>
          <p14:tracePt t="77813" x="11537950" y="6221413"/>
          <p14:tracePt t="77911" x="11545888" y="6221413"/>
          <p14:tracePt t="77918" x="11555413" y="6221413"/>
          <p14:tracePt t="77927" x="11563350" y="6221413"/>
          <p14:tracePt t="77938" x="11571288" y="6221413"/>
          <p14:tracePt t="77951" x="11588750" y="6221413"/>
          <p14:tracePt t="77957" x="11596688" y="6221413"/>
          <p14:tracePt t="77973" x="11606213" y="6221413"/>
          <p14:tracePt t="78341" x="11606213" y="6211888"/>
          <p14:tracePt t="78349" x="11606213" y="6203950"/>
          <p14:tracePt t="78381" x="11606213" y="6194425"/>
          <p14:tracePt t="79534" x="11606213" y="6178550"/>
          <p14:tracePt t="79550" x="11596688" y="6153150"/>
          <p14:tracePt t="79559" x="11588750" y="6143625"/>
          <p14:tracePt t="79568" x="11588750" y="6127750"/>
          <p14:tracePt t="79576" x="11588750" y="6102350"/>
          <p14:tracePt t="79581" x="11580813" y="6092825"/>
          <p14:tracePt t="79589" x="11580813" y="6059488"/>
          <p14:tracePt t="79597" x="11571288" y="6024563"/>
          <p14:tracePt t="79605" x="11563350" y="6008688"/>
          <p14:tracePt t="79613" x="11563350" y="5991225"/>
          <p14:tracePt t="79621" x="11563350" y="5965825"/>
          <p14:tracePt t="79629" x="11563350" y="5957888"/>
          <p14:tracePt t="79637" x="11563350" y="5948363"/>
          <p14:tracePt t="79645" x="11563350" y="5940425"/>
          <p14:tracePt t="79654" x="11563350" y="5932488"/>
          <p14:tracePt t="79677" x="11555413" y="5922963"/>
          <p14:tracePt t="79694" x="11555413" y="5915025"/>
          <p14:tracePt t="84429" x="11545888" y="5932488"/>
          <p14:tracePt t="84436" x="11545888" y="5957888"/>
          <p14:tracePt t="84445" x="11545888" y="5983288"/>
          <p14:tracePt t="84452" x="11537950" y="5999163"/>
          <p14:tracePt t="84461" x="11537950" y="6024563"/>
          <p14:tracePt t="84469" x="11530013" y="6042025"/>
          <p14:tracePt t="84494" x="11537950" y="6034088"/>
          <p14:tracePt t="84503" x="11520488" y="5999163"/>
          <p14:tracePt t="84727" x="11520488" y="5991225"/>
          <p14:tracePt t="84765" x="11512550" y="5983288"/>
          <p14:tracePt t="84773" x="11503025" y="5983288"/>
          <p14:tracePt t="84823" x="11512550" y="5983288"/>
          <p14:tracePt t="84838" x="11512550" y="5973763"/>
          <p14:tracePt t="84845" x="11503025" y="5973763"/>
          <p14:tracePt t="84853" x="11495088" y="5983288"/>
          <p14:tracePt t="85270" x="11487150" y="5983288"/>
          <p14:tracePt t="85277" x="11469688" y="5983288"/>
          <p14:tracePt t="85285" x="11426825" y="6016625"/>
          <p14:tracePt t="85292" x="11350625" y="6034088"/>
          <p14:tracePt t="85301" x="11249025" y="6059488"/>
          <p14:tracePt t="85309" x="11044238" y="6102350"/>
          <p14:tracePt t="85317" x="10848975" y="6143625"/>
          <p14:tracePt t="85325" x="10425113" y="6237288"/>
          <p14:tracePt t="85334" x="10110788" y="6305550"/>
          <p14:tracePt t="85341" x="9634538" y="6381750"/>
          <p14:tracePt t="85349" x="9337675" y="6399213"/>
          <p14:tracePt t="85357" x="8904288" y="6399213"/>
          <p14:tracePt t="85365" x="8564563" y="6399213"/>
          <p14:tracePt t="85373" x="8240713" y="6399213"/>
          <p14:tracePt t="85381" x="7781925" y="6399213"/>
          <p14:tracePt t="85389" x="7604125" y="6399213"/>
          <p14:tracePt t="85397" x="7340600" y="6416675"/>
          <p14:tracePt t="85405" x="7213600" y="6416675"/>
          <p14:tracePt t="85413" x="7069138" y="6416675"/>
          <p14:tracePt t="85421" x="6983413" y="6416675"/>
          <p14:tracePt t="85429" x="6831013" y="6416675"/>
          <p14:tracePt t="85437" x="6719888" y="6416675"/>
          <p14:tracePt t="85444" x="6575425" y="6416675"/>
          <p14:tracePt t="85452" x="6465888" y="6407150"/>
          <p14:tracePt t="85461" x="6346825" y="6381750"/>
          <p14:tracePt t="85468" x="6167438" y="6356350"/>
          <p14:tracePt t="85477" x="6057900" y="6330950"/>
          <p14:tracePt t="85485" x="5913438" y="6330950"/>
          <p14:tracePt t="85493" x="5845175" y="6330950"/>
          <p14:tracePt t="85501" x="5768975" y="6330950"/>
          <p14:tracePt t="85509" x="5708650" y="6330950"/>
          <p14:tracePt t="85518" x="5700713" y="6330950"/>
          <p14:tracePt t="85541" x="5761038" y="6305550"/>
          <p14:tracePt t="85550" x="5794375" y="6288088"/>
          <p14:tracePt t="85557" x="5853113" y="6272213"/>
          <p14:tracePt t="85566" x="5880100" y="6272213"/>
          <p14:tracePt t="85820" x="5870575" y="6272213"/>
          <p14:tracePt t="85828" x="5845175" y="6280150"/>
          <p14:tracePt t="85836" x="5837238" y="6288088"/>
          <p14:tracePt t="85844" x="5811838" y="6297613"/>
          <p14:tracePt t="85852" x="5794375" y="6305550"/>
          <p14:tracePt t="85860" x="5776913" y="6313488"/>
          <p14:tracePt t="85877" x="5768975" y="6313488"/>
          <p14:tracePt t="85885" x="5761038" y="6313488"/>
          <p14:tracePt t="85916" x="5743575" y="6313488"/>
          <p14:tracePt t="85924" x="5718175" y="6313488"/>
          <p14:tracePt t="85932" x="5692775" y="6313488"/>
          <p14:tracePt t="85951" x="5607050" y="6313488"/>
          <p14:tracePt t="85956" x="5548313" y="6313488"/>
          <p14:tracePt t="85964" x="5497513" y="6297613"/>
          <p14:tracePt t="85972" x="5437188" y="6288088"/>
          <p14:tracePt t="85980" x="5394325" y="6288088"/>
          <p14:tracePt t="85988" x="5360988" y="6280150"/>
          <p14:tracePt t="85996" x="5302250" y="6272213"/>
          <p14:tracePt t="86004" x="5241925" y="6262688"/>
          <p14:tracePt t="86012" x="5183188" y="6254750"/>
          <p14:tracePt t="86020" x="5148263" y="6246813"/>
          <p14:tracePt t="86028" x="5114925" y="6237288"/>
          <p14:tracePt t="86036" x="5097463" y="6229350"/>
          <p14:tracePt t="86044" x="5089525" y="6221413"/>
          <p14:tracePt t="86052" x="5072063" y="6211888"/>
          <p14:tracePt t="86060" x="5064125" y="6211888"/>
          <p14:tracePt t="86068" x="5054600" y="6203950"/>
          <p14:tracePt t="86076" x="5046663" y="6203950"/>
          <p14:tracePt t="86085" x="5038725" y="6186488"/>
          <p14:tracePt t="86108" x="5029200" y="6186488"/>
          <p14:tracePt t="86140" x="5029200" y="6178550"/>
          <p14:tracePt t="86148" x="5029200" y="6169025"/>
          <p14:tracePt t="86156" x="5046663" y="6169025"/>
          <p14:tracePt t="86164" x="5064125" y="6169025"/>
          <p14:tracePt t="86172" x="5089525" y="6161088"/>
          <p14:tracePt t="86181" x="5140325" y="6161088"/>
          <p14:tracePt t="86188" x="5191125" y="6161088"/>
          <p14:tracePt t="86197" x="5267325" y="6161088"/>
          <p14:tracePt t="86205" x="5327650" y="6161088"/>
          <p14:tracePt t="86213" x="5421313" y="6169025"/>
          <p14:tracePt t="86221" x="5497513" y="6178550"/>
          <p14:tracePt t="86229" x="5599113" y="6178550"/>
          <p14:tracePt t="86236" x="5667375" y="6178550"/>
          <p14:tracePt t="86245" x="5776913" y="6178550"/>
          <p14:tracePt t="86252" x="5880100" y="6161088"/>
          <p14:tracePt t="86261" x="6024563" y="6127750"/>
          <p14:tracePt t="86269" x="6253163" y="6084888"/>
          <p14:tracePt t="86277" x="6448425" y="6042025"/>
          <p14:tracePt t="86287" x="6729413" y="5991225"/>
          <p14:tracePt t="86293" x="6907213" y="5983288"/>
          <p14:tracePt t="86303" x="7112000" y="5983288"/>
          <p14:tracePt t="86309" x="7239000" y="5983288"/>
          <p14:tracePt t="86320" x="7366000" y="5983288"/>
          <p14:tracePt t="86325" x="7467600" y="5983288"/>
          <p14:tracePt t="86337" x="7535863" y="5983288"/>
          <p14:tracePt t="86341" x="7662863" y="5983288"/>
          <p14:tracePt t="86350" x="7731125" y="5983288"/>
          <p14:tracePt t="86357" x="7807325" y="5983288"/>
          <p14:tracePt t="86365" x="7842250" y="5983288"/>
          <p14:tracePt t="86373" x="7867650" y="5983288"/>
          <p14:tracePt t="86381" x="7885113" y="5983288"/>
          <p14:tracePt t="86389" x="7893050" y="5983288"/>
          <p14:tracePt t="86479" x="7900988" y="5983288"/>
          <p14:tracePt t="86487" x="7918450" y="5983288"/>
          <p14:tracePt t="86495" x="7935913" y="5983288"/>
          <p14:tracePt t="86504" x="7961313" y="5983288"/>
          <p14:tracePt t="86509" x="7994650" y="5983288"/>
          <p14:tracePt t="86519" x="8054975" y="5973763"/>
          <p14:tracePt t="86525" x="8088313" y="5973763"/>
          <p14:tracePt t="86537" x="8147050" y="5965825"/>
          <p14:tracePt t="86541" x="8207375" y="5965825"/>
          <p14:tracePt t="86550" x="8266113" y="5965825"/>
          <p14:tracePt t="86557" x="8334375" y="5965825"/>
          <p14:tracePt t="86565" x="8394700" y="5965825"/>
          <p14:tracePt t="86573" x="8462963" y="5965825"/>
          <p14:tracePt t="86581" x="8539163" y="5965825"/>
          <p14:tracePt t="86589" x="8640763" y="5965825"/>
          <p14:tracePt t="86597" x="8709025" y="5965825"/>
          <p14:tracePt t="86605" x="8793163" y="5965825"/>
          <p14:tracePt t="86613" x="8828088" y="5965825"/>
          <p14:tracePt t="86621" x="8869363" y="5965825"/>
          <p14:tracePt t="86629" x="8904288" y="5973763"/>
          <p14:tracePt t="86638" x="8912225" y="5973763"/>
          <p14:tracePt t="86645" x="8921750" y="5983288"/>
          <p14:tracePt t="86782" x="8921750" y="5991225"/>
          <p14:tracePt t="86788" x="8921750" y="5999163"/>
          <p14:tracePt t="86797" x="8921750" y="6008688"/>
          <p14:tracePt t="86805" x="8894763" y="6024563"/>
          <p14:tracePt t="86813" x="8878888" y="6049963"/>
          <p14:tracePt t="86821" x="8853488" y="6076950"/>
          <p14:tracePt t="86829" x="8802688" y="6110288"/>
          <p14:tracePt t="86836" x="8759825" y="6135688"/>
          <p14:tracePt t="86845" x="8666163" y="6169025"/>
          <p14:tracePt t="86853" x="8605838" y="6186488"/>
          <p14:tracePt t="86861" x="8521700" y="6203950"/>
          <p14:tracePt t="86869" x="8445500" y="6211888"/>
          <p14:tracePt t="86878" x="8359775" y="6211888"/>
          <p14:tracePt t="86886" x="8301038" y="6211888"/>
          <p14:tracePt t="86892" x="8232775" y="6211888"/>
          <p14:tracePt t="86901" x="8131175" y="6211888"/>
          <p14:tracePt t="86909" x="8062913" y="6211888"/>
          <p14:tracePt t="86917" x="7935913" y="6211888"/>
          <p14:tracePt t="86935" x="7705725" y="6178550"/>
          <p14:tracePt t="86941" x="7586663" y="6153150"/>
          <p14:tracePt t="86951" x="7451725" y="6135688"/>
          <p14:tracePt t="86956" x="7348538" y="6118225"/>
          <p14:tracePt t="86965" x="7246938" y="6092825"/>
          <p14:tracePt t="86972" x="7119938" y="6067425"/>
          <p14:tracePt t="86980" x="7000875" y="6059488"/>
          <p14:tracePt t="86988" x="6873875" y="6034088"/>
          <p14:tracePt t="86996" x="6797675" y="6024563"/>
          <p14:tracePt t="87004" x="6711950" y="5999163"/>
          <p14:tracePt t="87013" x="6669088" y="5991225"/>
          <p14:tracePt t="87020" x="6626225" y="5973763"/>
          <p14:tracePt t="87029" x="6610350" y="5965825"/>
          <p14:tracePt t="87036" x="6600825" y="5965825"/>
          <p14:tracePt t="87053" x="6600825" y="5957888"/>
          <p14:tracePt t="87061" x="6635750" y="5940425"/>
          <p14:tracePt t="87069" x="6704013" y="5922963"/>
          <p14:tracePt t="87077" x="6754813" y="5922963"/>
          <p14:tracePt t="87085" x="6797675" y="5922963"/>
          <p14:tracePt t="87422" x="6797675" y="5932488"/>
          <p14:tracePt t="87431" x="6797675" y="5940425"/>
          <p14:tracePt t="87438" x="6780213" y="5948363"/>
          <p14:tracePt t="87445" x="6762750" y="5957888"/>
          <p14:tracePt t="87453" x="6737350" y="5957888"/>
          <p14:tracePt t="87461" x="6729413" y="5957888"/>
          <p14:tracePt t="87469" x="6711950" y="5957888"/>
          <p14:tracePt t="87477" x="6686550" y="5957888"/>
          <p14:tracePt t="87485" x="6678613" y="5957888"/>
          <p14:tracePt t="87492" x="6643688" y="5957888"/>
          <p14:tracePt t="87502" x="6618288" y="5957888"/>
          <p14:tracePt t="87509" x="6575425" y="5957888"/>
          <p14:tracePt t="87518" x="6542088" y="5957888"/>
          <p14:tracePt t="87525" x="6483350" y="5957888"/>
          <p14:tracePt t="87536" x="6405563" y="5957888"/>
          <p14:tracePt t="87541" x="6338888" y="5965825"/>
          <p14:tracePt t="87552" x="6235700" y="5973763"/>
          <p14:tracePt t="87557" x="6134100" y="5973763"/>
          <p14:tracePt t="87565" x="6007100" y="5973763"/>
          <p14:tracePt t="87573" x="5921375" y="5973763"/>
          <p14:tracePt t="87581" x="5837238" y="5973763"/>
          <p14:tracePt t="87589" x="5786438" y="5973763"/>
          <p14:tracePt t="87597" x="5726113" y="5973763"/>
          <p14:tracePt t="87605" x="5692775" y="5973763"/>
          <p14:tracePt t="87613" x="5667375" y="5973763"/>
          <p14:tracePt t="87621" x="5649913" y="5973763"/>
          <p14:tracePt t="87629" x="5624513" y="5973763"/>
          <p14:tracePt t="87637" x="5599113" y="5973763"/>
          <p14:tracePt t="87645" x="5573713" y="5983288"/>
          <p14:tracePt t="87653" x="5522913" y="5983288"/>
          <p14:tracePt t="87661" x="5480050" y="5983288"/>
          <p14:tracePt t="87669" x="5421313" y="5983288"/>
          <p14:tracePt t="87678" x="5378450" y="5983288"/>
          <p14:tracePt t="87686" x="5335588" y="5983288"/>
          <p14:tracePt t="87693" x="5292725" y="5983288"/>
          <p14:tracePt t="87702" x="5241925" y="5973763"/>
          <p14:tracePt t="87709" x="5199063" y="5973763"/>
          <p14:tracePt t="87719" x="5173663" y="5965825"/>
          <p14:tracePt t="87725" x="5157788" y="5965825"/>
          <p14:tracePt t="87756" x="5183188" y="5965825"/>
          <p14:tracePt t="87764" x="5224463" y="5957888"/>
          <p14:tracePt t="87772" x="5259388" y="5940425"/>
          <p14:tracePt t="87780" x="5310188" y="5932488"/>
          <p14:tracePt t="87788" x="5318125" y="5922963"/>
          <p14:tracePt t="87796" x="5327650" y="5922963"/>
          <p14:tracePt t="88037" x="5343525" y="5922963"/>
          <p14:tracePt t="88045" x="5378450" y="5948363"/>
          <p14:tracePt t="88053" x="5403850" y="5983288"/>
          <p14:tracePt t="88061" x="5421313" y="6008688"/>
          <p14:tracePt t="88069" x="5421313" y="6016625"/>
          <p14:tracePt t="88077" x="5421313" y="6042025"/>
          <p14:tracePt t="88085" x="5403850" y="6067425"/>
          <p14:tracePt t="88093" x="5378450" y="6076950"/>
          <p14:tracePt t="88102" x="5368925" y="6084888"/>
          <p14:tracePt t="88109" x="5335588" y="6092825"/>
          <p14:tracePt t="88118" x="5310188" y="6092825"/>
          <p14:tracePt t="88125" x="5284788" y="6092825"/>
          <p14:tracePt t="88136" x="5267325" y="6092825"/>
          <p14:tracePt t="88141" x="5216525" y="6110288"/>
          <p14:tracePt t="88152" x="5191125" y="6110288"/>
          <p14:tracePt t="88157" x="5132388" y="6127750"/>
          <p14:tracePt t="88166" x="5072063" y="6135688"/>
          <p14:tracePt t="88173" x="4970463" y="6143625"/>
          <p14:tracePt t="88181" x="4894263" y="6153150"/>
          <p14:tracePt t="88189" x="4791075" y="6169025"/>
          <p14:tracePt t="88196" x="4664075" y="6169025"/>
          <p14:tracePt t="88204" x="4554538" y="6169025"/>
          <p14:tracePt t="88212" x="4400550" y="6161088"/>
          <p14:tracePt t="88220" x="4273550" y="6143625"/>
          <p14:tracePt t="88229" x="4086225" y="6084888"/>
          <p14:tracePt t="88236" x="3951288" y="6024563"/>
          <p14:tracePt t="88244" x="3781425" y="5957888"/>
          <p14:tracePt t="88252" x="3500438" y="5803900"/>
          <p14:tracePt t="88261" x="3254375" y="5684838"/>
          <p14:tracePt t="88269" x="2965450" y="5489575"/>
          <p14:tracePt t="88278" x="2786063" y="5353050"/>
          <p14:tracePt t="88284" x="2532063" y="5106988"/>
          <p14:tracePt t="88292" x="2370138" y="4937125"/>
          <p14:tracePt t="88300" x="2141538" y="4691063"/>
          <p14:tracePt t="88310" x="1979613" y="4546600"/>
          <p14:tracePt t="88317" x="1835150" y="4384675"/>
          <p14:tracePt t="88325" x="1673225" y="4156075"/>
          <p14:tracePt t="88334" x="1597025" y="4044950"/>
          <p14:tracePt t="88341" x="1512888" y="3925888"/>
          <p14:tracePt t="88349" x="1462088" y="3867150"/>
          <p14:tracePt t="88356" x="1409700" y="3798888"/>
          <p14:tracePt t="88364" x="1376363" y="3763963"/>
          <p14:tracePt t="88372" x="1350963" y="3722688"/>
          <p14:tracePt t="88381" x="1333500" y="3705225"/>
          <p14:tracePt t="88389" x="1325563" y="3697288"/>
          <p14:tracePt t="88397" x="1317625" y="3687763"/>
          <p14:tracePt t="88405" x="1308100" y="3687763"/>
          <p14:tracePt t="88428" x="1317625" y="3679825"/>
          <p14:tracePt t="88614" x="1325563" y="3679825"/>
          <p14:tracePt t="88620" x="1325563" y="3687763"/>
          <p14:tracePt t="88629" x="1325563" y="3713163"/>
          <p14:tracePt t="88636" x="1325563" y="3738563"/>
          <p14:tracePt t="88645" x="1300163" y="3763963"/>
          <p14:tracePt t="88652" x="1274763" y="3790950"/>
          <p14:tracePt t="88661" x="1249363" y="3798888"/>
          <p14:tracePt t="88669" x="1223963" y="3798888"/>
          <p14:tracePt t="88679" x="1206500" y="3798888"/>
          <p14:tracePt t="88689" x="1173163" y="3806825"/>
          <p14:tracePt t="88693" x="1147763" y="3806825"/>
          <p14:tracePt t="88701" x="1079500" y="3832225"/>
          <p14:tracePt t="88709" x="1019175" y="3832225"/>
          <p14:tracePt t="88717" x="925513" y="3841750"/>
          <p14:tracePt t="88725" x="841375" y="3841750"/>
          <p14:tracePt t="88734" x="747713" y="3824288"/>
          <p14:tracePt t="88741" x="620713" y="3763963"/>
          <p14:tracePt t="88750" x="517525" y="3722688"/>
          <p14:tracePt t="88757" x="357188" y="3611563"/>
          <p14:tracePt t="88765" x="220663" y="3535363"/>
        </p14:tracePtLst>
      </p14:laserTraceLst>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DE63BA6-8855-1E4D-8831-DE46BFADDEA7}"/>
              </a:ext>
            </a:extLst>
          </p:cNvPr>
          <p:cNvSpPr>
            <a:spLocks noGrp="1"/>
          </p:cNvSpPr>
          <p:nvPr>
            <p:ph sz="quarter" idx="14"/>
          </p:nvPr>
        </p:nvSpPr>
        <p:spPr>
          <a:xfrm>
            <a:off x="449580" y="1659994"/>
            <a:ext cx="11292840" cy="4479059"/>
          </a:xfrm>
        </p:spPr>
        <p:txBody>
          <a:bodyPr>
            <a:normAutofit/>
          </a:bodyPr>
          <a:lstStyle/>
          <a:p>
            <a:pPr>
              <a:lnSpc>
                <a:spcPct val="90000"/>
              </a:lnSpc>
            </a:pPr>
            <a:r>
              <a:rPr lang="en-US" dirty="0"/>
              <a:t>Interoperability</a:t>
            </a:r>
          </a:p>
          <a:p>
            <a:pPr lvl="1">
              <a:lnSpc>
                <a:spcPct val="90000"/>
              </a:lnSpc>
            </a:pPr>
            <a:r>
              <a:rPr lang="en-US" dirty="0"/>
              <a:t>Legacy networks and evolving networks, and the bridges between them</a:t>
            </a:r>
          </a:p>
          <a:p>
            <a:pPr lvl="1">
              <a:lnSpc>
                <a:spcPct val="90000"/>
              </a:lnSpc>
            </a:pPr>
            <a:r>
              <a:rPr lang="en-US" dirty="0"/>
              <a:t>Aggregating data between subnets – how to test that?</a:t>
            </a:r>
          </a:p>
          <a:p>
            <a:pPr>
              <a:lnSpc>
                <a:spcPct val="90000"/>
              </a:lnSpc>
            </a:pPr>
            <a:r>
              <a:rPr lang="en-US" dirty="0"/>
              <a:t>Traffic prioritization:</a:t>
            </a:r>
          </a:p>
          <a:p>
            <a:pPr lvl="1">
              <a:lnSpc>
                <a:spcPct val="90000"/>
              </a:lnSpc>
            </a:pPr>
            <a:r>
              <a:rPr lang="en-US" dirty="0"/>
              <a:t>Whose data is most critical if the network becomes congested?</a:t>
            </a:r>
          </a:p>
          <a:p>
            <a:pPr lvl="1">
              <a:lnSpc>
                <a:spcPct val="90000"/>
              </a:lnSpc>
            </a:pPr>
            <a:r>
              <a:rPr lang="en-US" dirty="0"/>
              <a:t>How much do you rely on software defined networks and automated orchestration to control traffic priority?</a:t>
            </a:r>
          </a:p>
          <a:p>
            <a:pPr>
              <a:lnSpc>
                <a:spcPct val="90000"/>
              </a:lnSpc>
            </a:pPr>
            <a:r>
              <a:rPr lang="en-US" dirty="0"/>
              <a:t>Considerations moving from proprietary military specs to open IP standards:</a:t>
            </a:r>
          </a:p>
          <a:p>
            <a:pPr lvl="1">
              <a:lnSpc>
                <a:spcPct val="90000"/>
              </a:lnSpc>
            </a:pPr>
            <a:r>
              <a:rPr lang="en-US" dirty="0"/>
              <a:t>How do you achieve military-grade robustness and redundancy?</a:t>
            </a:r>
          </a:p>
          <a:p>
            <a:pPr lvl="1">
              <a:lnSpc>
                <a:spcPct val="90000"/>
              </a:lnSpc>
            </a:pPr>
            <a:r>
              <a:rPr lang="en-US" dirty="0"/>
              <a:t>What is the new acceptable amount of latency, throughput, loss tolerance?</a:t>
            </a:r>
          </a:p>
          <a:p>
            <a:pPr lvl="1">
              <a:lnSpc>
                <a:spcPct val="90000"/>
              </a:lnSpc>
            </a:pPr>
            <a:r>
              <a:rPr lang="en-US" dirty="0"/>
              <a:t>How do you ensure mission apps are built within these ever-evolving parameters of the network?</a:t>
            </a:r>
          </a:p>
          <a:p>
            <a:pPr>
              <a:lnSpc>
                <a:spcPct val="90000"/>
              </a:lnSpc>
            </a:pPr>
            <a:r>
              <a:rPr lang="en-US" dirty="0"/>
              <a:t>Test procedures must be efficient and comprehensive</a:t>
            </a:r>
          </a:p>
          <a:p>
            <a:pPr lvl="1">
              <a:lnSpc>
                <a:spcPct val="90000"/>
              </a:lnSpc>
            </a:pPr>
            <a:r>
              <a:rPr lang="en-US" dirty="0"/>
              <a:t>Don’t forget to test the out-of-band network monitoring/health system</a:t>
            </a:r>
          </a:p>
          <a:p>
            <a:pPr>
              <a:lnSpc>
                <a:spcPct val="90000"/>
              </a:lnSpc>
            </a:pPr>
            <a:r>
              <a:rPr lang="en-US" dirty="0"/>
              <a:t>5G, satellite, legacy networks and the chaos of existing signals complicate everything</a:t>
            </a:r>
          </a:p>
          <a:p>
            <a:pPr>
              <a:lnSpc>
                <a:spcPct val="90000"/>
              </a:lnSpc>
            </a:pPr>
            <a:endParaRPr lang="en-US" sz="1700" dirty="0"/>
          </a:p>
        </p:txBody>
      </p:sp>
      <p:sp>
        <p:nvSpPr>
          <p:cNvPr id="8" name="Text Placeholder 7">
            <a:extLst>
              <a:ext uri="{FF2B5EF4-FFF2-40B4-BE49-F238E27FC236}">
                <a16:creationId xmlns:a16="http://schemas.microsoft.com/office/drawing/2014/main" id="{2F460E85-0D14-F348-A829-2603CF7F1032}"/>
              </a:ext>
            </a:extLst>
          </p:cNvPr>
          <p:cNvSpPr>
            <a:spLocks noGrp="1"/>
          </p:cNvSpPr>
          <p:nvPr>
            <p:ph type="body" sz="quarter" idx="13"/>
          </p:nvPr>
        </p:nvSpPr>
        <p:spPr>
          <a:xfrm>
            <a:off x="449201" y="920555"/>
            <a:ext cx="7453790" cy="365320"/>
          </a:xfrm>
        </p:spPr>
        <p:txBody>
          <a:bodyPr anchor="ctr">
            <a:normAutofit fontScale="92500" lnSpcReduction="10000"/>
          </a:bodyPr>
          <a:lstStyle/>
          <a:p>
            <a:r>
              <a:rPr lang="en-US" dirty="0"/>
              <a:t>They must all be tested</a:t>
            </a:r>
          </a:p>
        </p:txBody>
      </p:sp>
      <p:sp>
        <p:nvSpPr>
          <p:cNvPr id="5" name="Title 4">
            <a:extLst>
              <a:ext uri="{FF2B5EF4-FFF2-40B4-BE49-F238E27FC236}">
                <a16:creationId xmlns:a16="http://schemas.microsoft.com/office/drawing/2014/main" id="{516242FE-B654-8543-82E0-9DECC5FCF214}"/>
              </a:ext>
            </a:extLst>
          </p:cNvPr>
          <p:cNvSpPr>
            <a:spLocks noGrp="1"/>
          </p:cNvSpPr>
          <p:nvPr>
            <p:ph type="title"/>
          </p:nvPr>
        </p:nvSpPr>
        <p:spPr>
          <a:xfrm>
            <a:off x="449202" y="372339"/>
            <a:ext cx="11293597" cy="492443"/>
          </a:xfrm>
        </p:spPr>
        <p:txBody>
          <a:bodyPr anchor="t">
            <a:normAutofit/>
          </a:bodyPr>
          <a:lstStyle/>
          <a:p>
            <a:r>
              <a:rPr lang="en-US" dirty="0"/>
              <a:t>Many Issues to Navigate</a:t>
            </a:r>
          </a:p>
        </p:txBody>
      </p:sp>
      <p:pic>
        <p:nvPicPr>
          <p:cNvPr id="4" name="Audio 3">
            <a:hlinkClick r:id="" action="ppaction://media"/>
            <a:extLst>
              <a:ext uri="{FF2B5EF4-FFF2-40B4-BE49-F238E27FC236}">
                <a16:creationId xmlns:a16="http://schemas.microsoft.com/office/drawing/2014/main" id="{F9BF59F2-C130-4A76-99B5-2EE618590B51}"/>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3728256812"/>
      </p:ext>
    </p:extLst>
  </p:cSld>
  <p:clrMapOvr>
    <a:masterClrMapping/>
  </p:clrMapOvr>
  <mc:AlternateContent xmlns:mc="http://schemas.openxmlformats.org/markup-compatibility/2006" xmlns:p14="http://schemas.microsoft.com/office/powerpoint/2010/main">
    <mc:Choice Requires="p14">
      <p:transition spd="slow" p14:dur="2000" advTm="107702"/>
    </mc:Choice>
    <mc:Fallback xmlns="">
      <p:transition spd="slow" advTm="10770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extLst>
    <p:ext uri="{3A86A75C-4F4B-4683-9AE1-C65F6400EC91}">
      <p14:laserTraceLst xmlns:p14="http://schemas.microsoft.com/office/powerpoint/2010/main">
        <p14:tracePtLst>
          <p14:tracePt t="3038" x="58738" y="552450"/>
          <p14:tracePt t="3046" x="119063" y="560388"/>
          <p14:tracePt t="3054" x="195263" y="577850"/>
          <p14:tracePt t="3062" x="255588" y="595313"/>
          <p14:tracePt t="3070" x="331788" y="620713"/>
          <p14:tracePt t="3078" x="373063" y="646113"/>
          <p14:tracePt t="3085" x="433388" y="646113"/>
          <p14:tracePt t="3094" x="501650" y="679450"/>
          <p14:tracePt t="3102" x="544513" y="679450"/>
          <p14:tracePt t="3110" x="603250" y="688975"/>
          <p14:tracePt t="3118" x="636588" y="696913"/>
          <p14:tracePt t="3126" x="661988" y="704850"/>
          <p14:tracePt t="3134" x="679450" y="704850"/>
          <p14:tracePt t="3142" x="696913" y="704850"/>
          <p14:tracePt t="3303" x="704850" y="704850"/>
          <p14:tracePt t="3318" x="704850" y="696913"/>
          <p14:tracePt t="3326" x="704850" y="688975"/>
          <p14:tracePt t="3342" x="704850" y="679450"/>
          <p14:tracePt t="3358" x="704850" y="671513"/>
          <p14:tracePt t="3478" x="714375" y="671513"/>
          <p14:tracePt t="3582" x="747713" y="671513"/>
          <p14:tracePt t="3590" x="815975" y="654050"/>
          <p14:tracePt t="3598" x="960438" y="603250"/>
          <p14:tracePt t="3606" x="1079500" y="569913"/>
          <p14:tracePt t="3614" x="1239838" y="519113"/>
          <p14:tracePt t="3623" x="1376363" y="466725"/>
          <p14:tracePt t="3630" x="1503363" y="425450"/>
          <p14:tracePt t="3639" x="1622425" y="400050"/>
          <p14:tracePt t="3646" x="1749425" y="390525"/>
          <p14:tracePt t="3655" x="1971675" y="407988"/>
          <p14:tracePt t="3663" x="2225675" y="466725"/>
          <p14:tracePt t="3670" x="2405063" y="527050"/>
          <p14:tracePt t="3678" x="2582863" y="595313"/>
          <p14:tracePt t="3686" x="2914650" y="722313"/>
          <p14:tracePt t="3694" x="3117850" y="798513"/>
          <p14:tracePt t="3703" x="3363913" y="892175"/>
          <p14:tracePt t="3710" x="3508375" y="925513"/>
          <p14:tracePt t="3719" x="3670300" y="968375"/>
          <p14:tracePt t="3726" x="3771900" y="977900"/>
          <p14:tracePt t="3734" x="3814763" y="985838"/>
          <p14:tracePt t="3742" x="3857625" y="985838"/>
          <p14:tracePt t="3758" x="3865563" y="985838"/>
          <p14:tracePt t="3774" x="3857625" y="985838"/>
          <p14:tracePt t="3782" x="3822700" y="977900"/>
          <p14:tracePt t="3790" x="3729038" y="935038"/>
          <p14:tracePt t="3798" x="3627438" y="909638"/>
          <p14:tracePt t="3807" x="3517900" y="900113"/>
          <p14:tracePt t="3814" x="3305175" y="900113"/>
          <p14:tracePt t="3824" x="3100388" y="900113"/>
          <p14:tracePt t="3831" x="2709863" y="925513"/>
          <p14:tracePt t="3839" x="2497138" y="942975"/>
          <p14:tracePt t="3847" x="2174875" y="977900"/>
          <p14:tracePt t="3858" x="2030413" y="985838"/>
          <p14:tracePt t="3862" x="1903413" y="1003300"/>
          <p14:tracePt t="3870" x="1776413" y="1003300"/>
          <p14:tracePt t="3878" x="1698625" y="1011238"/>
          <p14:tracePt t="3886" x="1647825" y="1011238"/>
          <p14:tracePt t="3894" x="1631950" y="1011238"/>
          <p14:tracePt t="3903" x="1614488" y="1019175"/>
          <p14:tracePt t="3942" x="1639888" y="1019175"/>
          <p14:tracePt t="3951" x="1690688" y="1028700"/>
          <p14:tracePt t="3958" x="1801813" y="1036638"/>
          <p14:tracePt t="3966" x="1911350" y="1036638"/>
          <p14:tracePt t="3974" x="2038350" y="1054100"/>
          <p14:tracePt t="3982" x="2141538" y="1054100"/>
          <p14:tracePt t="3990" x="2208213" y="1054100"/>
          <p14:tracePt t="3998" x="2217738" y="1054100"/>
          <p14:tracePt t="4022" x="2208213" y="1054100"/>
          <p14:tracePt t="4030" x="2149475" y="1054100"/>
          <p14:tracePt t="4038" x="2065338" y="1054100"/>
          <p14:tracePt t="4046" x="1936750" y="1054100"/>
          <p14:tracePt t="4054" x="1809750" y="1054100"/>
          <p14:tracePt t="4062" x="1622425" y="1054100"/>
          <p14:tracePt t="4070" x="1470025" y="1054100"/>
          <p14:tracePt t="4078" x="1343025" y="1054100"/>
          <p14:tracePt t="4086" x="1163638" y="1054100"/>
          <p14:tracePt t="4094" x="1069975" y="1069975"/>
          <p14:tracePt t="4103" x="968375" y="1087438"/>
          <p14:tracePt t="4110" x="917575" y="1096963"/>
          <p14:tracePt t="4120" x="900113" y="1112838"/>
          <p14:tracePt t="4134" x="909638" y="1112838"/>
          <p14:tracePt t="4142" x="950913" y="1122363"/>
          <p14:tracePt t="4151" x="1069975" y="1147763"/>
          <p14:tracePt t="4158" x="1173163" y="1173163"/>
          <p14:tracePt t="4166" x="1300163" y="1181100"/>
          <p14:tracePt t="4174" x="1495425" y="1181100"/>
          <p14:tracePt t="4182" x="1631950" y="1181100"/>
          <p14:tracePt t="4191" x="1784350" y="1181100"/>
          <p14:tracePt t="4198" x="1868488" y="1181100"/>
          <p14:tracePt t="4206" x="1946275" y="1181100"/>
          <p14:tracePt t="4214" x="1971675" y="1181100"/>
          <p14:tracePt t="4222" x="1987550" y="1181100"/>
          <p14:tracePt t="4262" x="1979613" y="1189038"/>
          <p14:tracePt t="4302" x="2012950" y="1198563"/>
          <p14:tracePt t="4310" x="2081213" y="1216025"/>
          <p14:tracePt t="4318" x="2268538" y="1241425"/>
          <p14:tracePt t="4326" x="2506663" y="1266825"/>
          <p14:tracePt t="4334" x="2922588" y="1282700"/>
          <p14:tracePt t="4342" x="3152775" y="1282700"/>
          <p14:tracePt t="4351" x="3467100" y="1282700"/>
          <p14:tracePt t="4359" x="3652838" y="1282700"/>
          <p14:tracePt t="4367" x="3848100" y="1241425"/>
          <p14:tracePt t="4377" x="3925888" y="1216025"/>
          <p14:tracePt t="4383" x="3959225" y="1198563"/>
          <p14:tracePt t="4390" x="3984625" y="1181100"/>
          <p14:tracePt t="4414" x="3984625" y="1173163"/>
          <p14:tracePt t="4422" x="3976688" y="1155700"/>
          <p14:tracePt t="4430" x="3941763" y="1138238"/>
          <p14:tracePt t="4437" x="3900488" y="1122363"/>
          <p14:tracePt t="4445" x="3806825" y="1104900"/>
          <p14:tracePt t="4453" x="3721100" y="1087438"/>
          <p14:tracePt t="4462" x="3594100" y="1069975"/>
          <p14:tracePt t="4469" x="3492500" y="1069975"/>
          <p14:tracePt t="4477" x="3467100" y="1069975"/>
          <p14:tracePt t="4679" x="3467100" y="1062038"/>
          <p14:tracePt t="4687" x="3475038" y="1044575"/>
          <p14:tracePt t="4695" x="3492500" y="1044575"/>
          <p14:tracePt t="4704" x="3508375" y="1044575"/>
          <p14:tracePt t="4711" x="3551238" y="1044575"/>
          <p14:tracePt t="4719" x="3559175" y="1044575"/>
          <p14:tracePt t="4726" x="3568700" y="1044575"/>
          <p14:tracePt t="4735" x="3568700" y="1036638"/>
          <p14:tracePt t="4799" x="3559175" y="1036638"/>
          <p14:tracePt t="4807" x="3551238" y="1044575"/>
          <p14:tracePt t="4815" x="3543300" y="1054100"/>
          <p14:tracePt t="4823" x="3525838" y="1062038"/>
          <p14:tracePt t="4830" x="3500438" y="1069975"/>
          <p14:tracePt t="4838" x="3482975" y="1079500"/>
          <p14:tracePt t="4846" x="3457575" y="1087438"/>
          <p14:tracePt t="4854" x="3432175" y="1096963"/>
          <p14:tracePt t="4862" x="3424238" y="1096963"/>
          <p14:tracePt t="4878" x="3414713" y="1104900"/>
          <p14:tracePt t="5079" x="3389313" y="1112838"/>
          <p14:tracePt t="5087" x="3330575" y="1122363"/>
          <p14:tracePt t="5095" x="3236913" y="1163638"/>
          <p14:tracePt t="5104" x="3194050" y="1173163"/>
          <p14:tracePt t="5111" x="3127375" y="1231900"/>
          <p14:tracePt t="5120" x="3049588" y="1300163"/>
          <p14:tracePt t="5127" x="2914650" y="1444625"/>
          <p14:tracePt t="5134" x="2820988" y="1538288"/>
          <p14:tracePt t="5142" x="2709863" y="1631950"/>
          <p14:tracePt t="5150" x="2574925" y="1733550"/>
          <p14:tracePt t="5158" x="2506663" y="1776413"/>
          <p14:tracePt t="5166" x="2430463" y="1827213"/>
          <p14:tracePt t="5174" x="2395538" y="1844675"/>
          <p14:tracePt t="5182" x="2370138" y="1844675"/>
          <p14:tracePt t="5206" x="2395538" y="1844675"/>
          <p14:tracePt t="5214" x="2463800" y="1819275"/>
          <p14:tracePt t="5223" x="2641600" y="1725613"/>
          <p14:tracePt t="5231" x="2820988" y="1606550"/>
          <p14:tracePt t="5239" x="3024188" y="1470025"/>
          <p14:tracePt t="5247" x="3033713" y="1452563"/>
          <p14:tracePt t="5408" x="3041650" y="1452563"/>
          <p14:tracePt t="5415" x="3084513" y="1452563"/>
          <p14:tracePt t="5423" x="3100388" y="1452563"/>
          <p14:tracePt t="5431" x="3109913" y="1462088"/>
          <p14:tracePt t="5439" x="3127375" y="1462088"/>
          <p14:tracePt t="5447" x="3143250" y="1470025"/>
          <p14:tracePt t="5457" x="3152775" y="1487488"/>
          <p14:tracePt t="5465" x="3160713" y="1495425"/>
          <p14:tracePt t="5503" x="3152775" y="1495425"/>
          <p14:tracePt t="5510" x="3135313" y="1495425"/>
          <p14:tracePt t="5519" x="3100388" y="1512888"/>
          <p14:tracePt t="5526" x="2982913" y="1563688"/>
          <p14:tracePt t="5534" x="2879725" y="1606550"/>
          <p14:tracePt t="5542" x="2709863" y="1674813"/>
          <p14:tracePt t="5550" x="2557463" y="1725613"/>
          <p14:tracePt t="5558" x="2344738" y="1819275"/>
          <p14:tracePt t="5566" x="2225675" y="1852613"/>
          <p14:tracePt t="5574" x="2149475" y="1885950"/>
          <p14:tracePt t="5582" x="2065338" y="1920875"/>
          <p14:tracePt t="5591" x="2030413" y="1938338"/>
          <p14:tracePt t="5598" x="1997075" y="1954213"/>
          <p14:tracePt t="5607" x="1979613" y="1963738"/>
          <p14:tracePt t="5614" x="1962150" y="1963738"/>
          <p14:tracePt t="5623" x="1954213" y="1971675"/>
          <p14:tracePt t="5630" x="1954213" y="1979613"/>
          <p14:tracePt t="6183" x="1954213" y="1989138"/>
          <p14:tracePt t="6193" x="1954213" y="2014538"/>
          <p14:tracePt t="6199" x="1971675" y="2039938"/>
          <p14:tracePt t="6208" x="1987550" y="2065338"/>
          <p14:tracePt t="6216" x="2030413" y="2116138"/>
          <p14:tracePt t="6224" x="2065338" y="2133600"/>
          <p14:tracePt t="6231" x="2106613" y="2159000"/>
          <p14:tracePt t="6239" x="2132013" y="2174875"/>
          <p14:tracePt t="6247" x="2141538" y="2184400"/>
          <p14:tracePt t="6256" x="2157413" y="2192338"/>
          <p14:tracePt t="6263" x="2174875" y="2200275"/>
          <p14:tracePt t="6270" x="2192338" y="2200275"/>
          <p14:tracePt t="6279" x="2208213" y="2200275"/>
          <p14:tracePt t="6286" x="2217738" y="2200275"/>
          <p14:tracePt t="6303" x="2235200" y="2200275"/>
          <p14:tracePt t="6310" x="2243138" y="2200275"/>
          <p14:tracePt t="6326" x="2243138" y="2192338"/>
          <p14:tracePt t="6335" x="2251075" y="2192338"/>
          <p14:tracePt t="6342" x="2260600" y="2192338"/>
          <p14:tracePt t="6351" x="2268538" y="2192338"/>
          <p14:tracePt t="6358" x="2293938" y="2192338"/>
          <p14:tracePt t="6366" x="2344738" y="2192338"/>
          <p14:tracePt t="6374" x="2471738" y="2192338"/>
          <p14:tracePt t="6383" x="2582863" y="2192338"/>
          <p14:tracePt t="6391" x="2786063" y="2235200"/>
          <p14:tracePt t="6399" x="2947988" y="2260600"/>
          <p14:tracePt t="6407" x="3219450" y="2278063"/>
          <p14:tracePt t="6415" x="3348038" y="2278063"/>
          <p14:tracePt t="6424" x="3449638" y="2260600"/>
          <p14:tracePt t="6431" x="3533775" y="2217738"/>
          <p14:tracePt t="6439" x="3568700" y="2209800"/>
          <p14:tracePt t="6447" x="3586163" y="2209800"/>
          <p14:tracePt t="6455" x="3594100" y="2209800"/>
          <p14:tracePt t="6462" x="3619500" y="2209800"/>
          <p14:tracePt t="6470" x="3636963" y="2209800"/>
          <p14:tracePt t="6478" x="3652838" y="2209800"/>
          <p14:tracePt t="6486" x="3678238" y="2209800"/>
          <p14:tracePt t="6494" x="3703638" y="2209800"/>
          <p14:tracePt t="6503" x="3721100" y="2209800"/>
          <p14:tracePt t="6510" x="3738563" y="2209800"/>
          <p14:tracePt t="6519" x="3746500" y="2209800"/>
          <p14:tracePt t="6534" x="3756025" y="2200275"/>
          <p14:tracePt t="6542" x="3771900" y="2200275"/>
          <p14:tracePt t="6550" x="3797300" y="2174875"/>
          <p14:tracePt t="6558" x="3806825" y="2166938"/>
          <p14:tracePt t="6566" x="3822700" y="2149475"/>
          <p14:tracePt t="6574" x="3840163" y="2141538"/>
          <p14:tracePt t="6591" x="3848100" y="2133600"/>
          <p14:tracePt t="6615" x="3848100" y="2124075"/>
          <p14:tracePt t="6625" x="3832225" y="2116138"/>
          <p14:tracePt t="6631" x="3814763" y="2108200"/>
          <p14:tracePt t="6640" x="3806825" y="2108200"/>
          <p14:tracePt t="6647" x="3797300" y="2108200"/>
          <p14:tracePt t="6695" x="3797300" y="2098675"/>
          <p14:tracePt t="6734" x="3789363" y="2098675"/>
          <p14:tracePt t="7182" x="3797300" y="2098675"/>
          <p14:tracePt t="7190" x="3814763" y="2124075"/>
          <p14:tracePt t="7197" x="3857625" y="2149475"/>
          <p14:tracePt t="7206" x="3908425" y="2192338"/>
          <p14:tracePt t="7214" x="3984625" y="2243138"/>
          <p14:tracePt t="7222" x="4035425" y="2278063"/>
          <p14:tracePt t="7230" x="4111625" y="2293938"/>
          <p14:tracePt t="7237" x="4179888" y="2293938"/>
          <p14:tracePt t="7246" x="4230688" y="2286000"/>
          <p14:tracePt t="7254" x="4240213" y="2278063"/>
          <p14:tracePt t="7429" x="4187825" y="2278063"/>
          <p14:tracePt t="7437" x="4171950" y="2278063"/>
          <p14:tracePt t="7446" x="4137025" y="2268538"/>
          <p14:tracePt t="7453" x="4111625" y="2252663"/>
          <p14:tracePt t="7462" x="4095750" y="2243138"/>
          <p14:tracePt t="7493" x="4103688" y="2243138"/>
          <p14:tracePt t="7501" x="4129088" y="2243138"/>
          <p14:tracePt t="7510" x="4146550" y="2252663"/>
          <p14:tracePt t="7518" x="4171950" y="2260600"/>
          <p14:tracePt t="7526" x="4205288" y="2278063"/>
          <p14:tracePt t="7534" x="4222750" y="2293938"/>
          <p14:tracePt t="7542" x="4240213" y="2319338"/>
          <p14:tracePt t="7549" x="4256088" y="2336800"/>
          <p14:tracePt t="7558" x="4256088" y="2354263"/>
          <p14:tracePt t="7566" x="4256088" y="2371725"/>
          <p14:tracePt t="7574" x="4265613" y="2387600"/>
          <p14:tracePt t="7581" x="4265613" y="2397125"/>
          <p14:tracePt t="7590" x="4273550" y="2405063"/>
          <p14:tracePt t="7598" x="4273550" y="2413000"/>
          <p14:tracePt t="7606" x="4281488" y="2422525"/>
          <p14:tracePt t="7613" x="4281488" y="2430463"/>
          <p14:tracePt t="7622" x="4281488" y="2438400"/>
          <p14:tracePt t="7646" x="4281488" y="2447925"/>
          <p14:tracePt t="7653" x="4273550" y="2463800"/>
          <p14:tracePt t="7670" x="4265613" y="2463800"/>
          <p14:tracePt t="7742" x="4248150" y="2463800"/>
          <p14:tracePt t="7749" x="4240213" y="2463800"/>
          <p14:tracePt t="7758" x="4214813" y="2463800"/>
          <p14:tracePt t="7765" x="4179888" y="2463800"/>
          <p14:tracePt t="7774" x="4162425" y="2463800"/>
          <p14:tracePt t="7782" x="4137025" y="2463800"/>
          <p14:tracePt t="7790" x="4121150" y="2463800"/>
          <p14:tracePt t="7797" x="4111625" y="2463800"/>
          <p14:tracePt t="7822" x="4103688" y="2463800"/>
          <p14:tracePt t="7830" x="4095750" y="2463800"/>
          <p14:tracePt t="7838" x="4086225" y="2463800"/>
          <p14:tracePt t="7846" x="4078288" y="2463800"/>
          <p14:tracePt t="7853" x="4070350" y="2463800"/>
          <p14:tracePt t="7870" x="4060825" y="2463800"/>
          <p14:tracePt t="7918" x="4060825" y="2455863"/>
          <p14:tracePt t="7926" x="4060825" y="2438400"/>
          <p14:tracePt t="7934" x="4060825" y="2422525"/>
          <p14:tracePt t="7942" x="4070350" y="2397125"/>
          <p14:tracePt t="7956" x="4070350" y="2371725"/>
          <p14:tracePt t="7958" x="4070350" y="2362200"/>
          <p14:tracePt t="8166" x="4070350" y="2371725"/>
          <p14:tracePt t="8182" x="4060825" y="2387600"/>
          <p14:tracePt t="8190" x="4044950" y="2387600"/>
          <p14:tracePt t="8197" x="4010025" y="2397125"/>
          <p14:tracePt t="8206" x="3925888" y="2422525"/>
          <p14:tracePt t="8214" x="3857625" y="2422525"/>
          <p14:tracePt t="8222" x="3771900" y="2422525"/>
          <p14:tracePt t="8230" x="3644900" y="2422525"/>
          <p14:tracePt t="8238" x="3517900" y="2422525"/>
          <p14:tracePt t="8246" x="3348038" y="2422525"/>
          <p14:tracePt t="8254" x="3244850" y="2422525"/>
          <p14:tracePt t="8262" x="3117850" y="2397125"/>
          <p14:tracePt t="8270" x="3016250" y="2379663"/>
          <p14:tracePt t="8278" x="2914650" y="2362200"/>
          <p14:tracePt t="8286" x="2838450" y="2336800"/>
          <p14:tracePt t="8294" x="2760663" y="2319338"/>
          <p14:tracePt t="8302" x="2684463" y="2286000"/>
          <p14:tracePt t="8310" x="2641600" y="2278063"/>
          <p14:tracePt t="8318" x="2565400" y="2252663"/>
          <p14:tracePt t="8326" x="2532063" y="2235200"/>
          <p14:tracePt t="8334" x="2497138" y="2217738"/>
          <p14:tracePt t="8342" x="2481263" y="2209800"/>
          <p14:tracePt t="8350" x="2471738" y="2209800"/>
          <p14:tracePt t="8878" x="2506663" y="2200275"/>
          <p14:tracePt t="8886" x="2540000" y="2192338"/>
          <p14:tracePt t="8894" x="2582863" y="2184400"/>
          <p14:tracePt t="8901" x="2608263" y="2184400"/>
          <p14:tracePt t="8910" x="2625725" y="2174875"/>
          <p14:tracePt t="8926" x="2641600" y="2174875"/>
          <p14:tracePt t="8933" x="2651125" y="2174875"/>
          <p14:tracePt t="8942" x="2668588" y="2174875"/>
          <p14:tracePt t="8956" x="2709863" y="2174875"/>
          <p14:tracePt t="8957" x="2770188" y="2184400"/>
          <p14:tracePt t="8965" x="2905125" y="2235200"/>
          <p14:tracePt t="8974" x="3024188" y="2293938"/>
          <p14:tracePt t="8982" x="3194050" y="2387600"/>
          <p14:tracePt t="8990" x="3330575" y="2447925"/>
          <p14:tracePt t="8998" x="3467100" y="2524125"/>
          <p14:tracePt t="9006" x="3644900" y="2592388"/>
          <p14:tracePt t="9014" x="3738563" y="2625725"/>
          <p14:tracePt t="9022" x="3814763" y="2660650"/>
          <p14:tracePt t="9030" x="3848100" y="2676525"/>
          <p14:tracePt t="9038" x="3857625" y="2676525"/>
          <p14:tracePt t="9046" x="3865563" y="2676525"/>
          <p14:tracePt t="9120" x="3857625" y="2676525"/>
          <p14:tracePt t="9127" x="3848100" y="2676525"/>
          <p14:tracePt t="9143" x="3840163" y="2676525"/>
          <p14:tracePt t="9199" x="3832225" y="2676525"/>
          <p14:tracePt t="9207" x="3822700" y="2676525"/>
          <p14:tracePt t="9215" x="3806825" y="2676525"/>
          <p14:tracePt t="9224" x="3789363" y="2676525"/>
          <p14:tracePt t="9230" x="3771900" y="2676525"/>
          <p14:tracePt t="9239" x="3738563" y="2676525"/>
          <p14:tracePt t="9246" x="3713163" y="2676525"/>
          <p14:tracePt t="9254" x="3678238" y="2686050"/>
          <p14:tracePt t="9262" x="3662363" y="2686050"/>
          <p14:tracePt t="9270" x="3636963" y="2686050"/>
          <p14:tracePt t="9278" x="3611563" y="2693988"/>
          <p14:tracePt t="9286" x="3594100" y="2693988"/>
          <p14:tracePt t="9294" x="3568700" y="2693988"/>
          <p14:tracePt t="9303" x="3559175" y="2693988"/>
          <p14:tracePt t="9310" x="3551238" y="2693988"/>
          <p14:tracePt t="9318" x="3533775" y="2686050"/>
          <p14:tracePt t="9326" x="3517900" y="2676525"/>
          <p14:tracePt t="9335" x="3500438" y="2668588"/>
          <p14:tracePt t="9342" x="3500438" y="2660650"/>
          <p14:tracePt t="9351" x="3475038" y="2651125"/>
          <p14:tracePt t="9358" x="3467100" y="2633663"/>
          <p14:tracePt t="9366" x="3457575" y="2633663"/>
          <p14:tracePt t="9375" x="3441700" y="2617788"/>
          <p14:tracePt t="9383" x="3414713" y="2600325"/>
          <p14:tracePt t="9391" x="3398838" y="2592388"/>
          <p14:tracePt t="9399" x="3389313" y="2574925"/>
          <p14:tracePt t="9406" x="3373438" y="2566988"/>
          <p14:tracePt t="9415" x="3355975" y="2557463"/>
          <p14:tracePt t="9423" x="3338513" y="2549525"/>
          <p14:tracePt t="9440" x="3322638" y="2549525"/>
          <p14:tracePt t="9543" x="3330575" y="2549525"/>
          <p14:tracePt t="9551" x="3338513" y="2549525"/>
          <p14:tracePt t="9559" x="3348038" y="2549525"/>
          <p14:tracePt t="9567" x="3363913" y="2549525"/>
          <p14:tracePt t="9583" x="3381375" y="2557463"/>
          <p14:tracePt t="9591" x="3398838" y="2566988"/>
          <p14:tracePt t="9599" x="3414713" y="2574925"/>
          <p14:tracePt t="9607" x="3441700" y="2582863"/>
          <p14:tracePt t="9615" x="3475038" y="2592388"/>
          <p14:tracePt t="9623" x="3500438" y="2600325"/>
          <p14:tracePt t="9631" x="3517900" y="2608263"/>
          <p14:tracePt t="9640" x="3559175" y="2608263"/>
          <p14:tracePt t="9647" x="3568700" y="2617788"/>
          <p14:tracePt t="9654" x="3594100" y="2617788"/>
          <p14:tracePt t="9663" x="3602038" y="2617788"/>
          <p14:tracePt t="9742" x="3602038" y="2625725"/>
          <p14:tracePt t="9750" x="3602038" y="2633663"/>
          <p14:tracePt t="9758" x="3602038" y="2643188"/>
          <p14:tracePt t="9766" x="3602038" y="2668588"/>
          <p14:tracePt t="9774" x="3611563" y="2693988"/>
          <p14:tracePt t="9782" x="3652838" y="2770188"/>
          <p14:tracePt t="9790" x="3695700" y="2846388"/>
          <p14:tracePt t="9799" x="3806825" y="3008313"/>
          <p14:tracePt t="9807" x="3900488" y="3135313"/>
          <p14:tracePt t="9815" x="4052888" y="3365500"/>
          <p14:tracePt t="9823" x="4154488" y="3484563"/>
          <p14:tracePt t="9831" x="4265613" y="3662363"/>
          <p14:tracePt t="9840" x="4324350" y="3763963"/>
          <p14:tracePt t="9846" x="4359275" y="3857625"/>
          <p14:tracePt t="9854" x="4410075" y="3960813"/>
          <p14:tracePt t="9863" x="4425950" y="4019550"/>
          <p14:tracePt t="9870" x="4460875" y="4079875"/>
          <p14:tracePt t="9879" x="4468813" y="4138613"/>
          <p14:tracePt t="9887" x="4476750" y="4189413"/>
          <p14:tracePt t="9894" x="4476750" y="4232275"/>
          <p14:tracePt t="9903" x="4486275" y="4275138"/>
          <p14:tracePt t="9910" x="4494213" y="4308475"/>
          <p14:tracePt t="9918" x="4503738" y="4325938"/>
          <p14:tracePt t="9926" x="4511675" y="4341813"/>
          <p14:tracePt t="9942" x="4511675" y="4359275"/>
          <p14:tracePt t="9958" x="4511675" y="4368800"/>
          <p14:tracePt t="10039" x="4511675" y="4376738"/>
          <p14:tracePt t="10104" x="4511675" y="4384675"/>
          <p14:tracePt t="10127" x="4511675" y="4394200"/>
          <p14:tracePt t="10143" x="4529138" y="4394200"/>
          <p14:tracePt t="10159" x="4537075" y="4394200"/>
          <p14:tracePt t="10679" x="4537075" y="4384675"/>
          <p14:tracePt t="10688" x="4537075" y="4376738"/>
          <p14:tracePt t="10695" x="4537075" y="4368800"/>
          <p14:tracePt t="10704" x="4537075" y="4359275"/>
          <p14:tracePt t="10710" x="4537075" y="4351338"/>
          <p14:tracePt t="10718" x="4537075" y="4341813"/>
          <p14:tracePt t="10726" x="4529138" y="4341813"/>
          <p14:tracePt t="10734" x="4519613" y="4333875"/>
          <p14:tracePt t="11110" x="4503738" y="4333875"/>
          <p14:tracePt t="11118" x="4476750" y="4325938"/>
          <p14:tracePt t="11126" x="4435475" y="4325938"/>
          <p14:tracePt t="11134" x="4392613" y="4325938"/>
          <p14:tracePt t="11142" x="4332288" y="4325938"/>
          <p14:tracePt t="11151" x="4248150" y="4341813"/>
          <p14:tracePt t="11158" x="4162425" y="4359275"/>
          <p14:tracePt t="11166" x="4060825" y="4376738"/>
          <p14:tracePt t="11174" x="3976688" y="4394200"/>
          <p14:tracePt t="11183" x="3857625" y="4427538"/>
          <p14:tracePt t="11190" x="3797300" y="4460875"/>
          <p14:tracePt t="11199" x="3687763" y="4521200"/>
          <p14:tracePt t="11206" x="3636963" y="4564063"/>
          <p14:tracePt t="11214" x="3586163" y="4597400"/>
          <p14:tracePt t="11223" x="3525838" y="4640263"/>
          <p14:tracePt t="11231" x="3482975" y="4673600"/>
          <p14:tracePt t="11239" x="3449638" y="4699000"/>
          <p14:tracePt t="11246" x="3432175" y="4716463"/>
          <p14:tracePt t="11254" x="3414713" y="4733925"/>
          <p14:tracePt t="11263" x="3406775" y="4733925"/>
          <p14:tracePt t="11270" x="3398838" y="4741863"/>
          <p14:tracePt t="11303" x="3414713" y="4741863"/>
          <p14:tracePt t="11311" x="3449638" y="4724400"/>
          <p14:tracePt t="11319" x="3475038" y="4699000"/>
          <p14:tracePt t="11326" x="3543300" y="4657725"/>
          <p14:tracePt t="11335" x="3576638" y="4622800"/>
          <p14:tracePt t="11342" x="3644900" y="4579938"/>
          <p14:tracePt t="11351" x="3678238" y="4546600"/>
          <p14:tracePt t="11359" x="3713163" y="4521200"/>
          <p14:tracePt t="11367" x="3738563" y="4495800"/>
          <p14:tracePt t="11375" x="3746500" y="4470400"/>
          <p14:tracePt t="11383" x="3756025" y="4452938"/>
          <p14:tracePt t="11391" x="3756025" y="4427538"/>
          <p14:tracePt t="11399" x="3746500" y="4402138"/>
          <p14:tracePt t="11407" x="3721100" y="4376738"/>
          <p14:tracePt t="11415" x="3670300" y="4341813"/>
          <p14:tracePt t="11423" x="3586163" y="4283075"/>
          <p14:tracePt t="11431" x="3517900" y="4240213"/>
          <p14:tracePt t="11439" x="3482975" y="4214813"/>
          <p14:tracePt t="11623" x="3475038" y="4232275"/>
          <p14:tracePt t="11639" x="3475038" y="4240213"/>
          <p14:tracePt t="11655" x="3492500" y="4257675"/>
          <p14:tracePt t="11663" x="3508375" y="4275138"/>
          <p14:tracePt t="11671" x="3543300" y="4308475"/>
          <p14:tracePt t="11678" x="3559175" y="4333875"/>
          <p14:tracePt t="11687" x="3586163" y="4341813"/>
          <p14:tracePt t="11758" x="3586163" y="4351338"/>
          <p14:tracePt t="11766" x="3576638" y="4351338"/>
          <p14:tracePt t="11774" x="3568700" y="4359275"/>
          <p14:tracePt t="11783" x="3543300" y="4368800"/>
          <p14:tracePt t="11791" x="3517900" y="4384675"/>
          <p14:tracePt t="11799" x="3475038" y="4402138"/>
          <p14:tracePt t="11807" x="3449638" y="4402138"/>
          <p14:tracePt t="11815" x="3414713" y="4419600"/>
          <p14:tracePt t="11823" x="3389313" y="4419600"/>
          <p14:tracePt t="11831" x="3381375" y="4427538"/>
          <p14:tracePt t="11840" x="3373438" y="4427538"/>
          <p14:tracePt t="11846" x="3363913" y="4427538"/>
          <p14:tracePt t="11895" x="3381375" y="4427538"/>
          <p14:tracePt t="11903" x="3389313" y="4427538"/>
          <p14:tracePt t="11911" x="3414713" y="4427538"/>
          <p14:tracePt t="11920" x="3432175" y="4427538"/>
          <p14:tracePt t="11927" x="3457575" y="4419600"/>
          <p14:tracePt t="11935" x="3475038" y="4419600"/>
          <p14:tracePt t="11943" x="3500438" y="4410075"/>
          <p14:tracePt t="11991" x="3492500" y="4410075"/>
          <p14:tracePt t="11999" x="3482975" y="4410075"/>
          <p14:tracePt t="12006" x="3457575" y="4410075"/>
          <p14:tracePt t="12015" x="3432175" y="4410075"/>
          <p14:tracePt t="12025" x="3414713" y="4419600"/>
          <p14:tracePt t="12031" x="3406775" y="4419600"/>
          <p14:tracePt t="12104" x="3432175" y="4419600"/>
          <p14:tracePt t="12120" x="3441700" y="4419600"/>
          <p14:tracePt t="12127" x="3449638" y="4419600"/>
          <p14:tracePt t="12207" x="3449638" y="4410075"/>
          <p14:tracePt t="12225" x="3449638" y="4402138"/>
          <p14:tracePt t="12231" x="3432175" y="4394200"/>
          <p14:tracePt t="12240" x="3432175" y="4384675"/>
          <p14:tracePt t="12247" x="3414713" y="4384675"/>
          <p14:tracePt t="12255" x="3406775" y="4376738"/>
          <p14:tracePt t="12263" x="3406775" y="4368800"/>
          <p14:tracePt t="12271" x="3398838" y="4359275"/>
          <p14:tracePt t="12279" x="3389313" y="4359275"/>
          <p14:tracePt t="12288" x="3389313" y="4351338"/>
          <p14:tracePt t="12295" x="3381375" y="4341813"/>
          <p14:tracePt t="12304" x="3373438" y="4341813"/>
          <p14:tracePt t="12311" x="3373438" y="4333875"/>
          <p14:tracePt t="12320" x="3363913" y="4333875"/>
          <p14:tracePt t="12327" x="3363913" y="4325938"/>
          <p14:tracePt t="12336" x="3363913" y="4316413"/>
          <p14:tracePt t="12343" x="3363913" y="4300538"/>
          <p14:tracePt t="12351" x="3363913" y="4275138"/>
          <p14:tracePt t="12359" x="3363913" y="4232275"/>
          <p14:tracePt t="12367" x="3363913" y="4171950"/>
          <p14:tracePt t="12375" x="3363913" y="4105275"/>
          <p14:tracePt t="12383" x="3363913" y="4044950"/>
          <p14:tracePt t="12392" x="3363913" y="3976688"/>
          <p14:tracePt t="12399" x="3363913" y="3917950"/>
          <p14:tracePt t="12408" x="3348038" y="3857625"/>
          <p14:tracePt t="12415" x="3348038" y="3773488"/>
          <p14:tracePt t="12425" x="3348038" y="3697288"/>
          <p14:tracePt t="12431" x="3363913" y="3629025"/>
          <p14:tracePt t="12440" x="3398838" y="3560763"/>
          <p14:tracePt t="12446" x="3424238" y="3502025"/>
          <p14:tracePt t="12455" x="3467100" y="3475038"/>
          <p14:tracePt t="12463" x="3500438" y="3459163"/>
          <p14:tracePt t="12473" x="3525838" y="3449638"/>
          <p14:tracePt t="12479" x="3533775" y="3441700"/>
          <p14:tracePt t="12487" x="3559175" y="3441700"/>
          <p14:tracePt t="12495" x="3568700" y="3441700"/>
          <p14:tracePt t="12631" x="3619500" y="3484563"/>
          <p14:tracePt t="12640" x="3670300" y="3552825"/>
          <p14:tracePt t="12647" x="3746500" y="3629025"/>
          <p14:tracePt t="12655" x="3797300" y="3671888"/>
          <p14:tracePt t="12663" x="3865563" y="3713163"/>
          <p14:tracePt t="12672" x="3883025" y="3722688"/>
          <p14:tracePt t="12679" x="3900488" y="3722688"/>
          <p14:tracePt t="12743" x="3900488" y="3705225"/>
          <p14:tracePt t="12751" x="3883025" y="3662363"/>
          <p14:tracePt t="12759" x="3857625" y="3611563"/>
          <p14:tracePt t="12766" x="3806825" y="3552825"/>
          <p14:tracePt t="12775" x="3746500" y="3433763"/>
          <p14:tracePt t="12783" x="3687763" y="3297238"/>
          <p14:tracePt t="12791" x="3586163" y="3101975"/>
          <p14:tracePt t="12799" x="3525838" y="2974975"/>
          <p14:tracePt t="12807" x="3424238" y="2846388"/>
          <p14:tracePt t="12815" x="3355975" y="2744788"/>
          <p14:tracePt t="12824" x="3305175" y="2668588"/>
          <p14:tracePt t="12831" x="3236913" y="2574925"/>
          <p14:tracePt t="12840" x="3194050" y="2524125"/>
          <p14:tracePt t="12847" x="3135313" y="2455863"/>
          <p14:tracePt t="12856" x="3109913" y="2405063"/>
          <p14:tracePt t="12863" x="3092450" y="2362200"/>
          <p14:tracePt t="12871" x="3084513" y="2328863"/>
          <p14:tracePt t="12879" x="3067050" y="2303463"/>
          <p14:tracePt t="12892" x="3049588" y="2286000"/>
          <p14:tracePt t="12894" x="3033713" y="2268538"/>
          <p14:tracePt t="12902" x="3016250" y="2260600"/>
          <p14:tracePt t="12910" x="3016250" y="2252663"/>
          <p14:tracePt t="12918" x="3016250" y="2243138"/>
          <p14:tracePt t="12926" x="3008313" y="2235200"/>
          <p14:tracePt t="12934" x="2998788" y="2235200"/>
          <p14:tracePt t="13007" x="2998788" y="2227263"/>
          <p14:tracePt t="13015" x="2998788" y="2217738"/>
          <p14:tracePt t="13023" x="2998788" y="2209800"/>
          <p14:tracePt t="13031" x="2998788" y="2192338"/>
          <p14:tracePt t="13041" x="2998788" y="2166938"/>
          <p14:tracePt t="13047" x="3008313" y="2159000"/>
          <p14:tracePt t="13055" x="3016250" y="2141538"/>
          <p14:tracePt t="13063" x="3024188" y="2124075"/>
          <p14:tracePt t="13071" x="3024188" y="2116138"/>
          <p14:tracePt t="13079" x="3024188" y="2098675"/>
          <p14:tracePt t="13087" x="3024188" y="2090738"/>
          <p14:tracePt t="13095" x="3024188" y="2065338"/>
          <p14:tracePt t="13104" x="3033713" y="2047875"/>
          <p14:tracePt t="13111" x="3041650" y="2022475"/>
          <p14:tracePt t="13127" x="3041650" y="2005013"/>
          <p14:tracePt t="13135" x="3041650" y="1997075"/>
          <p14:tracePt t="13143" x="3049588" y="1989138"/>
          <p14:tracePt t="13151" x="3059113" y="1971675"/>
          <p14:tracePt t="13158" x="3067050" y="1963738"/>
          <p14:tracePt t="13167" x="3067050" y="1954213"/>
          <p14:tracePt t="13176" x="3074988" y="1938338"/>
          <p14:tracePt t="13191" x="3074988" y="1928813"/>
          <p14:tracePt t="13199" x="3074988" y="1911350"/>
          <p14:tracePt t="13215" x="3074988" y="1903413"/>
          <p14:tracePt t="13225" x="3074988" y="1895475"/>
          <p14:tracePt t="13231" x="3074988" y="1885950"/>
          <p14:tracePt t="14247" x="3067050" y="1885950"/>
          <p14:tracePt t="14255" x="3016250" y="1903413"/>
          <p14:tracePt t="14263" x="2940050" y="1954213"/>
          <p14:tracePt t="14272" x="2854325" y="2005013"/>
          <p14:tracePt t="14278" x="2727325" y="2108200"/>
          <p14:tracePt t="14286" x="2633663" y="2174875"/>
          <p14:tracePt t="14294" x="2557463" y="2243138"/>
          <p14:tracePt t="14303" x="2497138" y="2286000"/>
          <p14:tracePt t="14310" x="2471738" y="2303463"/>
          <p14:tracePt t="14318" x="2455863" y="2319338"/>
          <p14:tracePt t="14326" x="2446338" y="2319338"/>
          <p14:tracePt t="14334" x="2438400" y="2319338"/>
          <p14:tracePt t="14342" x="2430463" y="2319338"/>
          <p14:tracePt t="14358" x="2420938" y="2319338"/>
          <p14:tracePt t="15007" x="2413000" y="2319338"/>
          <p14:tracePt t="15015" x="2405063" y="2319338"/>
          <p14:tracePt t="15024" x="2395538" y="2319338"/>
          <p14:tracePt t="15288" x="2413000" y="2319338"/>
          <p14:tracePt t="15295" x="2463800" y="2311400"/>
          <p14:tracePt t="15304" x="2506663" y="2303463"/>
          <p14:tracePt t="15310" x="2608263" y="2293938"/>
          <p14:tracePt t="15318" x="2693988" y="2286000"/>
          <p14:tracePt t="15326" x="2838450" y="2260600"/>
          <p14:tracePt t="15334" x="2947988" y="2235200"/>
          <p14:tracePt t="15342" x="3143250" y="2235200"/>
          <p14:tracePt t="15350" x="3297238" y="2235200"/>
          <p14:tracePt t="15358" x="3492500" y="2235200"/>
          <p14:tracePt t="15366" x="3644900" y="2235200"/>
          <p14:tracePt t="15374" x="3883025" y="2235200"/>
          <p14:tracePt t="15383" x="4035425" y="2235200"/>
          <p14:tracePt t="15391" x="4187825" y="2235200"/>
          <p14:tracePt t="15398" x="4384675" y="2235200"/>
          <p14:tracePt t="15406" x="4537075" y="2235200"/>
          <p14:tracePt t="15415" x="4749800" y="2235200"/>
          <p14:tracePt t="15423" x="4935538" y="2217738"/>
          <p14:tracePt t="15431" x="5233988" y="2209800"/>
          <p14:tracePt t="15440" x="5421313" y="2174875"/>
          <p14:tracePt t="15447" x="5641975" y="2149475"/>
          <p14:tracePt t="15455" x="5913438" y="2116138"/>
          <p14:tracePt t="15463" x="6040438" y="2108200"/>
          <p14:tracePt t="15470" x="6176963" y="2108200"/>
          <p14:tracePt t="15479" x="6261100" y="2108200"/>
          <p14:tracePt t="15487" x="6321425" y="2108200"/>
          <p14:tracePt t="15495" x="6346825" y="2108200"/>
          <p14:tracePt t="15503" x="6354763" y="2108200"/>
          <p14:tracePt t="15543" x="6311900" y="2108200"/>
          <p14:tracePt t="15551" x="6278563" y="2116138"/>
          <p14:tracePt t="15559" x="6253163" y="2124075"/>
          <p14:tracePt t="15798" x="6245225" y="2124075"/>
          <p14:tracePt t="15806" x="6227763" y="2124075"/>
          <p14:tracePt t="15814" x="6210300" y="2124075"/>
          <p14:tracePt t="15822" x="6184900" y="2124075"/>
          <p14:tracePt t="15830" x="6159500" y="2124075"/>
          <p14:tracePt t="15870" x="6167438" y="2124075"/>
          <p14:tracePt t="15879" x="6176963" y="2133600"/>
          <p14:tracePt t="15887" x="6194425" y="2159000"/>
          <p14:tracePt t="15895" x="6202363" y="2166938"/>
          <p14:tracePt t="15904" x="6253163" y="2184400"/>
          <p14:tracePt t="15912" x="6296025" y="2200275"/>
          <p14:tracePt t="15919" x="6354763" y="2227263"/>
          <p14:tracePt t="15927" x="6405563" y="2252663"/>
          <p14:tracePt t="15936" x="6508750" y="2286000"/>
          <p14:tracePt t="15943" x="6567488" y="2303463"/>
          <p14:tracePt t="15952" x="6626225" y="2319338"/>
          <p14:tracePt t="15958" x="6745288" y="2344738"/>
          <p14:tracePt t="15967" x="6838950" y="2354263"/>
          <p14:tracePt t="15975" x="7000875" y="2379663"/>
          <p14:tracePt t="15982" x="7127875" y="2405063"/>
          <p14:tracePt t="15990" x="7373938" y="2447925"/>
          <p14:tracePt t="15998" x="7637463" y="2447925"/>
          <p14:tracePt t="16007" x="8012113" y="2447925"/>
          <p14:tracePt t="16015" x="8275638" y="2447925"/>
          <p14:tracePt t="16023" x="8623300" y="2447925"/>
          <p14:tracePt t="16031" x="8853488" y="2447925"/>
          <p14:tracePt t="16040" x="9031288" y="2447925"/>
          <p14:tracePt t="16046" x="9201150" y="2447925"/>
          <p14:tracePt t="16054" x="9302750" y="2447925"/>
          <p14:tracePt t="16063" x="9388475" y="2447925"/>
          <p14:tracePt t="16070" x="9421813" y="2447925"/>
          <p14:tracePt t="16079" x="9439275" y="2447925"/>
          <p14:tracePt t="16126" x="9439275" y="2455863"/>
          <p14:tracePt t="16136" x="9421813" y="2455863"/>
          <p14:tracePt t="16143" x="9405938" y="2455863"/>
          <p14:tracePt t="16151" x="9396413" y="2455863"/>
          <p14:tracePt t="16167" x="9388475" y="2455863"/>
          <p14:tracePt t="16191" x="9380538" y="2455863"/>
          <p14:tracePt t="16216" x="9353550" y="2463800"/>
          <p14:tracePt t="16223" x="9345613" y="2463800"/>
          <p14:tracePt t="16231" x="9312275" y="2473325"/>
          <p14:tracePt t="16241" x="9277350" y="2473325"/>
          <p14:tracePt t="16247" x="9244013" y="2473325"/>
          <p14:tracePt t="16256" x="9218613" y="2473325"/>
          <p14:tracePt t="16263" x="9183688" y="2473325"/>
          <p14:tracePt t="16271" x="9150350" y="2473325"/>
          <p14:tracePt t="16279" x="9107488" y="2473325"/>
          <p14:tracePt t="16287" x="9082088" y="2473325"/>
          <p14:tracePt t="16295" x="9039225" y="2473325"/>
          <p14:tracePt t="16304" x="9023350" y="2463800"/>
          <p14:tracePt t="16311" x="8972550" y="2455863"/>
          <p14:tracePt t="16320" x="8929688" y="2455863"/>
          <p14:tracePt t="16327" x="8894763" y="2447925"/>
          <p14:tracePt t="16336" x="8853488" y="2438400"/>
          <p14:tracePt t="16343" x="8828088" y="2430463"/>
          <p14:tracePt t="16351" x="8793163" y="2422525"/>
          <p14:tracePt t="16359" x="8793163" y="2413000"/>
          <p14:tracePt t="16367" x="8785225" y="2405063"/>
          <p14:tracePt t="17351" x="8785225" y="2397125"/>
          <p14:tracePt t="17359" x="8785225" y="2387600"/>
          <p14:tracePt t="17367" x="8785225" y="2379663"/>
          <p14:tracePt t="17376" x="8767763" y="2371725"/>
          <p14:tracePt t="17383" x="8767763" y="2362200"/>
          <p14:tracePt t="17391" x="8742363" y="2362200"/>
          <p14:tracePt t="17399" x="8724900" y="2362200"/>
          <p14:tracePt t="17407" x="8699500" y="2354263"/>
          <p14:tracePt t="17415" x="8683625" y="2336800"/>
          <p14:tracePt t="17423" x="8683625" y="2311400"/>
          <p14:tracePt t="17431" x="8691563" y="2293938"/>
          <p14:tracePt t="17441" x="8709025" y="2293938"/>
          <p14:tracePt t="17607" x="8709025" y="2286000"/>
          <p14:tracePt t="17615" x="8709025" y="2278063"/>
          <p14:tracePt t="17625" x="8691563" y="2268538"/>
          <p14:tracePt t="17631" x="8683625" y="2268538"/>
          <p14:tracePt t="17641" x="8666163" y="2260600"/>
          <p14:tracePt t="17647" x="8640763" y="2260600"/>
          <p14:tracePt t="17656" x="8632825" y="2252663"/>
          <p14:tracePt t="17663" x="8615363" y="2252663"/>
          <p14:tracePt t="17672" x="8605838" y="2252663"/>
          <p14:tracePt t="17720" x="8615363" y="2252663"/>
          <p14:tracePt t="17727" x="8615363" y="2278063"/>
          <p14:tracePt t="17743" x="8615363" y="2286000"/>
          <p14:tracePt t="17751" x="8615363" y="2293938"/>
          <p14:tracePt t="17767" x="8615363" y="2303463"/>
          <p14:tracePt t="18223" x="8605838" y="2303463"/>
          <p14:tracePt t="18231" x="8597900" y="2303463"/>
          <p14:tracePt t="18240" x="8589963" y="2311400"/>
          <p14:tracePt t="18247" x="8572500" y="2319338"/>
          <p14:tracePt t="18258" x="8539163" y="2336800"/>
          <p14:tracePt t="18263" x="8513763" y="2354263"/>
          <p14:tracePt t="18271" x="8488363" y="2379663"/>
          <p14:tracePt t="18278" x="8453438" y="2413000"/>
          <p14:tracePt t="18286" x="8402638" y="2447925"/>
          <p14:tracePt t="18294" x="8351838" y="2498725"/>
          <p14:tracePt t="18303" x="8318500" y="2549525"/>
          <p14:tracePt t="18310" x="8283575" y="2600325"/>
          <p14:tracePt t="18319" x="8250238" y="2633663"/>
          <p14:tracePt t="18326" x="8240713" y="2660650"/>
          <p14:tracePt t="18334" x="8240713" y="2668588"/>
          <p14:tracePt t="18342" x="8240713" y="2686050"/>
          <p14:tracePt t="18350" x="8250238" y="2686050"/>
          <p14:tracePt t="18358" x="8283575" y="2686050"/>
          <p14:tracePt t="18366" x="8343900" y="2676525"/>
          <p14:tracePt t="18375" x="8410575" y="2643188"/>
          <p14:tracePt t="18383" x="8521700" y="2600325"/>
          <p14:tracePt t="18391" x="8605838" y="2549525"/>
          <p14:tracePt t="18399" x="8742363" y="2489200"/>
          <p14:tracePt t="18406" x="8750300" y="2489200"/>
          <p14:tracePt t="18510" x="8759825" y="2489200"/>
          <p14:tracePt t="18518" x="8777288" y="2489200"/>
          <p14:tracePt t="18526" x="8802688" y="2481263"/>
          <p14:tracePt t="18534" x="8818563" y="2481263"/>
          <p14:tracePt t="18542" x="8843963" y="2473325"/>
          <p14:tracePt t="18549" x="8853488" y="2463800"/>
          <p14:tracePt t="18558" x="8869363" y="2463800"/>
          <p14:tracePt t="18565" x="8886825" y="2455863"/>
          <p14:tracePt t="18590" x="8894763" y="2447925"/>
          <p14:tracePt t="18630" x="8886825" y="2447925"/>
          <p14:tracePt t="18638" x="8878888" y="2447925"/>
          <p14:tracePt t="18646" x="8853488" y="2455863"/>
          <p14:tracePt t="18654" x="8828088" y="2455863"/>
          <p14:tracePt t="18662" x="8793163" y="2455863"/>
          <p14:tracePt t="18670" x="8750300" y="2473325"/>
          <p14:tracePt t="18678" x="8724900" y="2473325"/>
          <p14:tracePt t="18686" x="8683625" y="2481263"/>
          <p14:tracePt t="18694" x="8640763" y="2498725"/>
          <p14:tracePt t="18702" x="8589963" y="2506663"/>
          <p14:tracePt t="18710" x="8488363" y="2541588"/>
          <p14:tracePt t="18718" x="8410575" y="2566988"/>
          <p14:tracePt t="18726" x="8250238" y="2625725"/>
          <p14:tracePt t="18734" x="8096250" y="2668588"/>
          <p14:tracePt t="18742" x="7773988" y="2795588"/>
          <p14:tracePt t="18750" x="7553325" y="2889250"/>
          <p14:tracePt t="18758" x="7034213" y="3076575"/>
          <p14:tracePt t="18766" x="6600825" y="3221038"/>
          <p14:tracePt t="18775" x="6083300" y="3382963"/>
          <p14:tracePt t="18782" x="5249863" y="3611563"/>
          <p14:tracePt t="18790" x="4621213" y="3748088"/>
          <p14:tracePt t="18798" x="3832225" y="3900488"/>
          <p14:tracePt t="18806" x="3262313" y="4011613"/>
          <p14:tracePt t="18814" x="2701925" y="4087813"/>
          <p14:tracePt t="18822" x="2463800" y="4105275"/>
          <p14:tracePt t="18830" x="2260600" y="4105275"/>
          <p14:tracePt t="18838" x="1997075" y="4105275"/>
          <p14:tracePt t="18846" x="1843088" y="4105275"/>
          <p14:tracePt t="18854" x="1647825" y="4105275"/>
          <p14:tracePt t="18862" x="1528763" y="4105275"/>
          <p14:tracePt t="18869" x="1384300" y="4121150"/>
          <p14:tracePt t="18878" x="1282700" y="4138613"/>
          <p14:tracePt t="18886" x="1163638" y="4164013"/>
          <p14:tracePt t="18894" x="1095375" y="4197350"/>
          <p14:tracePt t="18902" x="1028700" y="4214813"/>
          <p14:tracePt t="18910" x="950913" y="4249738"/>
          <p14:tracePt t="18918" x="917575" y="4265613"/>
          <p14:tracePt t="18926" x="909638" y="4275138"/>
          <p14:tracePt t="18934" x="900113" y="4275138"/>
          <p14:tracePt t="18959" x="968375" y="4224338"/>
          <p14:tracePt t="18967" x="1044575" y="4171950"/>
          <p14:tracePt t="18975" x="1120775" y="4130675"/>
          <p14:tracePt t="18983" x="1239838" y="4062413"/>
          <p14:tracePt t="18991" x="1290638" y="4044950"/>
          <p14:tracePt t="18999" x="1300163" y="4044950"/>
          <p14:tracePt t="19159" x="1290638" y="4044950"/>
          <p14:tracePt t="19167" x="1300163" y="4037013"/>
          <p14:tracePt t="19175" x="1282700" y="4037013"/>
          <p14:tracePt t="19183" x="1239838" y="4037013"/>
          <p14:tracePt t="19191" x="1231900" y="4037013"/>
          <p14:tracePt t="19198" x="1214438" y="4037013"/>
          <p14:tracePt t="19206" x="1189038" y="4027488"/>
          <p14:tracePt t="19214" x="1155700" y="4011613"/>
          <p14:tracePt t="19222" x="1120775" y="3994150"/>
          <p14:tracePt t="19230" x="1087438" y="3951288"/>
          <p14:tracePt t="19239" x="1044575" y="3925888"/>
          <p14:tracePt t="19246" x="1003300" y="3875088"/>
          <p14:tracePt t="19255" x="976313" y="3816350"/>
          <p14:tracePt t="19262" x="950913" y="3748088"/>
          <p14:tracePt t="19270" x="942975" y="3662363"/>
          <p14:tracePt t="19278" x="935038" y="3603625"/>
          <p14:tracePt t="19287" x="935038" y="3517900"/>
          <p14:tracePt t="19294" x="935038" y="3459163"/>
          <p14:tracePt t="19303" x="935038" y="3408363"/>
          <p14:tracePt t="19311" x="935038" y="3382963"/>
          <p14:tracePt t="19319" x="942975" y="3348038"/>
          <p14:tracePt t="19326" x="942975" y="3330575"/>
          <p14:tracePt t="19335" x="950913" y="3322638"/>
          <p14:tracePt t="19342" x="950913" y="3305175"/>
          <p14:tracePt t="19351" x="960438" y="3297238"/>
          <p14:tracePt t="19358" x="968375" y="3289300"/>
          <p14:tracePt t="19367" x="976313" y="3289300"/>
          <p14:tracePt t="19374" x="976313" y="3279775"/>
          <p14:tracePt t="19391" x="985838" y="3279775"/>
          <p14:tracePt t="19399" x="993775" y="3279775"/>
          <p14:tracePt t="22687" x="985838" y="3279775"/>
          <p14:tracePt t="22720" x="976313" y="3289300"/>
          <p14:tracePt t="22727" x="950913" y="3305175"/>
          <p14:tracePt t="22737" x="925513" y="3348038"/>
          <p14:tracePt t="22743" x="884238" y="3382963"/>
          <p14:tracePt t="22751" x="831850" y="3416300"/>
          <p14:tracePt t="22758" x="781050" y="3459163"/>
          <p14:tracePt t="22766" x="739775" y="3467100"/>
          <p14:tracePt t="22774" x="679450" y="3484563"/>
          <p14:tracePt t="22782" x="628650" y="3492500"/>
          <p14:tracePt t="22790" x="595313" y="3492500"/>
          <p14:tracePt t="22798" x="552450" y="3502025"/>
          <p14:tracePt t="22806" x="527050" y="3502025"/>
          <p14:tracePt t="22814" x="501650" y="3509963"/>
          <p14:tracePt t="22822" x="484188" y="3509963"/>
          <p14:tracePt t="22830" x="466725" y="3517900"/>
          <p14:tracePt t="22838" x="450850" y="3517900"/>
          <p14:tracePt t="22846" x="441325" y="3527425"/>
          <p14:tracePt t="22871" x="433388" y="3527425"/>
          <p14:tracePt t="22886" x="433388" y="3535363"/>
          <p14:tracePt t="22894" x="425450" y="3535363"/>
          <p14:tracePt t="22903" x="415925" y="3543300"/>
          <p14:tracePt t="22910" x="400050" y="3560763"/>
          <p14:tracePt t="22919" x="373063" y="3560763"/>
          <p14:tracePt t="22926" x="357188" y="3568700"/>
          <p14:tracePt t="22935" x="331788" y="3578225"/>
          <p14:tracePt t="22942" x="306388" y="3586163"/>
          <p14:tracePt t="22951" x="288925" y="3594100"/>
          <p14:tracePt t="22959" x="263525" y="3603625"/>
          <p14:tracePt t="22967" x="246063" y="3603625"/>
          <p14:tracePt t="22975" x="212725" y="3611563"/>
          <p14:tracePt t="22983" x="195263" y="3611563"/>
          <p14:tracePt t="22992" x="177800" y="3619500"/>
          <p14:tracePt t="22999" x="152400" y="3619500"/>
          <p14:tracePt t="23007" x="136525" y="3629025"/>
          <p14:tracePt t="23014" x="127000" y="3629025"/>
          <p14:tracePt t="23022" x="119063" y="3629025"/>
          <p14:tracePt t="23031" x="111125" y="3629025"/>
          <p14:tracePt t="23039" x="101600" y="3629025"/>
          <p14:tracePt t="23079" x="93663" y="3629025"/>
          <p14:tracePt t="23095" x="85725" y="3629025"/>
          <p14:tracePt t="23111" x="76200" y="3629025"/>
          <p14:tracePt t="23119" x="68263" y="3629025"/>
          <p14:tracePt t="23135" x="58738" y="3629025"/>
          <p14:tracePt t="24559" x="127000" y="3619500"/>
          <p14:tracePt t="24567" x="246063" y="3594100"/>
          <p14:tracePt t="24575" x="425450" y="3568700"/>
          <p14:tracePt t="24583" x="577850" y="3560763"/>
          <p14:tracePt t="24591" x="730250" y="3560763"/>
          <p14:tracePt t="24599" x="900113" y="3560763"/>
          <p14:tracePt t="24607" x="1003300" y="3560763"/>
          <p14:tracePt t="24615" x="1087438" y="3560763"/>
          <p14:tracePt t="24622" x="1163638" y="3560763"/>
          <p14:tracePt t="24631" x="1257300" y="3543300"/>
          <p14:tracePt t="24639" x="1350963" y="3535363"/>
          <p14:tracePt t="24647" x="1477963" y="3509963"/>
          <p14:tracePt t="24656" x="1571625" y="3509963"/>
          <p14:tracePt t="24663" x="1657350" y="3509963"/>
          <p14:tracePt t="24672" x="1716088" y="3509963"/>
          <p14:tracePt t="24679" x="1741488" y="3509963"/>
          <p14:tracePt t="24694" x="1733550" y="3509963"/>
          <p14:tracePt t="24704" x="1682750" y="3509963"/>
          <p14:tracePt t="24710" x="1665288" y="3509963"/>
          <p14:tracePt t="24959" x="1657350" y="3509963"/>
          <p14:tracePt t="24970" x="1639888" y="3509963"/>
          <p14:tracePt t="24976" x="1597025" y="3517900"/>
          <p14:tracePt t="24982" x="1571625" y="3517900"/>
          <p14:tracePt t="24990" x="1520825" y="3527425"/>
          <p14:tracePt t="24998" x="1495425" y="3527425"/>
          <p14:tracePt t="25006" x="1477963" y="3527425"/>
          <p14:tracePt t="25014" x="1462088" y="3527425"/>
          <p14:tracePt t="25023" x="1452563" y="3527425"/>
          <p14:tracePt t="25720" x="1470025" y="3517900"/>
          <p14:tracePt t="25727" x="1520825" y="3517900"/>
          <p14:tracePt t="25736" x="1589088" y="3517900"/>
          <p14:tracePt t="25743" x="1690688" y="3517900"/>
          <p14:tracePt t="25752" x="1843088" y="3517900"/>
          <p14:tracePt t="25759" x="1971675" y="3517900"/>
          <p14:tracePt t="25768" x="2149475" y="3492500"/>
          <p14:tracePt t="25776" x="2276475" y="3467100"/>
          <p14:tracePt t="25783" x="2438400" y="3441700"/>
          <p14:tracePt t="25792" x="2565400" y="3424238"/>
          <p14:tracePt t="25799" x="2709863" y="3424238"/>
          <p14:tracePt t="25807" x="2820988" y="3424238"/>
          <p14:tracePt t="25814" x="2922588" y="3424238"/>
          <p14:tracePt t="25824" x="3059113" y="3424238"/>
          <p14:tracePt t="25831" x="3160713" y="3424238"/>
          <p14:tracePt t="25840" x="3313113" y="3424238"/>
          <p14:tracePt t="25846" x="3424238" y="3424238"/>
          <p14:tracePt t="25856" x="3559175" y="3433763"/>
          <p14:tracePt t="25863" x="3627438" y="3449638"/>
          <p14:tracePt t="25872" x="3703638" y="3475038"/>
          <p14:tracePt t="25879" x="3729038" y="3492500"/>
          <p14:tracePt t="25887" x="3729038" y="3509963"/>
          <p14:tracePt t="25895" x="3703638" y="3527425"/>
          <p14:tracePt t="25903" x="3644900" y="3527425"/>
          <p14:tracePt t="25911" x="3533775" y="3527425"/>
          <p14:tracePt t="25919" x="3533775" y="3517900"/>
          <p14:tracePt t="26263" x="3525838" y="3517900"/>
          <p14:tracePt t="26272" x="3508375" y="3517900"/>
          <p14:tracePt t="26279" x="3508375" y="3527425"/>
          <p14:tracePt t="26287" x="3508375" y="3535363"/>
          <p14:tracePt t="26295" x="3508375" y="3543300"/>
          <p14:tracePt t="26311" x="3500438" y="3552825"/>
          <p14:tracePt t="26327" x="3500438" y="3560763"/>
          <p14:tracePt t="26336" x="3500438" y="3568700"/>
          <p14:tracePt t="26879" x="3517900" y="3568700"/>
          <p14:tracePt t="26887" x="3533775" y="3568700"/>
          <p14:tracePt t="26895" x="3551238" y="3568700"/>
          <p14:tracePt t="26904" x="3576638" y="3568700"/>
          <p14:tracePt t="26911" x="3594100" y="3560763"/>
          <p14:tracePt t="26920" x="3602038" y="3552825"/>
          <p14:tracePt t="26927" x="3627438" y="3543300"/>
          <p14:tracePt t="26941" x="3636963" y="3543300"/>
          <p14:tracePt t="26945" x="3644900" y="3543300"/>
          <p14:tracePt t="26952" x="3662363" y="3543300"/>
          <p14:tracePt t="26959" x="3670300" y="3543300"/>
          <p14:tracePt t="26967" x="3678238" y="3535363"/>
          <p14:tracePt t="26978" x="3687763" y="3535363"/>
          <p14:tracePt t="26983" x="3695700" y="3535363"/>
          <p14:tracePt t="26998" x="3695700" y="3527425"/>
          <p14:tracePt t="27022" x="3703638" y="3517900"/>
          <p14:tracePt t="27030" x="3703638" y="3509963"/>
          <p14:tracePt t="27038" x="3713163" y="3509963"/>
          <p14:tracePt t="27704" x="3695700" y="3509963"/>
          <p14:tracePt t="27711" x="3670300" y="3509963"/>
          <p14:tracePt t="27720" x="3636963" y="3509963"/>
          <p14:tracePt t="27726" x="3576638" y="3509963"/>
          <p14:tracePt t="27734" x="3525838" y="3509963"/>
          <p14:tracePt t="27742" x="3500438" y="3509963"/>
          <p14:tracePt t="27750" x="3449638" y="3509963"/>
          <p14:tracePt t="27758" x="3398838" y="3509963"/>
          <p14:tracePt t="27766" x="3330575" y="3509963"/>
          <p14:tracePt t="27774" x="3297238" y="3509963"/>
          <p14:tracePt t="27782" x="3279775" y="3517900"/>
          <p14:tracePt t="27798" x="3270250" y="3517900"/>
          <p14:tracePt t="27847" x="3279775" y="3527425"/>
          <p14:tracePt t="27855" x="3348038" y="3527425"/>
          <p14:tracePt t="27863" x="3414713" y="3527425"/>
          <p14:tracePt t="27872" x="3508375" y="3535363"/>
          <p14:tracePt t="27879" x="3602038" y="3552825"/>
          <p14:tracePt t="27888" x="3670300" y="3568700"/>
          <p14:tracePt t="27895" x="3721100" y="3568700"/>
          <p14:tracePt t="28120" x="3738563" y="3568700"/>
          <p14:tracePt t="28127" x="3756025" y="3568700"/>
          <p14:tracePt t="28135" x="3771900" y="3568700"/>
          <p14:tracePt t="28143" x="3789363" y="3568700"/>
          <p14:tracePt t="28175" x="3781425" y="3568700"/>
          <p14:tracePt t="28183" x="3763963" y="3560763"/>
          <p14:tracePt t="28215" x="3763963" y="3552825"/>
          <p14:tracePt t="28223" x="3771900" y="3552825"/>
          <p14:tracePt t="28231" x="3781425" y="3552825"/>
          <p14:tracePt t="28240" x="3814763" y="3552825"/>
          <p14:tracePt t="28247" x="3848100" y="3543300"/>
          <p14:tracePt t="28256" x="3883025" y="3543300"/>
          <p14:tracePt t="28263" x="3900488" y="3543300"/>
          <p14:tracePt t="28273" x="3933825" y="3543300"/>
          <p14:tracePt t="28279" x="3951288" y="3543300"/>
          <p14:tracePt t="28288" x="3959225" y="3543300"/>
          <p14:tracePt t="28352" x="3941763" y="3543300"/>
          <p14:tracePt t="29072" x="3933825" y="3543300"/>
          <p14:tracePt t="29079" x="3908425" y="3543300"/>
          <p14:tracePt t="29087" x="3890963" y="3552825"/>
          <p14:tracePt t="29095" x="3857625" y="3552825"/>
          <p14:tracePt t="29104" x="3822700" y="3560763"/>
          <p14:tracePt t="29111" x="3797300" y="3560763"/>
          <p14:tracePt t="29120" x="3781425" y="3568700"/>
          <p14:tracePt t="29127" x="3763963" y="3578225"/>
          <p14:tracePt t="29136" x="3746500" y="3578225"/>
          <p14:tracePt t="29143" x="3738563" y="3586163"/>
          <p14:tracePt t="29152" x="3713163" y="3611563"/>
          <p14:tracePt t="29159" x="3670300" y="3654425"/>
          <p14:tracePt t="29167" x="3627438" y="3705225"/>
          <p14:tracePt t="29175" x="3559175" y="3790950"/>
          <p14:tracePt t="29184" x="3482975" y="3900488"/>
          <p14:tracePt t="29191" x="3363913" y="4044950"/>
          <p14:tracePt t="29199" x="3305175" y="4138613"/>
          <p14:tracePt t="29207" x="3219450" y="4232275"/>
          <p14:tracePt t="29216" x="3160713" y="4291013"/>
          <p14:tracePt t="29223" x="3117850" y="4333875"/>
          <p14:tracePt t="29231" x="3100388" y="4359275"/>
          <p14:tracePt t="29279" x="3109913" y="4368800"/>
          <p14:tracePt t="29287" x="3152775" y="4376738"/>
          <p14:tracePt t="29295" x="3211513" y="4402138"/>
          <p14:tracePt t="29305" x="3305175" y="4419600"/>
          <p14:tracePt t="29311" x="3441700" y="4445000"/>
          <p14:tracePt t="29321" x="3559175" y="4478338"/>
          <p14:tracePt t="29328" x="3662363" y="4486275"/>
          <p14:tracePt t="29337" x="3789363" y="4513263"/>
          <p14:tracePt t="29344" x="3890963" y="4529138"/>
          <p14:tracePt t="29352" x="4002088" y="4546600"/>
          <p14:tracePt t="29359" x="4052888" y="4554538"/>
          <p14:tracePt t="29367" x="4111625" y="4572000"/>
          <p14:tracePt t="29376" x="4154488" y="4579938"/>
          <p14:tracePt t="29383" x="4256088" y="4589463"/>
          <p14:tracePt t="29392" x="4332288" y="4597400"/>
          <p14:tracePt t="29399" x="4418013" y="4597400"/>
          <p14:tracePt t="29407" x="4545013" y="4597400"/>
          <p14:tracePt t="29414" x="4656138" y="4597400"/>
          <p14:tracePt t="29424" x="4783138" y="4597400"/>
          <p14:tracePt t="29431" x="4843463" y="4597400"/>
          <p14:tracePt t="29440" x="4894263" y="4597400"/>
          <p14:tracePt t="29447" x="4902200" y="4597400"/>
          <p14:tracePt t="29727" x="4884738" y="4597400"/>
          <p14:tracePt t="29735" x="4876800" y="4597400"/>
          <p14:tracePt t="29742" x="4859338" y="4597400"/>
          <p14:tracePt t="29750" x="4843463" y="4597400"/>
          <p14:tracePt t="29766" x="4894263" y="4589463"/>
          <p14:tracePt t="29774" x="4953000" y="4572000"/>
          <p14:tracePt t="29782" x="5080000" y="4546600"/>
          <p14:tracePt t="29790" x="5199063" y="4529138"/>
          <p14:tracePt t="29798" x="5378450" y="4503738"/>
          <p14:tracePt t="29806" x="5530850" y="4495800"/>
          <p14:tracePt t="29815" x="5683250" y="4495800"/>
          <p14:tracePt t="29823" x="5964238" y="4503738"/>
          <p14:tracePt t="29831" x="6194425" y="4546600"/>
          <p14:tracePt t="29839" x="6584950" y="4605338"/>
          <p14:tracePt t="29847" x="6805613" y="4648200"/>
          <p14:tracePt t="29856" x="7137400" y="4699000"/>
          <p14:tracePt t="29863" x="7307263" y="4724400"/>
          <p14:tracePt t="29872" x="7434263" y="4749800"/>
          <p14:tracePt t="29879" x="7545388" y="4767263"/>
          <p14:tracePt t="29887" x="7621588" y="4784725"/>
          <p14:tracePt t="29895" x="7688263" y="4784725"/>
          <p14:tracePt t="29904" x="7723188" y="4784725"/>
          <p14:tracePt t="29911" x="7748588" y="4784725"/>
          <p14:tracePt t="29927" x="7756525" y="4784725"/>
          <p14:tracePt t="29967" x="7766050" y="4784725"/>
          <p14:tracePt t="29983" x="7766050" y="4775200"/>
          <p14:tracePt t="30025" x="7756525" y="4775200"/>
          <p14:tracePt t="30047" x="7748588" y="4775200"/>
          <p14:tracePt t="30198" x="7766050" y="4759325"/>
          <p14:tracePt t="30206" x="7791450" y="4749800"/>
          <p14:tracePt t="30215" x="7807325" y="4749800"/>
          <p14:tracePt t="30222" x="7824788" y="4741863"/>
          <p14:tracePt t="30231" x="7832725" y="4741863"/>
          <p14:tracePt t="30239" x="7842250" y="4741863"/>
          <p14:tracePt t="30255" x="7791450" y="4741863"/>
          <p14:tracePt t="30262" x="7731125" y="4708525"/>
          <p14:tracePt t="30271" x="7697788" y="4699000"/>
          <p14:tracePt t="30406" x="7688263" y="4716463"/>
          <p14:tracePt t="30414" x="7654925" y="4741863"/>
          <p14:tracePt t="30422" x="7646988" y="4741863"/>
          <p14:tracePt t="30430" x="7621588" y="4749800"/>
          <p14:tracePt t="30438" x="7612063" y="4749800"/>
          <p14:tracePt t="30446" x="7604125" y="4749800"/>
          <p14:tracePt t="30454" x="7596188" y="4759325"/>
          <p14:tracePt t="30471" x="7586663" y="4767263"/>
          <p14:tracePt t="30574" x="7586663" y="4759325"/>
          <p14:tracePt t="30581" x="7596188" y="4759325"/>
          <p14:tracePt t="30598" x="7621588" y="4749800"/>
          <p14:tracePt t="30606" x="7637463" y="4741863"/>
          <p14:tracePt t="30622" x="7646988" y="4741863"/>
          <p14:tracePt t="30630" x="7654925" y="4741863"/>
          <p14:tracePt t="31000" x="7654925" y="4733925"/>
          <p14:tracePt t="31008" x="7662863" y="4708525"/>
          <p14:tracePt t="31015" x="7715250" y="4657725"/>
          <p14:tracePt t="31023" x="7791450" y="4564063"/>
          <p14:tracePt t="31031" x="7875588" y="4478338"/>
          <p14:tracePt t="31039" x="8037513" y="4359275"/>
          <p14:tracePt t="31046" x="8189913" y="4249738"/>
          <p14:tracePt t="31055" x="8318500" y="4189413"/>
          <p14:tracePt t="31063" x="8513763" y="4105275"/>
          <p14:tracePt t="31072" x="8640763" y="4062413"/>
          <p14:tracePt t="31078" x="8777288" y="4027488"/>
          <p14:tracePt t="31086" x="8861425" y="4011613"/>
          <p14:tracePt t="31095" x="8929688" y="4002088"/>
          <p14:tracePt t="31102" x="8963025" y="3994150"/>
          <p14:tracePt t="31110" x="8980488" y="3994150"/>
          <p14:tracePt t="31119" x="8988425" y="3994150"/>
          <p14:tracePt t="31126" x="8988425" y="3986213"/>
          <p14:tracePt t="31135" x="8997950" y="3986213"/>
          <p14:tracePt t="31142" x="9005888" y="3986213"/>
          <p14:tracePt t="31462" x="9023350" y="3986213"/>
          <p14:tracePt t="31470" x="9091613" y="3968750"/>
          <p14:tracePt t="31478" x="9167813" y="3935413"/>
          <p14:tracePt t="31486" x="9244013" y="3892550"/>
          <p14:tracePt t="31494" x="9345613" y="3857625"/>
          <p14:tracePt t="31503" x="9388475" y="3841750"/>
          <p14:tracePt t="31511" x="9405938" y="3841750"/>
          <p14:tracePt t="31575" x="9413875" y="3841750"/>
          <p14:tracePt t="31599" x="9431338" y="3841750"/>
          <p14:tracePt t="31607" x="9447213" y="3841750"/>
          <p14:tracePt t="31615" x="9482138" y="3841750"/>
          <p14:tracePt t="31623" x="9523413" y="3849688"/>
          <p14:tracePt t="31631" x="9566275" y="3849688"/>
          <p14:tracePt t="31639" x="9626600" y="3849688"/>
          <p14:tracePt t="31646" x="9659938" y="3849688"/>
          <p14:tracePt t="31663" x="9667875" y="3841750"/>
          <p14:tracePt t="31672" x="9667875" y="3832225"/>
          <p14:tracePt t="31687" x="9659938" y="3832225"/>
          <p14:tracePt t="31703" x="9652000" y="3824288"/>
          <p14:tracePt t="31710" x="9642475" y="3824288"/>
          <p14:tracePt t="31720" x="9634538" y="3824288"/>
          <p14:tracePt t="31727" x="9626600" y="3824288"/>
          <p14:tracePt t="31736" x="9617075" y="3824288"/>
          <p14:tracePt t="31742" x="9601200" y="3824288"/>
          <p14:tracePt t="31752" x="9591675" y="3832225"/>
          <p14:tracePt t="31758" x="9575800" y="3857625"/>
          <p14:tracePt t="31767" x="9575800" y="3883025"/>
          <p14:tracePt t="31775" x="9575800" y="3908425"/>
          <p14:tracePt t="31783" x="9575800" y="3925888"/>
          <p14:tracePt t="31791" x="9583738" y="3943350"/>
          <p14:tracePt t="31799" x="9617075" y="3951288"/>
          <p14:tracePt t="31808" x="9634538" y="3960813"/>
          <p14:tracePt t="31822" x="9642475" y="3960813"/>
          <p14:tracePt t="31831" x="9652000" y="3960813"/>
          <p14:tracePt t="31839" x="9659938" y="3960813"/>
          <p14:tracePt t="31848" x="9667875" y="3960813"/>
          <p14:tracePt t="31856" x="9677400" y="3960813"/>
          <p14:tracePt t="31863" x="9677400" y="3951288"/>
          <p14:tracePt t="31911" x="9659938" y="3951288"/>
          <p14:tracePt t="31926" x="9642475" y="3951288"/>
          <p14:tracePt t="31936" x="9634538" y="3951288"/>
          <p14:tracePt t="31959" x="9626600" y="3951288"/>
          <p14:tracePt t="31966" x="9617075" y="3951288"/>
          <p14:tracePt t="31983" x="9591675" y="3943350"/>
          <p14:tracePt t="31991" x="9583738" y="3935413"/>
          <p14:tracePt t="31999" x="9583738" y="3925888"/>
          <p14:tracePt t="32007" x="9575800" y="3917950"/>
          <p14:tracePt t="32019" x="9566275" y="3908425"/>
          <p14:tracePt t="32024" x="9566275" y="3900488"/>
          <p14:tracePt t="32054" x="9566275" y="3892550"/>
          <p14:tracePt t="32239" x="9558338" y="3892550"/>
          <p14:tracePt t="32247" x="9550400" y="3892550"/>
          <p14:tracePt t="32927" x="9540875" y="3900488"/>
          <p14:tracePt t="33023" x="9532938" y="3900488"/>
          <p14:tracePt t="33038" x="9515475" y="3900488"/>
          <p14:tracePt t="33054" x="9507538" y="3900488"/>
          <p14:tracePt t="33062" x="9490075" y="3900488"/>
          <p14:tracePt t="33070" x="9472613" y="3900488"/>
          <p14:tracePt t="33078" x="9456738" y="3900488"/>
          <p14:tracePt t="33086" x="9439275" y="3900488"/>
          <p14:tracePt t="33094" x="9413875" y="3900488"/>
          <p14:tracePt t="33103" x="9405938" y="3900488"/>
          <p14:tracePt t="33111" x="9388475" y="3900488"/>
          <p14:tracePt t="33119" x="9371013" y="3900488"/>
          <p14:tracePt t="33135" x="9353550" y="3900488"/>
          <p14:tracePt t="33143" x="9345613" y="3900488"/>
          <p14:tracePt t="34137" x="9345613" y="3892550"/>
          <p14:tracePt t="34143" x="9345613" y="3875088"/>
          <p14:tracePt t="34152" x="9337675" y="3867150"/>
          <p14:tracePt t="34159" x="9328150" y="3857625"/>
          <p14:tracePt t="34167" x="9312275" y="3857625"/>
          <p14:tracePt t="34175" x="9302750" y="3867150"/>
          <p14:tracePt t="34198" x="9312275" y="3867150"/>
          <p14:tracePt t="34607" x="9320213" y="3857625"/>
          <p14:tracePt t="34631" x="9320213" y="3841750"/>
          <p14:tracePt t="34639" x="9328150" y="3832225"/>
          <p14:tracePt t="34655" x="9328150" y="3824288"/>
          <p14:tracePt t="34663" x="9328150" y="3816350"/>
          <p14:tracePt t="34672" x="9328150" y="3806825"/>
          <p14:tracePt t="34711" x="9320213" y="3806825"/>
          <p14:tracePt t="34727" x="9312275" y="3806825"/>
          <p14:tracePt t="35175" x="9302750" y="3806825"/>
          <p14:tracePt t="35183" x="9286875" y="3806825"/>
          <p14:tracePt t="35192" x="9277350" y="3806825"/>
          <p14:tracePt t="35197" x="9261475" y="3806825"/>
          <p14:tracePt t="35206" x="9236075" y="3806825"/>
          <p14:tracePt t="35214" x="9226550" y="3806825"/>
          <p14:tracePt t="35222" x="9201150" y="3806825"/>
          <p14:tracePt t="35230" x="9175750" y="3816350"/>
          <p14:tracePt t="35238" x="9150350" y="3816350"/>
          <p14:tracePt t="35246" x="9117013" y="3824288"/>
          <p14:tracePt t="35255" x="9074150" y="3824288"/>
          <p14:tracePt t="35262" x="9039225" y="3824288"/>
          <p14:tracePt t="35270" x="8997950" y="3824288"/>
          <p14:tracePt t="35278" x="8912225" y="3841750"/>
          <p14:tracePt t="35286" x="8818563" y="3849688"/>
          <p14:tracePt t="35294" x="8691563" y="3857625"/>
          <p14:tracePt t="35302" x="8564563" y="3883025"/>
          <p14:tracePt t="35310" x="8369300" y="3892550"/>
          <p14:tracePt t="35319" x="8215313" y="3908425"/>
          <p14:tracePt t="35326" x="7994650" y="3917950"/>
          <p14:tracePt t="35335" x="7859713" y="3917950"/>
          <p14:tracePt t="35343" x="7715250" y="3935413"/>
          <p14:tracePt t="35351" x="7561263" y="3935413"/>
          <p14:tracePt t="35358" x="7459663" y="3935413"/>
          <p14:tracePt t="35367" x="7348538" y="3935413"/>
          <p14:tracePt t="35374" x="7246938" y="3935413"/>
          <p14:tracePt t="35383" x="7112000" y="3935413"/>
          <p14:tracePt t="35390" x="6983413" y="3935413"/>
          <p14:tracePt t="35399" x="6788150" y="3935413"/>
          <p14:tracePt t="35406" x="6635750" y="3935413"/>
          <p14:tracePt t="35415" x="6491288" y="3935413"/>
          <p14:tracePt t="35422" x="6261100" y="3935413"/>
          <p14:tracePt t="35431" x="6134100" y="3935413"/>
          <p14:tracePt t="35439" x="5981700" y="3935413"/>
          <p14:tracePt t="35446" x="5853113" y="3935413"/>
          <p14:tracePt t="35455" x="5726113" y="3935413"/>
          <p14:tracePt t="35463" x="5641975" y="3935413"/>
          <p14:tracePt t="35471" x="5538788" y="3935413"/>
          <p14:tracePt t="35479" x="5472113" y="3935413"/>
          <p14:tracePt t="35487" x="5411788" y="3935413"/>
          <p14:tracePt t="35495" x="5343525" y="3935413"/>
          <p14:tracePt t="35503" x="5302250" y="3935413"/>
          <p14:tracePt t="35510" x="5224463" y="3935413"/>
          <p14:tracePt t="35520" x="5183188" y="3935413"/>
          <p14:tracePt t="35527" x="5122863" y="3935413"/>
          <p14:tracePt t="35535" x="5089525" y="3935413"/>
          <p14:tracePt t="35543" x="5072063" y="3935413"/>
          <p14:tracePt t="35551" x="5064125" y="3935413"/>
          <p14:tracePt t="35574" x="5080000" y="3935413"/>
          <p14:tracePt t="35582" x="5140325" y="3908425"/>
          <p14:tracePt t="35590" x="5191125" y="3875088"/>
          <p14:tracePt t="35598" x="5241925" y="3849688"/>
          <p14:tracePt t="35606" x="5249863" y="3832225"/>
          <p14:tracePt t="35839" x="5259388" y="3832225"/>
          <p14:tracePt t="35855" x="5267325" y="3832225"/>
          <p14:tracePt t="35871" x="5276850" y="3832225"/>
          <p14:tracePt t="35879" x="5284788" y="3824288"/>
          <p14:tracePt t="35888" x="5292725" y="3824288"/>
          <p14:tracePt t="35945" x="5284788" y="3824288"/>
          <p14:tracePt t="35952" x="5276850" y="3824288"/>
          <p14:tracePt t="35959" x="5259388" y="3824288"/>
          <p14:tracePt t="35967" x="5249863" y="3824288"/>
          <p14:tracePt t="35990" x="5241925" y="3824288"/>
          <p14:tracePt t="35998" x="5233988" y="3824288"/>
          <p14:tracePt t="36007" x="5224463" y="3832225"/>
          <p14:tracePt t="36016" x="5208588" y="3841750"/>
          <p14:tracePt t="36022" x="5191125" y="3841750"/>
          <p14:tracePt t="36030" x="5165725" y="3841750"/>
          <p14:tracePt t="36038" x="5132388" y="3849688"/>
          <p14:tracePt t="36046" x="5080000" y="3857625"/>
          <p14:tracePt t="36054" x="4995863" y="3867150"/>
          <p14:tracePt t="36062" x="4953000" y="3875088"/>
          <p14:tracePt t="36070" x="4851400" y="3900488"/>
          <p14:tracePt t="36078" x="4775200" y="3908425"/>
          <p14:tracePt t="36086" x="4664075" y="3917950"/>
          <p14:tracePt t="36094" x="4605338" y="3925888"/>
          <p14:tracePt t="36101" x="4511675" y="3951288"/>
          <p14:tracePt t="36110" x="4400550" y="3976688"/>
          <p14:tracePt t="36118" x="4324350" y="3986213"/>
          <p14:tracePt t="36126" x="4240213" y="4002088"/>
          <p14:tracePt t="36134" x="4179888" y="4019550"/>
          <p14:tracePt t="36142" x="4103688" y="4027488"/>
          <p14:tracePt t="36149" x="4070350" y="4037013"/>
          <p14:tracePt t="36158" x="4010025" y="4044950"/>
          <p14:tracePt t="36166" x="3951288" y="4052888"/>
          <p14:tracePt t="36174" x="3883025" y="4062413"/>
          <p14:tracePt t="36182" x="3797300" y="4079875"/>
          <p14:tracePt t="36190" x="3721100" y="4087813"/>
          <p14:tracePt t="36198" x="3619500" y="4113213"/>
          <p14:tracePt t="36206" x="3559175" y="4113213"/>
          <p14:tracePt t="36214" x="3475038" y="4121150"/>
          <p14:tracePt t="36222" x="3432175" y="4121150"/>
          <p14:tracePt t="36230" x="3389313" y="4121150"/>
          <p14:tracePt t="36238" x="3348038" y="4121150"/>
          <p14:tracePt t="36246" x="3330575" y="4121150"/>
          <p14:tracePt t="36254" x="3305175" y="4121150"/>
          <p14:tracePt t="36270" x="3297238" y="4121150"/>
          <p14:tracePt t="36319" x="3313113" y="4121150"/>
          <p14:tracePt t="36326" x="3338513" y="4113213"/>
          <p14:tracePt t="36335" x="3348038" y="4113213"/>
          <p14:tracePt t="36342" x="3406775" y="4095750"/>
          <p14:tracePt t="36350" x="3441700" y="4095750"/>
          <p14:tracePt t="36359" x="3482975" y="4087813"/>
          <p14:tracePt t="36366" x="3517900" y="4079875"/>
          <p14:tracePt t="36374" x="3551238" y="4070350"/>
          <p14:tracePt t="36383" x="3594100" y="4062413"/>
          <p14:tracePt t="36390" x="3636963" y="4052888"/>
          <p14:tracePt t="36399" x="3729038" y="4027488"/>
          <p14:tracePt t="36407" x="3832225" y="4019550"/>
          <p14:tracePt t="36414" x="3984625" y="3994150"/>
          <p14:tracePt t="36423" x="4187825" y="3951288"/>
          <p14:tracePt t="36431" x="4435475" y="3900488"/>
          <p14:tracePt t="36438" x="4630738" y="3867150"/>
          <p14:tracePt t="36446" x="4902200" y="3849688"/>
          <p14:tracePt t="36455" x="5038725" y="3832225"/>
          <p14:tracePt t="36463" x="5165725" y="3832225"/>
          <p14:tracePt t="36471" x="5292725" y="3832225"/>
          <p14:tracePt t="36479" x="5378450" y="3832225"/>
          <p14:tracePt t="36488" x="5497513" y="3832225"/>
          <p14:tracePt t="36495" x="5565775" y="3832225"/>
          <p14:tracePt t="36503" x="5675313" y="3832225"/>
          <p14:tracePt t="36511" x="5751513" y="3832225"/>
          <p14:tracePt t="36520" x="5819775" y="3832225"/>
          <p14:tracePt t="36527" x="5905500" y="3832225"/>
          <p14:tracePt t="36535" x="5946775" y="3832225"/>
          <p14:tracePt t="36543" x="5981700" y="3832225"/>
          <p14:tracePt t="36550" x="5997575" y="3832225"/>
          <p14:tracePt t="36558" x="6007100" y="3832225"/>
          <p14:tracePt t="36711" x="5997575" y="3841750"/>
          <p14:tracePt t="36721" x="5981700" y="3849688"/>
          <p14:tracePt t="36727" x="5956300" y="3857625"/>
          <p14:tracePt t="36736" x="5905500" y="3883025"/>
          <p14:tracePt t="36742" x="5862638" y="3908425"/>
          <p14:tracePt t="36750" x="5802313" y="3925888"/>
          <p14:tracePt t="36758" x="5700713" y="3960813"/>
          <p14:tracePt t="36766" x="5624513" y="3968750"/>
          <p14:tracePt t="36774" x="5522913" y="3994150"/>
          <p14:tracePt t="36782" x="5437188" y="4002088"/>
          <p14:tracePt t="36790" x="5335588" y="4019550"/>
          <p14:tracePt t="36799" x="5259388" y="4027488"/>
          <p14:tracePt t="36806" x="5191125" y="4027488"/>
          <p14:tracePt t="36815" x="5132388" y="4027488"/>
          <p14:tracePt t="36822" x="5089525" y="4027488"/>
          <p14:tracePt t="36830" x="5029200" y="4027488"/>
          <p14:tracePt t="36839" x="4987925" y="4027488"/>
          <p14:tracePt t="36848" x="4945063" y="4027488"/>
          <p14:tracePt t="36855" x="4902200" y="4027488"/>
          <p14:tracePt t="36863" x="4868863" y="4027488"/>
          <p14:tracePt t="36871" x="4833938" y="4027488"/>
          <p14:tracePt t="36879" x="4826000" y="4027488"/>
          <p14:tracePt t="36888" x="4800600" y="4027488"/>
          <p14:tracePt t="36895" x="4783138" y="4027488"/>
          <p14:tracePt t="36920" x="4775200" y="4027488"/>
          <p14:tracePt t="36927" x="4765675" y="4027488"/>
          <p14:tracePt t="36950" x="4757738" y="4027488"/>
          <p14:tracePt t="36958" x="4740275" y="4027488"/>
          <p14:tracePt t="36966" x="4732338" y="4027488"/>
          <p14:tracePt t="36974" x="4706938" y="4027488"/>
          <p14:tracePt t="36982" x="4681538" y="4019550"/>
          <p14:tracePt t="36990" x="4638675" y="4011613"/>
          <p14:tracePt t="36999" x="4605338" y="4002088"/>
          <p14:tracePt t="37006" x="4554538" y="4002088"/>
          <p14:tracePt t="37017" x="4519613" y="3994150"/>
          <p14:tracePt t="37022" x="4468813" y="3986213"/>
          <p14:tracePt t="37030" x="4410075" y="3976688"/>
          <p14:tracePt t="37038" x="4367213" y="3968750"/>
          <p14:tracePt t="37046" x="4316413" y="3960813"/>
          <p14:tracePt t="37055" x="4291013" y="3960813"/>
          <p14:tracePt t="37062" x="4240213" y="3951288"/>
          <p14:tracePt t="37070" x="4214813" y="3943350"/>
          <p14:tracePt t="37078" x="4179888" y="3943350"/>
          <p14:tracePt t="37087" x="4162425" y="3935413"/>
          <p14:tracePt t="37095" x="4154488" y="3935413"/>
          <p14:tracePt t="37102" x="4146550" y="3935413"/>
          <p14:tracePt t="37111" x="4137025" y="3935413"/>
          <p14:tracePt t="37143" x="4129088" y="3935413"/>
          <p14:tracePt t="37159" x="4121150" y="3935413"/>
          <p14:tracePt t="37175" x="4111625" y="3925888"/>
          <p14:tracePt t="37191" x="4095750" y="3925888"/>
          <p14:tracePt t="37199" x="4078288" y="3917950"/>
          <p14:tracePt t="37208" x="4070350" y="3917950"/>
          <p14:tracePt t="37216" x="4052888" y="3917950"/>
          <p14:tracePt t="37232" x="4044950" y="3917950"/>
          <p14:tracePt t="37240" x="4035425" y="3917950"/>
          <p14:tracePt t="37247" x="4027488" y="3917950"/>
          <p14:tracePt t="37264" x="4017963" y="3917950"/>
          <p14:tracePt t="38015" x="4017963" y="3908425"/>
          <p14:tracePt t="38023" x="4044950" y="3900488"/>
          <p14:tracePt t="38031" x="4086225" y="3883025"/>
          <p14:tracePt t="38039" x="4146550" y="3867150"/>
          <p14:tracePt t="38047" x="4187825" y="3857625"/>
          <p14:tracePt t="38055" x="4222750" y="3849688"/>
          <p14:tracePt t="38063" x="4248150" y="3841750"/>
          <p14:tracePt t="38071" x="4256088" y="3841750"/>
          <p14:tracePt t="38079" x="4291013" y="3832225"/>
          <p14:tracePt t="38089" x="4324350" y="3832225"/>
          <p14:tracePt t="38095" x="4375150" y="3824288"/>
          <p14:tracePt t="38105" x="4451350" y="3806825"/>
          <p14:tracePt t="38111" x="4537075" y="3798888"/>
          <p14:tracePt t="38121" x="4621213" y="3790950"/>
          <p14:tracePt t="38127" x="4724400" y="3790950"/>
          <p14:tracePt t="38136" x="4791075" y="3790950"/>
          <p14:tracePt t="38142" x="4851400" y="3790950"/>
          <p14:tracePt t="38151" x="4935538" y="3790950"/>
          <p14:tracePt t="38159" x="4995863" y="3790950"/>
          <p14:tracePt t="38167" x="5054600" y="3790950"/>
          <p14:tracePt t="38175" x="5089525" y="3790950"/>
          <p14:tracePt t="38183" x="5114925" y="3790950"/>
          <p14:tracePt t="38191" x="5140325" y="3790950"/>
          <p14:tracePt t="38199" x="5165725" y="3790950"/>
          <p14:tracePt t="38207" x="5183188" y="3790950"/>
          <p14:tracePt t="38215" x="5191125" y="3790950"/>
          <p14:tracePt t="38223" x="5208588" y="3790950"/>
          <p14:tracePt t="38247" x="5208588" y="3798888"/>
          <p14:tracePt t="38255" x="5165725" y="3816350"/>
          <p14:tracePt t="38263" x="5114925" y="3849688"/>
          <p14:tracePt t="38272" x="5054600" y="3892550"/>
          <p14:tracePt t="38278" x="5021263" y="3900488"/>
          <p14:tracePt t="38488" x="5029200" y="3917950"/>
          <p14:tracePt t="38495" x="5029200" y="3925888"/>
          <p14:tracePt t="38504" x="5029200" y="3917950"/>
          <p14:tracePt t="38521" x="5021263" y="3917950"/>
          <p14:tracePt t="38543" x="5038725" y="3917950"/>
          <p14:tracePt t="38552" x="5046663" y="3917950"/>
          <p14:tracePt t="38559" x="5064125" y="3925888"/>
          <p14:tracePt t="38568" x="5097463" y="3925888"/>
          <p14:tracePt t="38575" x="5106988" y="3925888"/>
          <p14:tracePt t="38583" x="5132388" y="3925888"/>
          <p14:tracePt t="38591" x="5148263" y="3925888"/>
          <p14:tracePt t="38599" x="5157788" y="3925888"/>
          <p14:tracePt t="38607" x="5183188" y="3935413"/>
          <p14:tracePt t="38615" x="5216525" y="3935413"/>
          <p14:tracePt t="38623" x="5241925" y="3935413"/>
          <p14:tracePt t="38631" x="5318125" y="3935413"/>
          <p14:tracePt t="38639" x="5394325" y="3935413"/>
          <p14:tracePt t="38647" x="5497513" y="3935413"/>
          <p14:tracePt t="38655" x="5632450" y="3935413"/>
          <p14:tracePt t="38663" x="5761038" y="3935413"/>
          <p14:tracePt t="38671" x="5913438" y="3935413"/>
          <p14:tracePt t="38679" x="5997575" y="3935413"/>
          <p14:tracePt t="38688" x="6083300" y="3935413"/>
          <p14:tracePt t="38695" x="6116638" y="3935413"/>
          <p14:tracePt t="38706" x="6134100" y="3935413"/>
          <p14:tracePt t="39022" x="6116638" y="3935413"/>
          <p14:tracePt t="39030" x="6108700" y="3935413"/>
          <p14:tracePt t="39038" x="6083300" y="3935413"/>
          <p14:tracePt t="39046" x="6040438" y="3943350"/>
          <p14:tracePt t="39054" x="6007100" y="3951288"/>
          <p14:tracePt t="39063" x="5946775" y="3960813"/>
          <p14:tracePt t="39070" x="5913438" y="3960813"/>
          <p14:tracePt t="39079" x="5888038" y="3968750"/>
          <p14:tracePt t="39089" x="5853113" y="3968750"/>
          <p14:tracePt t="39095" x="5819775" y="3968750"/>
          <p14:tracePt t="39105" x="5786438" y="3968750"/>
          <p14:tracePt t="39111" x="5768975" y="3968750"/>
          <p14:tracePt t="39121" x="5743575" y="3968750"/>
          <p14:tracePt t="39127" x="5718175" y="3968750"/>
          <p14:tracePt t="39136" x="5700713" y="3968750"/>
          <p14:tracePt t="39143" x="5683250" y="3968750"/>
          <p14:tracePt t="39152" x="5675313" y="3960813"/>
          <p14:tracePt t="39175" x="5667375" y="3960813"/>
          <p14:tracePt t="39199" x="5657850" y="3960813"/>
          <p14:tracePt t="39486" x="5649913" y="3960813"/>
          <p14:tracePt t="39527" x="5657850" y="3951288"/>
          <p14:tracePt t="39537" x="5683250" y="3943350"/>
          <p14:tracePt t="39543" x="5718175" y="3925888"/>
          <p14:tracePt t="39553" x="5768975" y="3900488"/>
          <p14:tracePt t="39559" x="5794375" y="3883025"/>
          <p14:tracePt t="39566" x="5845175" y="3875088"/>
          <p14:tracePt t="39574" x="5880100" y="3867150"/>
          <p14:tracePt t="39582" x="5905500" y="3867150"/>
          <p14:tracePt t="39590" x="5930900" y="3867150"/>
          <p14:tracePt t="39598" x="5938838" y="3867150"/>
          <p14:tracePt t="39606" x="5946775" y="3867150"/>
          <p14:tracePt t="39614" x="5946775" y="3857625"/>
          <p14:tracePt t="39704" x="5956300" y="3857625"/>
          <p14:tracePt t="39736" x="5964238" y="3857625"/>
          <p14:tracePt t="39752" x="5964238" y="3867150"/>
          <p14:tracePt t="39759" x="5964238" y="3883025"/>
          <p14:tracePt t="39775" x="5946775" y="3883025"/>
          <p14:tracePt t="39904" x="5938838" y="3883025"/>
          <p14:tracePt t="39911" x="5921375" y="3883025"/>
          <p14:tracePt t="39921" x="5888038" y="3883025"/>
          <p14:tracePt t="39927" x="5870575" y="3883025"/>
          <p14:tracePt t="39937" x="5845175" y="3883025"/>
          <p14:tracePt t="39959" x="5776913" y="3883025"/>
          <p14:tracePt t="39967" x="5751513" y="3883025"/>
          <p14:tracePt t="39975" x="5735638" y="3883025"/>
          <p14:tracePt t="39983" x="5718175" y="3883025"/>
          <p14:tracePt t="39991" x="5692775" y="3883025"/>
          <p14:tracePt t="39999" x="5667375" y="3883025"/>
          <p14:tracePt t="40012" x="5657850" y="3875088"/>
          <p14:tracePt t="40015" x="5641975" y="3875088"/>
          <p14:tracePt t="40022" x="5632450" y="3875088"/>
          <p14:tracePt t="40110" x="5649913" y="3875088"/>
          <p14:tracePt t="40119" x="5657850" y="3883025"/>
          <p14:tracePt t="40126" x="5708650" y="3892550"/>
          <p14:tracePt t="40135" x="5751513" y="3917950"/>
          <p14:tracePt t="40143" x="5870575" y="3925888"/>
          <p14:tracePt t="40152" x="5981700" y="3951288"/>
          <p14:tracePt t="40159" x="6108700" y="3968750"/>
          <p14:tracePt t="40167" x="6296025" y="3994150"/>
          <p14:tracePt t="40175" x="6456363" y="4019550"/>
          <p14:tracePt t="40183" x="6737350" y="4070350"/>
          <p14:tracePt t="40191" x="6907213" y="4070350"/>
          <p14:tracePt t="40199" x="7112000" y="4070350"/>
          <p14:tracePt t="40207" x="7264400" y="4070350"/>
          <p14:tracePt t="40215" x="7434263" y="4070350"/>
          <p14:tracePt t="40223" x="7535863" y="4070350"/>
          <p14:tracePt t="40231" x="7621588" y="4070350"/>
          <p14:tracePt t="40239" x="7723188" y="4070350"/>
          <p14:tracePt t="40247" x="7781925" y="4070350"/>
          <p14:tracePt t="40256" x="7850188" y="4070350"/>
          <p14:tracePt t="40263" x="7910513" y="4070350"/>
          <p14:tracePt t="40272" x="7977188" y="4070350"/>
          <p14:tracePt t="40279" x="8012113" y="4070350"/>
          <p14:tracePt t="40288" x="8045450" y="4070350"/>
          <p14:tracePt t="40295" x="8054975" y="4070350"/>
          <p14:tracePt t="40305" x="8070850" y="4070350"/>
          <p14:tracePt t="40311" x="8080375" y="4079875"/>
          <p14:tracePt t="40327" x="8080375" y="4087813"/>
          <p14:tracePt t="40336" x="8080375" y="4095750"/>
          <p14:tracePt t="40343" x="8080375" y="4121150"/>
          <p14:tracePt t="40352" x="8080375" y="4156075"/>
          <p14:tracePt t="40358" x="8062913" y="4171950"/>
          <p14:tracePt t="40367" x="8054975" y="4189413"/>
          <p14:tracePt t="40375" x="8037513" y="4206875"/>
          <p14:tracePt t="40591" x="8029575" y="4206875"/>
          <p14:tracePt t="40599" x="8029575" y="4197350"/>
          <p14:tracePt t="40607" x="8020050" y="4189413"/>
          <p14:tracePt t="40615" x="8020050" y="4181475"/>
          <p14:tracePt t="40622" x="8020050" y="4171950"/>
          <p14:tracePt t="40654" x="8012113" y="4171950"/>
          <p14:tracePt t="40686" x="8020050" y="4171950"/>
          <p14:tracePt t="40703" x="8029575" y="4197350"/>
          <p14:tracePt t="40711" x="8029575" y="4214813"/>
          <p14:tracePt t="40721" x="8037513" y="4240213"/>
          <p14:tracePt t="40727" x="8045450" y="4249738"/>
          <p14:tracePt t="40737" x="8045450" y="4257675"/>
          <p14:tracePt t="40766" x="8054975" y="4257675"/>
          <p14:tracePt t="40782" x="8070850" y="4257675"/>
          <p14:tracePt t="40798" x="8080375" y="4249738"/>
          <p14:tracePt t="40806" x="8105775" y="4232275"/>
          <p14:tracePt t="40814" x="8131175" y="4232275"/>
          <p14:tracePt t="40822" x="8156575" y="4224338"/>
          <p14:tracePt t="40830" x="8189913" y="4206875"/>
          <p14:tracePt t="40838" x="8207375" y="4197350"/>
          <p14:tracePt t="40846" x="8266113" y="4189413"/>
          <p14:tracePt t="40854" x="8301038" y="4181475"/>
          <p14:tracePt t="40863" x="8369300" y="4171950"/>
          <p14:tracePt t="40871" x="8428038" y="4164013"/>
          <p14:tracePt t="40879" x="8504238" y="4156075"/>
          <p14:tracePt t="40889" x="8564563" y="4138613"/>
          <p14:tracePt t="40895" x="8597900" y="4138613"/>
          <p14:tracePt t="40904" x="8648700" y="4138613"/>
          <p14:tracePt t="40911" x="8674100" y="4138613"/>
          <p14:tracePt t="40920" x="8691563" y="4138613"/>
          <p14:tracePt t="40927" x="8709025" y="4138613"/>
          <p14:tracePt t="40938" x="8716963" y="4138613"/>
          <p14:tracePt t="43271" x="8699500" y="4138613"/>
          <p14:tracePt t="43279" x="8691563" y="4146550"/>
          <p14:tracePt t="43288" x="8666163" y="4156075"/>
          <p14:tracePt t="43295" x="8605838" y="4164013"/>
          <p14:tracePt t="43305" x="8580438" y="4164013"/>
          <p14:tracePt t="43311" x="8539163" y="4171950"/>
          <p14:tracePt t="43322" x="8504238" y="4181475"/>
          <p14:tracePt t="43327" x="8470900" y="4181475"/>
          <p14:tracePt t="43337" x="8445500" y="4189413"/>
          <p14:tracePt t="43344" x="8428038" y="4189413"/>
          <p14:tracePt t="43352" x="8394700" y="4197350"/>
          <p14:tracePt t="43359" x="8369300" y="4197350"/>
          <p14:tracePt t="43369" x="8334375" y="4197350"/>
          <p14:tracePt t="43375" x="8318500" y="4197350"/>
          <p14:tracePt t="43383" x="8275638" y="4197350"/>
          <p14:tracePt t="43391" x="8207375" y="4214813"/>
          <p14:tracePt t="43400" x="8080375" y="4240213"/>
          <p14:tracePt t="43406" x="7951788" y="4249738"/>
          <p14:tracePt t="43415" x="7791450" y="4291013"/>
          <p14:tracePt t="43423" x="7366000" y="4368800"/>
          <p14:tracePt t="43431" x="7069138" y="4402138"/>
          <p14:tracePt t="43439" x="6610350" y="4402138"/>
          <p14:tracePt t="43446" x="6286500" y="4402138"/>
          <p14:tracePt t="43455" x="5888038" y="4402138"/>
          <p14:tracePt t="43462" x="5649913" y="4402138"/>
          <p14:tracePt t="43470" x="5429250" y="4368800"/>
          <p14:tracePt t="43478" x="5183188" y="4333875"/>
          <p14:tracePt t="43486" x="5054600" y="4325938"/>
          <p14:tracePt t="43494" x="4902200" y="4325938"/>
          <p14:tracePt t="43503" x="4791075" y="4325938"/>
          <p14:tracePt t="43510" x="4673600" y="4325938"/>
          <p14:tracePt t="43519" x="4605338" y="4333875"/>
          <p14:tracePt t="43526" x="4511675" y="4341813"/>
          <p14:tracePt t="43534" x="4451350" y="4368800"/>
          <p14:tracePt t="43542" x="4392613" y="4376738"/>
          <p14:tracePt t="43550" x="4306888" y="4384675"/>
          <p14:tracePt t="43558" x="4248150" y="4394200"/>
          <p14:tracePt t="43566" x="4162425" y="4410075"/>
          <p14:tracePt t="43574" x="4129088" y="4419600"/>
          <p14:tracePt t="43582" x="4086225" y="4427538"/>
          <p14:tracePt t="43590" x="4052888" y="4427538"/>
          <p14:tracePt t="43599" x="4010025" y="4435475"/>
          <p14:tracePt t="43606" x="3976688" y="4445000"/>
          <p14:tracePt t="43614" x="3951288" y="4445000"/>
          <p14:tracePt t="43622" x="3908425" y="4452938"/>
          <p14:tracePt t="43630" x="3883025" y="4460875"/>
          <p14:tracePt t="43638" x="3840163" y="4470400"/>
          <p14:tracePt t="43646" x="3797300" y="4470400"/>
          <p14:tracePt t="43654" x="3738563" y="4478338"/>
          <p14:tracePt t="43663" x="3695700" y="4478338"/>
          <p14:tracePt t="43671" x="3611563" y="4478338"/>
          <p14:tracePt t="43679" x="3568700" y="4478338"/>
          <p14:tracePt t="43687" x="3517900" y="4478338"/>
          <p14:tracePt t="43695" x="3457575" y="4486275"/>
          <p14:tracePt t="43703" x="3414713" y="4495800"/>
          <p14:tracePt t="43711" x="3355975" y="4503738"/>
          <p14:tracePt t="43720" x="3330575" y="4521200"/>
          <p14:tracePt t="43726" x="3297238" y="4538663"/>
          <p14:tracePt t="43736" x="3287713" y="4546600"/>
          <p14:tracePt t="43743" x="3287713" y="4554538"/>
          <p14:tracePt t="43752" x="3279775" y="4554538"/>
          <p14:tracePt t="43774" x="3305175" y="4554538"/>
          <p14:tracePt t="43782" x="3338513" y="4538663"/>
          <p14:tracePt t="43790" x="3373438" y="4521200"/>
          <p14:tracePt t="43798" x="3406775" y="4503738"/>
          <p14:tracePt t="43806" x="3414713" y="4495800"/>
          <p14:tracePt t="43814" x="3424238" y="4486275"/>
          <p14:tracePt t="43830" x="3432175" y="4478338"/>
          <p14:tracePt t="43838" x="3449638" y="4470400"/>
          <p14:tracePt t="43846" x="3482975" y="4452938"/>
          <p14:tracePt t="43854" x="3559175" y="4427538"/>
          <p14:tracePt t="43863" x="3662363" y="4410075"/>
          <p14:tracePt t="43871" x="3865563" y="4384675"/>
          <p14:tracePt t="43879" x="4017963" y="4384675"/>
          <p14:tracePt t="43888" x="4256088" y="4384675"/>
          <p14:tracePt t="43895" x="4410075" y="4384675"/>
          <p14:tracePt t="43906" x="4537075" y="4384675"/>
          <p14:tracePt t="43911" x="4638675" y="4394200"/>
          <p14:tracePt t="43922" x="4656138" y="4394200"/>
          <p14:tracePt t="43927" x="4664075" y="4394200"/>
          <p14:tracePt t="43956" x="4579938" y="4376738"/>
          <p14:tracePt t="43958" x="4460875" y="4341813"/>
          <p14:tracePt t="43966" x="4349750" y="4333875"/>
          <p14:tracePt t="43974" x="4222750" y="4308475"/>
          <p14:tracePt t="43982" x="4002088" y="4283075"/>
          <p14:tracePt t="43990" x="3883025" y="4257675"/>
          <p14:tracePt t="43998" x="3721100" y="4232275"/>
          <p14:tracePt t="44006" x="3636963" y="4224338"/>
          <p14:tracePt t="44014" x="3568700" y="4214813"/>
          <p14:tracePt t="44023" x="3543300" y="4214813"/>
          <p14:tracePt t="44030" x="3533775" y="4214813"/>
          <p14:tracePt t="44070" x="3559175" y="4232275"/>
          <p14:tracePt t="44078" x="3586163" y="4249738"/>
          <p14:tracePt t="44086" x="3619500" y="4265613"/>
          <p14:tracePt t="44094" x="3652838" y="4275138"/>
          <p14:tracePt t="44102" x="3713163" y="4275138"/>
          <p14:tracePt t="44110" x="3729038" y="4283075"/>
          <p14:tracePt t="44118" x="3746500" y="4283075"/>
          <p14:tracePt t="44126" x="3763963" y="4283075"/>
          <p14:tracePt t="44134" x="3771900" y="4283075"/>
          <p14:tracePt t="44206" x="3781425" y="4283075"/>
          <p14:tracePt t="44213" x="3814763" y="4283075"/>
          <p14:tracePt t="44222" x="3865563" y="4283075"/>
          <p14:tracePt t="44230" x="4010025" y="4300538"/>
          <p14:tracePt t="44238" x="4187825" y="4325938"/>
          <p14:tracePt t="44246" x="4545013" y="4341813"/>
          <p14:tracePt t="44254" x="4868863" y="4376738"/>
          <p14:tracePt t="44262" x="5421313" y="4376738"/>
          <p14:tracePt t="44270" x="5819775" y="4376738"/>
          <p14:tracePt t="44278" x="6227763" y="4376738"/>
          <p14:tracePt t="44286" x="6737350" y="4376738"/>
          <p14:tracePt t="44294" x="7145338" y="4376738"/>
          <p14:tracePt t="44302" x="7637463" y="4376738"/>
          <p14:tracePt t="44310" x="7926388" y="4376738"/>
          <p14:tracePt t="44318" x="8266113" y="4300538"/>
          <p14:tracePt t="44326" x="8462963" y="4257675"/>
          <p14:tracePt t="44334" x="8580438" y="4232275"/>
          <p14:tracePt t="44342" x="8683625" y="4224338"/>
          <p14:tracePt t="44350" x="8742363" y="4214813"/>
          <p14:tracePt t="44358" x="8777288" y="4206875"/>
          <p14:tracePt t="44366" x="8785225" y="4206875"/>
          <p14:tracePt t="44374" x="8802688" y="4197350"/>
          <p14:tracePt t="44382" x="8810625" y="4197350"/>
          <p14:tracePt t="44422" x="8818563" y="4197350"/>
          <p14:tracePt t="44430" x="8828088" y="4197350"/>
          <p14:tracePt t="44439" x="8836025" y="4206875"/>
          <p14:tracePt t="44446" x="8861425" y="4224338"/>
          <p14:tracePt t="44454" x="8894763" y="4240213"/>
          <p14:tracePt t="44462" x="8972550" y="4265613"/>
          <p14:tracePt t="44470" x="9048750" y="4275138"/>
          <p14:tracePt t="44478" x="9150350" y="4300538"/>
          <p14:tracePt t="44486" x="9286875" y="4325938"/>
          <p14:tracePt t="44495" x="9388475" y="4341813"/>
          <p14:tracePt t="44504" x="9464675" y="4376738"/>
          <p14:tracePt t="44511" x="9498013" y="4394200"/>
          <p14:tracePt t="44520" x="9507538" y="4410075"/>
          <p14:tracePt t="44527" x="9498013" y="4419600"/>
          <p14:tracePt t="44535" x="9456738" y="4427538"/>
          <p14:tracePt t="44543" x="9439275" y="4435475"/>
          <p14:tracePt t="44775" x="9447213" y="4435475"/>
          <p14:tracePt t="44783" x="9456738" y="4452938"/>
          <p14:tracePt t="44807" x="9464675" y="4452938"/>
          <p14:tracePt t="44815" x="9464675" y="4445000"/>
          <p14:tracePt t="44823" x="9472613" y="4435475"/>
          <p14:tracePt t="44839" x="9482138" y="4427538"/>
          <p14:tracePt t="44855" x="9482138" y="4419600"/>
          <p14:tracePt t="45199" x="9498013" y="4419600"/>
          <p14:tracePt t="45206" x="9575800" y="4419600"/>
          <p14:tracePt t="45214" x="9685338" y="4419600"/>
          <p14:tracePt t="45222" x="9855200" y="4419600"/>
          <p14:tracePt t="45230" x="9956800" y="4419600"/>
          <p14:tracePt t="45238" x="10017125" y="4384675"/>
          <p14:tracePt t="45246" x="10050463" y="4368800"/>
          <p14:tracePt t="45254" x="10067925" y="4341813"/>
          <p14:tracePt t="45262" x="10067925" y="4333875"/>
          <p14:tracePt t="45270" x="10067925" y="4316413"/>
          <p14:tracePt t="45279" x="10067925" y="4291013"/>
          <p14:tracePt t="45288" x="10067925" y="4257675"/>
          <p14:tracePt t="45294" x="10050463" y="4197350"/>
          <p14:tracePt t="45304" x="10025063" y="4171950"/>
          <p14:tracePt t="45311" x="9974263" y="4156075"/>
          <p14:tracePt t="45320" x="9956800" y="4138613"/>
          <p14:tracePt t="45326" x="9931400" y="4121150"/>
          <p14:tracePt t="45335" x="9906000" y="4113213"/>
          <p14:tracePt t="45342" x="9890125" y="4113213"/>
          <p14:tracePt t="45350" x="9880600" y="4105275"/>
          <p14:tracePt t="45358" x="9864725" y="4105275"/>
          <p14:tracePt t="45366" x="9855200" y="4095750"/>
          <p14:tracePt t="45374" x="9847263" y="4095750"/>
          <p14:tracePt t="45382" x="9847263" y="4087813"/>
          <p14:tracePt t="45431" x="9839325" y="4087813"/>
          <p14:tracePt t="45439" x="9839325" y="4079875"/>
          <p14:tracePt t="45447" x="9829800" y="4062413"/>
          <p14:tracePt t="45463" x="9829800" y="4052888"/>
          <p14:tracePt t="45472" x="9821863" y="4037013"/>
          <p14:tracePt t="45479" x="9821863" y="4027488"/>
          <p14:tracePt t="45489" x="9812338" y="4019550"/>
          <p14:tracePt t="45495" x="9804400" y="4002088"/>
          <p14:tracePt t="45505" x="9796463" y="3986213"/>
          <p14:tracePt t="45511" x="9796463" y="3968750"/>
          <p14:tracePt t="45522" x="9786938" y="3951288"/>
          <p14:tracePt t="45527" x="9779000" y="3943350"/>
          <p14:tracePt t="45536" x="9771063" y="3935413"/>
          <p14:tracePt t="45543" x="9761538" y="3925888"/>
          <p14:tracePt t="45559" x="9753600" y="3925888"/>
          <p14:tracePt t="45567" x="9745663" y="3925888"/>
          <p14:tracePt t="45575" x="9736138" y="3925888"/>
          <p14:tracePt t="45583" x="9728200" y="3925888"/>
          <p14:tracePt t="45591" x="9720263" y="3917950"/>
          <p14:tracePt t="45599" x="9710738" y="3917950"/>
          <p14:tracePt t="45608" x="9694863" y="3917950"/>
          <p14:tracePt t="45623" x="9685338" y="3917950"/>
          <p14:tracePt t="45631" x="9677400" y="3917950"/>
          <p14:tracePt t="45639" x="9667875" y="3917950"/>
          <p14:tracePt t="45647" x="9652000" y="3917950"/>
          <p14:tracePt t="45654" x="9634538" y="3917950"/>
          <p14:tracePt t="45663" x="9626600" y="3917950"/>
          <p14:tracePt t="45672" x="9617075" y="3917950"/>
          <p14:tracePt t="45679" x="9609138" y="3917950"/>
          <p14:tracePt t="45689" x="9591675" y="3917950"/>
          <p14:tracePt t="45694" x="9591675" y="3908425"/>
          <p14:tracePt t="45711" x="9583738" y="3908425"/>
          <p14:tracePt t="45783" x="9566275" y="3908425"/>
          <p14:tracePt t="45791" x="9558338" y="3908425"/>
          <p14:tracePt t="45799" x="9550400" y="3908425"/>
          <p14:tracePt t="45807" x="9532938" y="3908425"/>
          <p14:tracePt t="45815" x="9523413" y="3908425"/>
          <p14:tracePt t="45824" x="9515475" y="3908425"/>
          <p14:tracePt t="45831" x="9507538" y="3908425"/>
          <p14:tracePt t="45911" x="9507538" y="3900488"/>
          <p14:tracePt t="47463" x="9515475" y="3900488"/>
          <p14:tracePt t="47471" x="9550400" y="3900488"/>
          <p14:tracePt t="47479" x="9575800" y="3900488"/>
          <p14:tracePt t="47488" x="9626600" y="3908425"/>
          <p14:tracePt t="47495" x="9659938" y="3917950"/>
          <p14:tracePt t="47505" x="9702800" y="3935413"/>
          <p14:tracePt t="47511" x="9779000" y="3943350"/>
          <p14:tracePt t="47522" x="9839325" y="3951288"/>
          <p14:tracePt t="47527" x="9923463" y="3960813"/>
          <p14:tracePt t="47539" x="9999663" y="3986213"/>
          <p14:tracePt t="47543" x="10085388" y="3994150"/>
          <p14:tracePt t="47554" x="10136188" y="4011613"/>
          <p14:tracePt t="47559" x="10169525" y="4027488"/>
          <p14:tracePt t="47568" x="10212388" y="4052888"/>
          <p14:tracePt t="47576" x="10245725" y="4070350"/>
          <p14:tracePt t="47583" x="10280650" y="4079875"/>
          <p14:tracePt t="47591" x="10298113" y="4079875"/>
          <p14:tracePt t="47599" x="10306050" y="4095750"/>
          <p14:tracePt t="47606" x="10313988" y="4105275"/>
          <p14:tracePt t="47630" x="10313988" y="4113213"/>
          <p14:tracePt t="47646" x="10313988" y="4130675"/>
          <p14:tracePt t="47654" x="10313988" y="4146550"/>
          <p14:tracePt t="47662" x="10313988" y="4171950"/>
          <p14:tracePt t="47670" x="10313988" y="4206875"/>
          <p14:tracePt t="47679" x="10306050" y="4240213"/>
          <p14:tracePt t="47687" x="10306050" y="4275138"/>
          <p14:tracePt t="47695" x="10306050" y="4291013"/>
          <p14:tracePt t="47704" x="10313988" y="4316413"/>
          <p14:tracePt t="47711" x="10313988" y="4333875"/>
          <p14:tracePt t="47720" x="10323513" y="4333875"/>
          <p14:tracePt t="47727" x="10339388" y="4333875"/>
          <p14:tracePt t="47943" x="10339388" y="4325938"/>
          <p14:tracePt t="47959" x="10331450" y="4325938"/>
          <p14:tracePt t="47975" x="10339388" y="4300538"/>
          <p14:tracePt t="47991" x="10331450" y="4300538"/>
          <p14:tracePt t="47999" x="10323513" y="4300538"/>
          <p14:tracePt t="48006" x="10306050" y="4300538"/>
          <p14:tracePt t="48014" x="10298113" y="4308475"/>
          <p14:tracePt t="48022" x="10288588" y="4308475"/>
          <p14:tracePt t="48030" x="10271125" y="4308475"/>
          <p14:tracePt t="48054" x="10263188" y="4308475"/>
          <p14:tracePt t="48070" x="10255250" y="4325938"/>
          <p14:tracePt t="48078" x="10245725" y="4325938"/>
          <p14:tracePt t="48087" x="10229850" y="4341813"/>
          <p14:tracePt t="48094" x="10212388" y="4351338"/>
          <p14:tracePt t="48102" x="10169525" y="4376738"/>
          <p14:tracePt t="48110" x="10144125" y="4384675"/>
          <p14:tracePt t="48119" x="10075863" y="4410075"/>
          <p14:tracePt t="48126" x="10034588" y="4427538"/>
          <p14:tracePt t="48135" x="9956800" y="4460875"/>
          <p14:tracePt t="48143" x="9864725" y="4503738"/>
          <p14:tracePt t="48152" x="9779000" y="4529138"/>
          <p14:tracePt t="48159" x="9685338" y="4564063"/>
          <p14:tracePt t="48168" x="9609138" y="4589463"/>
          <p14:tracePt t="48175" x="9550400" y="4597400"/>
          <p14:tracePt t="48183" x="9507538" y="4605338"/>
          <p14:tracePt t="48191" x="9472613" y="4605338"/>
          <p14:tracePt t="48199" x="9456738" y="4614863"/>
          <p14:tracePt t="48207" x="9447213" y="4614863"/>
          <p14:tracePt t="48215" x="9431338" y="4614863"/>
          <p14:tracePt t="48230" x="9421813" y="4614863"/>
          <p14:tracePt t="48294" x="9413875" y="4614863"/>
          <p14:tracePt t="48303" x="9413875" y="4605338"/>
          <p14:tracePt t="48321" x="9413875" y="4597400"/>
          <p14:tracePt t="48327" x="9405938" y="4597400"/>
          <p14:tracePt t="48337" x="9405938" y="4589463"/>
          <p14:tracePt t="48343" x="9405938" y="4579938"/>
          <p14:tracePt t="48359" x="9388475" y="4579938"/>
          <p14:tracePt t="48368" x="9388475" y="4572000"/>
          <p14:tracePt t="48375" x="9380538" y="4564063"/>
          <p14:tracePt t="48415" x="9380538" y="4554538"/>
          <p14:tracePt t="48423" x="9371013" y="4546600"/>
          <p14:tracePt t="48439" x="9371013" y="4538663"/>
          <p14:tracePt t="48455" x="9371013" y="4529138"/>
          <p14:tracePt t="48463" x="9363075" y="4521200"/>
          <p14:tracePt t="48488" x="9363075" y="4513263"/>
          <p14:tracePt t="48600" x="9353550" y="4513263"/>
          <p14:tracePt t="48616" x="9345613" y="4513263"/>
          <p14:tracePt t="48631" x="9337675" y="4513263"/>
          <p14:tracePt t="48639" x="9328150" y="4513263"/>
          <p14:tracePt t="48646" x="9320213" y="4513263"/>
          <p14:tracePt t="48655" x="9320213" y="4503738"/>
          <p14:tracePt t="48782" x="9312275" y="4503738"/>
          <p14:tracePt t="48790" x="9302750" y="4503738"/>
          <p14:tracePt t="48806" x="9294813" y="4503738"/>
          <p14:tracePt t="48815" x="9286875" y="4503738"/>
          <p14:tracePt t="48822" x="9277350" y="4503738"/>
          <p14:tracePt t="48839" x="9261475" y="4495800"/>
          <p14:tracePt t="48847" x="9244013" y="4495800"/>
          <p14:tracePt t="48863" x="9226550" y="4495800"/>
          <p14:tracePt t="48871" x="9218613" y="4495800"/>
          <p14:tracePt t="48879" x="9209088" y="4495800"/>
          <p14:tracePt t="48888" x="9201150" y="4495800"/>
          <p14:tracePt t="50055" x="9183688" y="4495800"/>
          <p14:tracePt t="50063" x="9175750" y="4495800"/>
          <p14:tracePt t="50071" x="9167813" y="4495800"/>
          <p14:tracePt t="50081" x="9158288" y="4495800"/>
          <p14:tracePt t="50088" x="9150350" y="4495800"/>
          <p14:tracePt t="50175" x="9150350" y="4486275"/>
          <p14:tracePt t="52031" x="9167813" y="4486275"/>
          <p14:tracePt t="52047" x="9201150" y="4486275"/>
          <p14:tracePt t="52055" x="9269413" y="4503738"/>
          <p14:tracePt t="52063" x="9405938" y="4564063"/>
          <p14:tracePt t="52075" x="9523413" y="4640263"/>
          <p14:tracePt t="52081" x="9804400" y="4759325"/>
          <p14:tracePt t="52087" x="10050463" y="4878388"/>
          <p14:tracePt t="52095" x="10271125" y="5005388"/>
          <p14:tracePt t="52103" x="10509250" y="5175250"/>
          <p14:tracePt t="52111" x="10628313" y="5251450"/>
          <p14:tracePt t="52119" x="10747375" y="5337175"/>
          <p14:tracePt t="52126" x="10823575" y="5405438"/>
          <p14:tracePt t="52136" x="10891838" y="5464175"/>
          <p14:tracePt t="52143" x="10926763" y="5481638"/>
          <p14:tracePt t="52151" x="10942638" y="5489575"/>
          <p14:tracePt t="52159" x="10952163" y="5507038"/>
          <p14:tracePt t="52166" x="10952163" y="5524500"/>
          <p14:tracePt t="52175" x="10952163" y="5532438"/>
          <p14:tracePt t="52182" x="10952163" y="5549900"/>
          <p14:tracePt t="52190" x="10952163" y="5557838"/>
          <p14:tracePt t="52198" x="10934700" y="5565775"/>
          <p14:tracePt t="52206" x="10926763" y="5575300"/>
          <p14:tracePt t="52215" x="10909300" y="5583238"/>
          <p14:tracePt t="52222" x="10891838" y="5583238"/>
          <p14:tracePt t="52231" x="10883900" y="5591175"/>
          <p14:tracePt t="52238" x="10866438" y="5591175"/>
          <p14:tracePt t="52247" x="10848975" y="5600700"/>
          <p14:tracePt t="52270" x="10841038" y="5600700"/>
          <p14:tracePt t="52337" x="10833100" y="5600700"/>
          <p14:tracePt t="52343" x="10823575" y="5608638"/>
          <p14:tracePt t="52353" x="10807700" y="5608638"/>
          <p14:tracePt t="52358" x="10790238" y="5608638"/>
          <p14:tracePt t="52366" x="10764838" y="5591175"/>
          <p14:tracePt t="52374" x="10729913" y="5557838"/>
          <p14:tracePt t="52382" x="10729913" y="5549900"/>
          <p14:tracePt t="52679" x="10721975" y="5532438"/>
          <p14:tracePt t="52687" x="10721975" y="5524500"/>
          <p14:tracePt t="52695" x="10721975" y="5514975"/>
          <p14:tracePt t="52705" x="10721975" y="5497513"/>
          <p14:tracePt t="52711" x="10714038" y="5489575"/>
          <p14:tracePt t="52722" x="10696575" y="5472113"/>
          <p14:tracePt t="52727" x="10688638" y="5456238"/>
          <p14:tracePt t="52739" x="10663238" y="5430838"/>
          <p14:tracePt t="52743" x="10645775" y="5395913"/>
          <p14:tracePt t="52753" x="10628313" y="5337175"/>
          <p14:tracePt t="52759" x="10628313" y="5302250"/>
          <p14:tracePt t="52768" x="10620375" y="5251450"/>
          <p14:tracePt t="52775" x="10612438" y="5192713"/>
          <p14:tracePt t="52785" x="10594975" y="5106988"/>
          <p14:tracePt t="52791" x="10585450" y="5048250"/>
          <p14:tracePt t="52800" x="10585450" y="4946650"/>
          <p14:tracePt t="52808" x="10585450" y="4868863"/>
          <p14:tracePt t="52815" x="10585450" y="4818063"/>
          <p14:tracePt t="52823" x="10585450" y="4759325"/>
          <p14:tracePt t="52831" x="10585450" y="4724400"/>
          <p14:tracePt t="52839" x="10577513" y="4699000"/>
          <p14:tracePt t="53007" x="10577513" y="4691063"/>
          <p14:tracePt t="53079" x="10594975" y="4683125"/>
          <p14:tracePt t="53096" x="10602913" y="4683125"/>
          <p14:tracePt t="53103" x="10620375" y="4673600"/>
          <p14:tracePt t="53127" x="10628313" y="4673600"/>
          <p14:tracePt t="53143" x="10637838" y="4673600"/>
          <p14:tracePt t="53159" x="10653713" y="4673600"/>
          <p14:tracePt t="53168" x="10663238" y="4673600"/>
          <p14:tracePt t="53185" x="10663238" y="4683125"/>
          <p14:tracePt t="53199" x="10671175" y="4683125"/>
          <p14:tracePt t="53207" x="10688638" y="4683125"/>
          <p14:tracePt t="53216" x="10688638" y="4691063"/>
          <p14:tracePt t="53224" x="10696575" y="4691063"/>
          <p14:tracePt t="53230" x="10704513" y="4699000"/>
          <p14:tracePt t="53238" x="10714038" y="4708525"/>
          <p14:tracePt t="53254" x="10729913" y="4716463"/>
          <p14:tracePt t="53262" x="10739438" y="4716463"/>
          <p14:tracePt t="53270" x="10747375" y="4716463"/>
          <p14:tracePt t="53278" x="10764838" y="4724400"/>
          <p14:tracePt t="53287" x="10772775" y="4724400"/>
          <p14:tracePt t="53294" x="10782300" y="4733925"/>
          <p14:tracePt t="53302" x="10790238" y="4733925"/>
          <p14:tracePt t="53310" x="10807700" y="4733925"/>
          <p14:tracePt t="53320" x="10815638" y="4741863"/>
          <p14:tracePt t="53326" x="10833100" y="4741863"/>
          <p14:tracePt t="53337" x="10858500" y="4741863"/>
          <p14:tracePt t="53343" x="10866438" y="4741863"/>
          <p14:tracePt t="53352" x="10874375" y="4741863"/>
          <p14:tracePt t="53358" x="10883900" y="4741863"/>
          <p14:tracePt t="53366" x="10891838" y="4741863"/>
          <p14:tracePt t="53432" x="10901363" y="4749800"/>
          <p14:tracePt t="53439" x="10901363" y="4759325"/>
          <p14:tracePt t="53471" x="10901363" y="4767263"/>
          <p14:tracePt t="53479" x="10909300" y="4767263"/>
          <p14:tracePt t="53487" x="10891838" y="4792663"/>
          <p14:tracePt t="53502" x="10901363" y="4792663"/>
          <p14:tracePt t="53639" x="10891838" y="4792663"/>
          <p14:tracePt t="53647" x="10866438" y="4784725"/>
          <p14:tracePt t="53671" x="10858500" y="4784725"/>
          <p14:tracePt t="53790" x="10848975" y="4784725"/>
          <p14:tracePt t="53863" x="10841038" y="4784725"/>
          <p14:tracePt t="53871" x="10833100" y="4784725"/>
          <p14:tracePt t="53974" x="10823575" y="4784725"/>
          <p14:tracePt t="54753" x="10807700" y="4792663"/>
          <p14:tracePt t="54760" x="10782300" y="4810125"/>
          <p14:tracePt t="54766" x="10714038" y="4827588"/>
          <p14:tracePt t="54774" x="10653713" y="4852988"/>
          <p14:tracePt t="54782" x="10544175" y="4886325"/>
          <p14:tracePt t="54790" x="10442575" y="4894263"/>
          <p14:tracePt t="54798" x="10313988" y="4919663"/>
          <p14:tracePt t="54806" x="10093325" y="4946650"/>
          <p14:tracePt t="54814" x="9839325" y="4987925"/>
          <p14:tracePt t="54822" x="9482138" y="5013325"/>
          <p14:tracePt t="54830" x="9158288" y="5030788"/>
          <p14:tracePt t="54838" x="8615363" y="5030788"/>
          <p14:tracePt t="54846" x="8215313" y="5030788"/>
          <p14:tracePt t="54854" x="7697788" y="5030788"/>
          <p14:tracePt t="54862" x="7348538" y="5030788"/>
          <p14:tracePt t="54870" x="7026275" y="5030788"/>
          <p14:tracePt t="54879" x="6653213" y="5030788"/>
          <p14:tracePt t="54887" x="6499225" y="5030788"/>
          <p14:tracePt t="54895" x="6286500" y="5030788"/>
          <p14:tracePt t="54903" x="6159500" y="5030788"/>
          <p14:tracePt t="54911" x="6015038" y="5048250"/>
          <p14:tracePt t="54920" x="5930900" y="5073650"/>
          <p14:tracePt t="54926" x="5853113" y="5081588"/>
          <p14:tracePt t="54936" x="5786438" y="5091113"/>
          <p14:tracePt t="54954" x="5726113" y="5099050"/>
          <p14:tracePt t="54983" x="5761038" y="5099050"/>
          <p14:tracePt t="54991" x="5811838" y="5081588"/>
          <p14:tracePt t="54999" x="5888038" y="5048250"/>
          <p14:tracePt t="55007" x="5938838" y="5030788"/>
          <p14:tracePt t="55239" x="5956300" y="5022850"/>
          <p14:tracePt t="55247" x="5964238" y="5022850"/>
          <p14:tracePt t="55255" x="5981700" y="5022850"/>
          <p14:tracePt t="55263" x="5989638" y="5022850"/>
          <p14:tracePt t="55272" x="5989638" y="5030788"/>
          <p14:tracePt t="55279" x="5989638" y="5038725"/>
          <p14:tracePt t="55288" x="5989638" y="5056188"/>
          <p14:tracePt t="55320" x="5997575" y="5056188"/>
          <p14:tracePt t="55327" x="6007100" y="5056188"/>
          <p14:tracePt t="55338" x="6015038" y="5064125"/>
          <p14:tracePt t="55343" x="6040438" y="5064125"/>
          <p14:tracePt t="55354" x="6049963" y="5064125"/>
          <p14:tracePt t="55359" x="6057900" y="5064125"/>
          <p14:tracePt t="55399" x="6032500" y="5081588"/>
          <p14:tracePt t="55407" x="5997575" y="5099050"/>
          <p14:tracePt t="55416" x="5921375" y="5132388"/>
          <p14:tracePt t="55424" x="5862638" y="5157788"/>
          <p14:tracePt t="55431" x="5743575" y="5200650"/>
          <p14:tracePt t="55441" x="5657850" y="5226050"/>
          <p14:tracePt t="55447" x="5573713" y="5251450"/>
          <p14:tracePt t="55455" x="5472113" y="5260975"/>
          <p14:tracePt t="55462" x="5394325" y="5276850"/>
          <p14:tracePt t="55470" x="5310188" y="5276850"/>
          <p14:tracePt t="55479" x="5249863" y="5276850"/>
          <p14:tracePt t="55487" x="5183188" y="5276850"/>
          <p14:tracePt t="55495" x="5122863" y="5276850"/>
          <p14:tracePt t="55504" x="5038725" y="5276850"/>
          <p14:tracePt t="55510" x="4910138" y="5276850"/>
          <p14:tracePt t="55521" x="4800600" y="5268913"/>
          <p14:tracePt t="55527" x="4673600" y="5251450"/>
          <p14:tracePt t="55536" x="4570413" y="5226050"/>
          <p14:tracePt t="55543" x="4425950" y="5208588"/>
          <p14:tracePt t="55553" x="4341813" y="5208588"/>
          <p14:tracePt t="55559" x="4240213" y="5208588"/>
          <p14:tracePt t="55566" x="4171950" y="5208588"/>
          <p14:tracePt t="55575" x="4111625" y="5208588"/>
          <p14:tracePt t="55583" x="4044950" y="5208588"/>
          <p14:tracePt t="55591" x="4002088" y="5208588"/>
          <p14:tracePt t="55599" x="3951288" y="5208588"/>
          <p14:tracePt t="55607" x="3933825" y="5208588"/>
          <p14:tracePt t="55615" x="3925888" y="5208588"/>
          <p14:tracePt t="55655" x="3916363" y="5208588"/>
          <p14:tracePt t="55687" x="3908425" y="5200650"/>
          <p14:tracePt t="55695" x="3900488" y="5192713"/>
          <p14:tracePt t="55703" x="3883025" y="5183188"/>
          <p14:tracePt t="55711" x="3865563" y="5175250"/>
          <p14:tracePt t="55719" x="3848100" y="5167313"/>
          <p14:tracePt t="55726" x="3832225" y="5157788"/>
          <p14:tracePt t="55735" x="3832225" y="5149850"/>
          <p14:tracePt t="55742" x="3806825" y="5149850"/>
          <p14:tracePt t="55751" x="3806825" y="5141913"/>
          <p14:tracePt t="55758" x="3797300" y="5141913"/>
          <p14:tracePt t="55766" x="3789363" y="5141913"/>
          <p14:tracePt t="55774" x="3781425" y="5141913"/>
          <p14:tracePt t="55855" x="3771900" y="5141913"/>
          <p14:tracePt t="55864" x="3763963" y="5141913"/>
          <p14:tracePt t="55871" x="3756025" y="5141913"/>
          <p14:tracePt t="55879" x="3746500" y="5141913"/>
          <p14:tracePt t="55888" x="3738563" y="5141913"/>
          <p14:tracePt t="55895" x="3738563" y="5132388"/>
          <p14:tracePt t="55943" x="3738563" y="5124450"/>
          <p14:tracePt t="55967" x="3729038" y="5124450"/>
          <p14:tracePt t="55975" x="3721100" y="5124450"/>
          <p14:tracePt t="55983" x="3713163" y="5124450"/>
          <p14:tracePt t="55991" x="3687763" y="5116513"/>
          <p14:tracePt t="55999" x="3662363" y="5116513"/>
          <p14:tracePt t="56007" x="3652838" y="5106988"/>
          <p14:tracePt t="56015" x="3627438" y="5106988"/>
          <p14:tracePt t="56023" x="3611563" y="5099050"/>
          <p14:tracePt t="56031" x="3594100" y="5099050"/>
          <p14:tracePt t="56038" x="3576638" y="5091113"/>
          <p14:tracePt t="56047" x="3551238" y="5091113"/>
          <p14:tracePt t="56054" x="3533775" y="5081588"/>
          <p14:tracePt t="56063" x="3508375" y="5081588"/>
          <p14:tracePt t="56071" x="3492500" y="5073650"/>
          <p14:tracePt t="56078" x="3475038" y="5073650"/>
          <p14:tracePt t="56088" x="3475038" y="5064125"/>
          <p14:tracePt t="56097" x="3467100" y="5064125"/>
          <p14:tracePt t="56151" x="3467100" y="5056188"/>
          <p14:tracePt t="56158" x="3492500" y="5048250"/>
          <p14:tracePt t="56166" x="3517900" y="5048250"/>
          <p14:tracePt t="56175" x="3568700" y="5038725"/>
          <p14:tracePt t="56183" x="3627438" y="5030788"/>
          <p14:tracePt t="56191" x="3713163" y="5005388"/>
          <p14:tracePt t="56199" x="3771900" y="4997450"/>
          <p14:tracePt t="56207" x="3832225" y="4987925"/>
          <p14:tracePt t="56215" x="3857625" y="4979988"/>
          <p14:tracePt t="56223" x="3890963" y="4979988"/>
          <p14:tracePt t="56231" x="3908425" y="4979988"/>
          <p14:tracePt t="56240" x="3916363" y="4972050"/>
          <p14:tracePt t="56247" x="3925888" y="4972050"/>
          <p14:tracePt t="56255" x="3933825" y="4972050"/>
          <p14:tracePt t="56336" x="3925888" y="4972050"/>
          <p14:tracePt t="56353" x="3916363" y="4972050"/>
          <p14:tracePt t="56359" x="3900488" y="4972050"/>
          <p14:tracePt t="56375" x="3890963" y="4972050"/>
          <p14:tracePt t="56391" x="3883025" y="4972050"/>
          <p14:tracePt t="56407" x="3890963" y="4972050"/>
          <p14:tracePt t="56415" x="3900488" y="4972050"/>
          <p14:tracePt t="56423" x="3941763" y="4972050"/>
          <p14:tracePt t="56431" x="4044950" y="4972050"/>
          <p14:tracePt t="56439" x="4129088" y="4972050"/>
          <p14:tracePt t="56447" x="4256088" y="4972050"/>
          <p14:tracePt t="56455" x="4367213" y="4997450"/>
          <p14:tracePt t="56463" x="4570413" y="5005388"/>
          <p14:tracePt t="56471" x="4706938" y="5022850"/>
          <p14:tracePt t="56479" x="4927600" y="5048250"/>
          <p14:tracePt t="56487" x="5106988" y="5048250"/>
          <p14:tracePt t="56496" x="5310188" y="5048250"/>
          <p14:tracePt t="56503" x="5624513" y="5048250"/>
          <p14:tracePt t="56511" x="5802313" y="5048250"/>
          <p14:tracePt t="56520" x="6007100" y="5048250"/>
          <p14:tracePt t="56526" x="6151563" y="5048250"/>
          <p14:tracePt t="56537" x="6321425" y="5048250"/>
          <p14:tracePt t="56542" x="6430963" y="5048250"/>
          <p14:tracePt t="56553" x="6559550" y="5048250"/>
          <p14:tracePt t="56559" x="6643688" y="5048250"/>
          <p14:tracePt t="56566" x="6729413" y="5048250"/>
          <p14:tracePt t="56575" x="6831013" y="5048250"/>
          <p14:tracePt t="56583" x="6899275" y="5056188"/>
          <p14:tracePt t="56590" x="6975475" y="5081588"/>
          <p14:tracePt t="56599" x="7018338" y="5091113"/>
          <p14:tracePt t="56607" x="7094538" y="5091113"/>
          <p14:tracePt t="56615" x="7127875" y="5099050"/>
          <p14:tracePt t="56623" x="7162800" y="5106988"/>
          <p14:tracePt t="56631" x="7204075" y="5106988"/>
          <p14:tracePt t="56639" x="7229475" y="5106988"/>
          <p14:tracePt t="56647" x="7297738" y="5106988"/>
          <p14:tracePt t="56655" x="7332663" y="5106988"/>
          <p14:tracePt t="56662" x="7366000" y="5099050"/>
          <p14:tracePt t="56671" x="7383463" y="5091113"/>
          <p14:tracePt t="56727" x="7373938" y="5091113"/>
          <p14:tracePt t="56736" x="7332663" y="5106988"/>
          <p14:tracePt t="56743" x="7264400" y="5141913"/>
          <p14:tracePt t="56752" x="7162800" y="5157788"/>
          <p14:tracePt t="56759" x="7094538" y="5157788"/>
          <p14:tracePt t="56766" x="7059613" y="5157788"/>
          <p14:tracePt t="56983" x="7034213" y="5157788"/>
          <p14:tracePt t="56991" x="7026275" y="5157788"/>
          <p14:tracePt t="56999" x="6992938" y="5157788"/>
          <p14:tracePt t="57007" x="6958013" y="5157788"/>
          <p14:tracePt t="57015" x="6932613" y="5157788"/>
          <p14:tracePt t="57023" x="6915150" y="5157788"/>
          <p14:tracePt t="57031" x="6907213" y="5149850"/>
          <p14:tracePt t="57040" x="6899275" y="5141913"/>
          <p14:tracePt t="57063" x="6907213" y="5132388"/>
          <p14:tracePt t="57079" x="6915150" y="5132388"/>
          <p14:tracePt t="57111" x="6907213" y="5132388"/>
          <p14:tracePt t="57120" x="6881813" y="5132388"/>
          <p14:tracePt t="57127" x="6831013" y="5132388"/>
          <p14:tracePt t="57138" x="6788150" y="5141913"/>
          <p14:tracePt t="57143" x="6719888" y="5167313"/>
          <p14:tracePt t="57154" x="6669088" y="5167313"/>
          <p14:tracePt t="57159" x="6618288" y="5175250"/>
          <p14:tracePt t="57169" x="6508750" y="5200650"/>
          <p14:tracePt t="57176" x="6415088" y="5208588"/>
          <p14:tracePt t="57183" x="6296025" y="5208588"/>
          <p14:tracePt t="57190" x="6194425" y="5208588"/>
          <p14:tracePt t="57198" x="6049963" y="5208588"/>
          <p14:tracePt t="57206" x="5938838" y="5208588"/>
          <p14:tracePt t="57214" x="5837238" y="5208588"/>
          <p14:tracePt t="57222" x="5708650" y="5208588"/>
          <p14:tracePt t="57231" x="5624513" y="5208588"/>
          <p14:tracePt t="57238" x="5505450" y="5208588"/>
          <p14:tracePt t="57246" x="5429250" y="5208588"/>
          <p14:tracePt t="57254" x="5327650" y="5208588"/>
          <p14:tracePt t="57263" x="5276850" y="5208588"/>
          <p14:tracePt t="57270" x="5233988" y="5208588"/>
          <p14:tracePt t="57279" x="5173663" y="5208588"/>
          <p14:tracePt t="57286" x="5140325" y="5208588"/>
          <p14:tracePt t="57295" x="5106988" y="5208588"/>
          <p14:tracePt t="57303" x="5089525" y="5208588"/>
          <p14:tracePt t="57311" x="5064125" y="5208588"/>
          <p14:tracePt t="57318" x="5054600" y="5208588"/>
          <p14:tracePt t="57342" x="5054600" y="5200650"/>
          <p14:tracePt t="57358" x="5054600" y="5183188"/>
          <p14:tracePt t="57367" x="5064125" y="5167313"/>
          <p14:tracePt t="57375" x="5097463" y="5157788"/>
          <p14:tracePt t="57383" x="5173663" y="5141913"/>
          <p14:tracePt t="57391" x="5241925" y="5132388"/>
          <p14:tracePt t="57399" x="5360988" y="5116513"/>
          <p14:tracePt t="57406" x="5454650" y="5116513"/>
          <p14:tracePt t="57414" x="5538788" y="5116513"/>
          <p14:tracePt t="57422" x="5683250" y="5116513"/>
          <p14:tracePt t="57431" x="5761038" y="5124450"/>
          <p14:tracePt t="57438" x="5845175" y="5141913"/>
          <p14:tracePt t="57446" x="5905500" y="5149850"/>
          <p14:tracePt t="57454" x="5938838" y="5157788"/>
          <p14:tracePt t="57462" x="5956300" y="5157788"/>
          <p14:tracePt t="57470" x="5972175" y="5157788"/>
          <p14:tracePt t="57478" x="5989638" y="5157788"/>
          <p14:tracePt t="57486" x="5989638" y="5149850"/>
          <p14:tracePt t="57759" x="5972175" y="5149850"/>
          <p14:tracePt t="57769" x="5938838" y="5149850"/>
          <p14:tracePt t="57775" x="5880100" y="5149850"/>
          <p14:tracePt t="57785" x="5786438" y="5149850"/>
          <p14:tracePt t="57791" x="5675313" y="5149850"/>
          <p14:tracePt t="57799" x="5513388" y="5124450"/>
          <p14:tracePt t="57807" x="5394325" y="5091113"/>
          <p14:tracePt t="57815" x="5191125" y="5048250"/>
          <p14:tracePt t="57822" x="5029200" y="5022850"/>
          <p14:tracePt t="57829" x="4724400" y="4972050"/>
          <p14:tracePt t="57838" x="4595813" y="4946650"/>
          <p14:tracePt t="57846" x="4451350" y="4911725"/>
          <p14:tracePt t="57854" x="4306888" y="4878388"/>
          <p14:tracePt t="57862" x="4205288" y="4860925"/>
          <p14:tracePt t="57870" x="4129088" y="4818063"/>
          <p14:tracePt t="57878" x="4070350" y="4802188"/>
          <p14:tracePt t="57886" x="4035425" y="4784725"/>
          <p14:tracePt t="57894" x="4017963" y="4767263"/>
          <p14:tracePt t="57902" x="4002088" y="4749800"/>
          <p14:tracePt t="57910" x="3992563" y="4741863"/>
          <p14:tracePt t="57918" x="3992563" y="4733925"/>
          <p14:tracePt t="57927" x="3992563" y="4708525"/>
          <p14:tracePt t="57938" x="3992563" y="4699000"/>
          <p14:tracePt t="57943" x="3992563" y="4673600"/>
          <p14:tracePt t="57957" x="3992563" y="4657725"/>
          <p14:tracePt t="57959" x="4010025" y="4648200"/>
          <p14:tracePt t="57969" x="4017963" y="4630738"/>
          <p14:tracePt t="57975" x="4035425" y="4605338"/>
          <p14:tracePt t="57984" x="4035425" y="4589463"/>
          <p14:tracePt t="57991" x="4044950" y="4589463"/>
          <p14:tracePt t="57999" x="4044950" y="4572000"/>
          <p14:tracePt t="58015" x="4044950" y="4564063"/>
          <p14:tracePt t="58031" x="4044950" y="4554538"/>
          <p14:tracePt t="58038" x="4044950" y="4538663"/>
          <p14:tracePt t="58047" x="4052888" y="4538663"/>
          <p14:tracePt t="58062" x="4052888" y="4529138"/>
          <p14:tracePt t="58118" x="4052888" y="4538663"/>
          <p14:tracePt t="58126" x="4052888" y="4546600"/>
          <p14:tracePt t="58134" x="4052888" y="4579938"/>
          <p14:tracePt t="58142" x="4044950" y="4640263"/>
          <p14:tracePt t="58151" x="4044950" y="4683125"/>
          <p14:tracePt t="58158" x="4044950" y="4759325"/>
          <p14:tracePt t="58166" x="4044950" y="4802188"/>
          <p14:tracePt t="58174" x="4044950" y="4868863"/>
          <p14:tracePt t="58182" x="4052888" y="4894263"/>
          <p14:tracePt t="58190" x="4060825" y="4929188"/>
          <p14:tracePt t="58198" x="4070350" y="4937125"/>
          <p14:tracePt t="58214" x="4070350" y="4946650"/>
          <p14:tracePt t="58319" x="4078288" y="4946650"/>
          <p14:tracePt t="58326" x="4078288" y="4954588"/>
          <p14:tracePt t="58335" x="4095750" y="4954588"/>
          <p14:tracePt t="58343" x="4103688" y="4954588"/>
          <p14:tracePt t="58353" x="4137025" y="4954588"/>
          <p14:tracePt t="58359" x="4162425" y="4954588"/>
          <p14:tracePt t="58368" x="4187825" y="4954588"/>
          <p14:tracePt t="58374" x="4230688" y="4954588"/>
          <p14:tracePt t="58383" x="4265613" y="4954588"/>
          <p14:tracePt t="58391" x="4332288" y="4954588"/>
          <p14:tracePt t="58399" x="4392613" y="4954588"/>
          <p14:tracePt t="58407" x="4476750" y="4954588"/>
          <p14:tracePt t="58415" x="4605338" y="4954588"/>
          <p14:tracePt t="58423" x="4673600" y="4954588"/>
          <p14:tracePt t="58431" x="4800600" y="4954588"/>
          <p14:tracePt t="58439" x="4884738" y="4946650"/>
          <p14:tracePt t="58447" x="4987925" y="4946650"/>
          <p14:tracePt t="58455" x="5038725" y="4946650"/>
          <p14:tracePt t="58463" x="5114925" y="4937125"/>
          <p14:tracePt t="58471" x="5199063" y="4929188"/>
          <p14:tracePt t="58479" x="5302250" y="4903788"/>
          <p14:tracePt t="58487" x="5462588" y="4878388"/>
          <p14:tracePt t="58495" x="5581650" y="4860925"/>
          <p14:tracePt t="58503" x="5761038" y="4835525"/>
          <p14:tracePt t="58511" x="5870575" y="4818063"/>
          <p14:tracePt t="58520" x="5997575" y="4802188"/>
          <p14:tracePt t="58527" x="6091238" y="4775200"/>
          <p14:tracePt t="58537" x="6159500" y="4767263"/>
          <p14:tracePt t="58543" x="6219825" y="4759325"/>
          <p14:tracePt t="58553" x="6235700" y="4759325"/>
          <p14:tracePt t="58559" x="6245225" y="4749800"/>
          <p14:tracePt t="58583" x="6235700" y="4749800"/>
          <p14:tracePt t="58591" x="6202363" y="4767263"/>
          <p14:tracePt t="58599" x="6142038" y="4775200"/>
          <p14:tracePt t="58607" x="6040438" y="4792663"/>
          <p14:tracePt t="58615" x="5938838" y="4818063"/>
          <p14:tracePt t="58623" x="5837238" y="4818063"/>
          <p14:tracePt t="58631" x="5726113" y="4818063"/>
          <p14:tracePt t="58639" x="5632450" y="4818063"/>
          <p14:tracePt t="58648" x="5487988" y="4802188"/>
          <p14:tracePt t="58655" x="5368925" y="4784725"/>
          <p14:tracePt t="58663" x="5208588" y="4759325"/>
          <p14:tracePt t="58671" x="5080000" y="4733925"/>
          <p14:tracePt t="58679" x="4953000" y="4699000"/>
          <p14:tracePt t="58687" x="4765675" y="4630738"/>
          <p14:tracePt t="58695" x="4656138" y="4579938"/>
          <p14:tracePt t="58704" x="4529138" y="4521200"/>
          <p14:tracePt t="58711" x="4425950" y="4478338"/>
          <p14:tracePt t="58720" x="4332288" y="4435475"/>
          <p14:tracePt t="58727" x="4281488" y="4394200"/>
          <p14:tracePt t="58737" x="4248150" y="4368800"/>
          <p14:tracePt t="58743" x="4230688" y="4351338"/>
          <p14:tracePt t="58753" x="4214813" y="4341813"/>
          <p14:tracePt t="58759" x="4214813" y="4325938"/>
          <p14:tracePt t="58775" x="4222750" y="4300538"/>
          <p14:tracePt t="58783" x="4230688" y="4283075"/>
          <p14:tracePt t="58791" x="4265613" y="4249738"/>
          <p14:tracePt t="58799" x="4291013" y="4232275"/>
          <p14:tracePt t="58807" x="4316413" y="4224338"/>
          <p14:tracePt t="58815" x="4332288" y="4206875"/>
          <p14:tracePt t="58823" x="4359275" y="4197350"/>
          <p14:tracePt t="58831" x="4392613" y="4181475"/>
          <p14:tracePt t="58840" x="4418013" y="4181475"/>
          <p14:tracePt t="58847" x="4468813" y="4181475"/>
          <p14:tracePt t="58856" x="4554538" y="4181475"/>
          <p14:tracePt t="58863" x="4673600" y="4232275"/>
          <p14:tracePt t="58871" x="4800600" y="4275138"/>
          <p14:tracePt t="58879" x="4970463" y="4325938"/>
          <p14:tracePt t="58887" x="5241925" y="4427538"/>
          <p14:tracePt t="58895" x="5513388" y="4478338"/>
          <p14:tracePt t="58903" x="5888038" y="4572000"/>
          <p14:tracePt t="58911" x="6065838" y="4622800"/>
          <p14:tracePt t="58920" x="6311900" y="4657725"/>
          <p14:tracePt t="58927" x="6423025" y="4683125"/>
          <p14:tracePt t="58937" x="6542088" y="4691063"/>
          <p14:tracePt t="58943" x="6567488" y="4699000"/>
          <p14:tracePt t="58955" x="6575425" y="4699000"/>
          <p14:tracePt t="58975" x="6559550" y="4699000"/>
          <p14:tracePt t="58983" x="6524625" y="4699000"/>
          <p14:tracePt t="58991" x="6465888" y="4699000"/>
          <p14:tracePt t="58999" x="6405563" y="4708525"/>
          <p14:tracePt t="59007" x="6354763" y="4716463"/>
          <p14:tracePt t="59015" x="6346825" y="4724400"/>
          <p14:tracePt t="59031" x="6354763" y="4733925"/>
          <p14:tracePt t="59039" x="6423025" y="4741863"/>
          <p14:tracePt t="59047" x="6600825" y="4767263"/>
          <p14:tracePt t="59055" x="6864350" y="4784725"/>
          <p14:tracePt t="59063" x="7315200" y="4860925"/>
          <p14:tracePt t="59071" x="7654925" y="4911725"/>
          <p14:tracePt t="59079" x="8088313" y="4929188"/>
          <p14:tracePt t="59092" x="8351838" y="4929188"/>
          <p14:tracePt t="59096" x="8605838" y="4929188"/>
          <p14:tracePt t="59103" x="8724900" y="4919663"/>
          <p14:tracePt t="59111" x="8810625" y="4894263"/>
          <p14:tracePt t="59120" x="8886825" y="4860925"/>
          <p14:tracePt t="59127" x="8912225" y="4843463"/>
          <p14:tracePt t="59137" x="8921750" y="4843463"/>
          <p14:tracePt t="59159" x="8921750" y="4835525"/>
          <p14:tracePt t="59167" x="8894763" y="4835525"/>
          <p14:tracePt t="59175" x="8853488" y="4835525"/>
          <p14:tracePt t="59182" x="8777288" y="4843463"/>
          <p14:tracePt t="59190" x="8648700" y="4878388"/>
          <p14:tracePt t="59198" x="8555038" y="4903788"/>
          <p14:tracePt t="59206" x="8488363" y="4911725"/>
          <p14:tracePt t="59399" x="8462963" y="4911725"/>
          <p14:tracePt t="59406" x="8453438" y="4911725"/>
          <p14:tracePt t="59414" x="8435975" y="4911725"/>
          <p14:tracePt t="59422" x="8428038" y="4929188"/>
          <p14:tracePt t="59430" x="8428038" y="4946650"/>
          <p14:tracePt t="59438" x="8462963" y="4954588"/>
          <p14:tracePt t="59446" x="8539163" y="4954588"/>
          <p14:tracePt t="59454" x="8605838" y="4954588"/>
          <p14:tracePt t="59463" x="8777288" y="4954588"/>
          <p14:tracePt t="59471" x="8955088" y="4954588"/>
          <p14:tracePt t="59479" x="9269413" y="4954588"/>
          <p14:tracePt t="59486" x="9532938" y="4954588"/>
          <p14:tracePt t="59494" x="9880600" y="4954588"/>
          <p14:tracePt t="59502" x="10144125" y="4946650"/>
          <p14:tracePt t="59510" x="10450513" y="4894263"/>
          <p14:tracePt t="59519" x="10594975" y="4868863"/>
          <p14:tracePt t="59526" x="10714038" y="4843463"/>
          <p14:tracePt t="59535" x="10823575" y="4835525"/>
          <p14:tracePt t="59543" x="10901363" y="4810125"/>
          <p14:tracePt t="59551" x="10960100" y="4810125"/>
          <p14:tracePt t="59558" x="10985500" y="4810125"/>
          <p14:tracePt t="59567" x="11002963" y="4810125"/>
          <p14:tracePt t="59575" x="11010900" y="4810125"/>
          <p14:tracePt t="59615" x="10993438" y="4810125"/>
          <p14:tracePt t="59623" x="10985500" y="4810125"/>
          <p14:tracePt t="59631" x="10968038" y="4818063"/>
          <p14:tracePt t="59640" x="10942638" y="4827588"/>
          <p14:tracePt t="59647" x="10926763" y="4835525"/>
          <p14:tracePt t="59656" x="10917238" y="4852988"/>
          <p14:tracePt t="59663" x="10891838" y="4860925"/>
          <p14:tracePt t="59671" x="10866438" y="4868863"/>
          <p14:tracePt t="59678" x="10823575" y="4894263"/>
          <p14:tracePt t="59686" x="10790238" y="4911725"/>
          <p14:tracePt t="59694" x="10747375" y="4937125"/>
          <p14:tracePt t="59702" x="10729913" y="4954588"/>
          <p14:tracePt t="59710" x="10714038" y="4979988"/>
          <p14:tracePt t="59719" x="10704513" y="4979988"/>
          <p14:tracePt t="59735" x="10704513" y="4987925"/>
          <p14:tracePt t="59743" x="10704513" y="4997450"/>
          <p14:tracePt t="59751" x="10714038" y="4997450"/>
          <p14:tracePt t="59759" x="10721975" y="4997450"/>
          <p14:tracePt t="59766" x="10729913" y="4997450"/>
          <p14:tracePt t="59783" x="10739438" y="4987925"/>
          <p14:tracePt t="59791" x="10756900" y="4979988"/>
          <p14:tracePt t="59799" x="10764838" y="4954588"/>
          <p14:tracePt t="59807" x="10782300" y="4919663"/>
          <p14:tracePt t="59815" x="10798175" y="4903788"/>
          <p14:tracePt t="59823" x="10841038" y="4860925"/>
          <p14:tracePt t="59831" x="10858500" y="4827588"/>
          <p14:tracePt t="59840" x="10891838" y="4784725"/>
          <p14:tracePt t="59847" x="10909300" y="4759325"/>
          <p14:tracePt t="59856" x="10926763" y="4741863"/>
          <p14:tracePt t="59863" x="10934700" y="4724400"/>
          <p14:tracePt t="59871" x="10942638" y="4716463"/>
          <p14:tracePt t="59879" x="10942638" y="4708525"/>
          <p14:tracePt t="60047" x="10934700" y="4708525"/>
          <p14:tracePt t="61190" x="10942638" y="4708525"/>
          <p14:tracePt t="61198" x="10952163" y="4708525"/>
          <p14:tracePt t="61206" x="10977563" y="4716463"/>
          <p14:tracePt t="61214" x="11002963" y="4724400"/>
          <p14:tracePt t="61222" x="11028363" y="4733925"/>
          <p14:tracePt t="61230" x="11053763" y="4733925"/>
          <p14:tracePt t="61238" x="11071225" y="4733925"/>
          <p14:tracePt t="61246" x="11104563" y="4733925"/>
          <p14:tracePt t="61447" x="11096625" y="4724400"/>
          <p14:tracePt t="61455" x="11079163" y="4724400"/>
          <p14:tracePt t="61463" x="11053763" y="4724400"/>
          <p14:tracePt t="61471" x="11028363" y="4716463"/>
          <p14:tracePt t="61479" x="11002963" y="4716463"/>
          <p14:tracePt t="61488" x="10985500" y="4716463"/>
          <p14:tracePt t="61495" x="10960100" y="4716463"/>
          <p14:tracePt t="61503" x="10942638" y="4716463"/>
          <p14:tracePt t="61511" x="10926763" y="4716463"/>
          <p14:tracePt t="61519" x="10917238" y="4716463"/>
          <p14:tracePt t="61526" x="10909300" y="4716463"/>
          <p14:tracePt t="61599" x="10901363" y="4716463"/>
          <p14:tracePt t="61639" x="10891838" y="4716463"/>
          <p14:tracePt t="62287" x="10874375" y="4716463"/>
          <p14:tracePt t="62295" x="10841038" y="4716463"/>
          <p14:tracePt t="62303" x="10798175" y="4724400"/>
          <p14:tracePt t="62311" x="10714038" y="4733925"/>
          <p14:tracePt t="62321" x="10637838" y="4775200"/>
          <p14:tracePt t="62327" x="10501313" y="4835525"/>
          <p14:tracePt t="62338" x="10415588" y="4894263"/>
          <p14:tracePt t="62343" x="10271125" y="4987925"/>
          <p14:tracePt t="62353" x="10169525" y="5056188"/>
          <p14:tracePt t="62359" x="10093325" y="5124450"/>
          <p14:tracePt t="62367" x="9974263" y="5192713"/>
          <p14:tracePt t="62375" x="9890125" y="5260975"/>
          <p14:tracePt t="62383" x="9812338" y="5319713"/>
          <p14:tracePt t="62391" x="9761538" y="5345113"/>
          <p14:tracePt t="62399" x="9702800" y="5380038"/>
          <p14:tracePt t="62407" x="9677400" y="5387975"/>
          <p14:tracePt t="62415" x="9667875" y="5387975"/>
          <p14:tracePt t="62423" x="9659938" y="5387975"/>
          <p14:tracePt t="62439" x="9667875" y="5387975"/>
          <p14:tracePt t="62446" x="9694863" y="5387975"/>
          <p14:tracePt t="62455" x="9761538" y="5345113"/>
          <p14:tracePt t="62463" x="9821863" y="5311775"/>
          <p14:tracePt t="62471" x="9898063" y="5276850"/>
          <p14:tracePt t="62479" x="9931400" y="5260975"/>
          <p14:tracePt t="62639" x="9940925" y="5260975"/>
          <p14:tracePt t="62647" x="9948863" y="5260975"/>
          <p14:tracePt t="62663" x="9956800" y="5260975"/>
          <p14:tracePt t="62679" x="9974263" y="5260975"/>
          <p14:tracePt t="62695" x="9983788" y="5260975"/>
          <p14:tracePt t="62720" x="9974263" y="5268913"/>
          <p14:tracePt t="62727" x="9948863" y="5276850"/>
          <p14:tracePt t="62736" x="9931400" y="5276850"/>
          <p14:tracePt t="62743" x="9923463" y="5286375"/>
          <p14:tracePt t="62754" x="9906000" y="5294313"/>
          <p14:tracePt t="62760" x="9880600" y="5294313"/>
          <p14:tracePt t="62769" x="9847263" y="5302250"/>
          <p14:tracePt t="62775" x="9804400" y="5311775"/>
          <p14:tracePt t="62783" x="9710738" y="5345113"/>
          <p14:tracePt t="62791" x="9642475" y="5370513"/>
          <p14:tracePt t="62799" x="9523413" y="5387975"/>
          <p14:tracePt t="62807" x="9396413" y="5405438"/>
          <p14:tracePt t="62815" x="9124950" y="5464175"/>
          <p14:tracePt t="62822" x="8929688" y="5507038"/>
          <p14:tracePt t="62830" x="8513763" y="5583238"/>
          <p14:tracePt t="62838" x="8174038" y="5651500"/>
          <p14:tracePt t="62846" x="7832725" y="5727700"/>
          <p14:tracePt t="62854" x="7323138" y="5829300"/>
          <p14:tracePt t="62861" x="7034213" y="5889625"/>
          <p14:tracePt t="62870" x="6584950" y="5973763"/>
          <p14:tracePt t="62878" x="6245225" y="6042025"/>
          <p14:tracePt t="62886" x="5794375" y="6118225"/>
          <p14:tracePt t="62894" x="5429250" y="6194425"/>
          <p14:tracePt t="62902" x="4851400" y="6211888"/>
          <p14:tracePt t="62910" x="4503738" y="6211888"/>
          <p14:tracePt t="62919" x="4248150" y="6211888"/>
          <p14:tracePt t="62926" x="3900488" y="6211888"/>
          <p14:tracePt t="62935" x="3721100" y="6211888"/>
          <p14:tracePt t="62943" x="3517900" y="6211888"/>
          <p14:tracePt t="62954" x="3381375" y="6211888"/>
          <p14:tracePt t="62959" x="3228975" y="6211888"/>
          <p14:tracePt t="62966" x="3152775" y="6211888"/>
          <p14:tracePt t="62975" x="3074988" y="6203950"/>
          <p14:tracePt t="62984" x="2990850" y="6194425"/>
          <p14:tracePt t="62990" x="2947988" y="6186488"/>
          <p14:tracePt t="62998" x="2897188" y="6169025"/>
          <p14:tracePt t="63006" x="2879725" y="6169025"/>
          <p14:tracePt t="63014" x="2863850" y="6169025"/>
          <p14:tracePt t="63038" x="2879725" y="6169025"/>
          <p14:tracePt t="63047" x="2914650" y="6178550"/>
          <p14:tracePt t="63054" x="2947988" y="6186488"/>
          <p14:tracePt t="63062" x="2990850" y="6211888"/>
          <p14:tracePt t="63071" x="3041650" y="6221413"/>
          <p14:tracePt t="63239" x="3059113" y="6229350"/>
          <p14:tracePt t="63247" x="3059113" y="6246813"/>
          <p14:tracePt t="63255" x="3059113" y="6254750"/>
          <p14:tracePt t="63263" x="3033713" y="6272213"/>
          <p14:tracePt t="63271" x="3008313" y="6280150"/>
          <p14:tracePt t="63279" x="2990850" y="6288088"/>
          <p14:tracePt t="63287" x="2965450" y="6288088"/>
          <p14:tracePt t="63295" x="2947988" y="6297613"/>
          <p14:tracePt t="63303" x="2940050" y="6305550"/>
          <p14:tracePt t="63311" x="2930525" y="6313488"/>
          <p14:tracePt t="63319" x="2922588" y="6313488"/>
          <p14:tracePt t="63326" x="2922588" y="6323013"/>
          <p14:tracePt t="63336" x="2905125" y="6323013"/>
          <p14:tracePt t="63343" x="2897188" y="6330950"/>
          <p14:tracePt t="63359" x="2871788" y="6338888"/>
          <p14:tracePt t="63369" x="2846388" y="6338888"/>
          <p14:tracePt t="63375" x="2828925" y="6348413"/>
          <p14:tracePt t="63383" x="2795588" y="6356350"/>
          <p14:tracePt t="63390" x="2760663" y="6365875"/>
          <p14:tracePt t="63400" x="2735263" y="6365875"/>
          <p14:tracePt t="63406" x="2719388" y="6373813"/>
          <p14:tracePt t="63415" x="2693988" y="6373813"/>
          <p14:tracePt t="63422" x="2668588" y="6381750"/>
          <p14:tracePt t="63431" x="2641600" y="6381750"/>
          <p14:tracePt t="63439" x="2616200" y="6391275"/>
          <p14:tracePt t="63447" x="2582863" y="6391275"/>
          <p14:tracePt t="63455" x="2540000" y="6399213"/>
          <p14:tracePt t="63463" x="2481263" y="6399213"/>
          <p14:tracePt t="63471" x="2438400" y="6399213"/>
          <p14:tracePt t="63479" x="2362200" y="6399213"/>
          <p14:tracePt t="63487" x="2319338" y="6399213"/>
          <p14:tracePt t="63495" x="2276475" y="6399213"/>
          <p14:tracePt t="63503" x="2225675" y="6391275"/>
          <p14:tracePt t="63511" x="2200275" y="6391275"/>
          <p14:tracePt t="63519" x="2157413" y="6381750"/>
          <p14:tracePt t="63527" x="2132013" y="6365875"/>
          <p14:tracePt t="63536" x="2098675" y="6348413"/>
          <p14:tracePt t="63543" x="2073275" y="6338888"/>
          <p14:tracePt t="63553" x="2030413" y="6323013"/>
          <p14:tracePt t="63559" x="2005013" y="6305550"/>
          <p14:tracePt t="63567" x="1979613" y="6297613"/>
          <p14:tracePt t="63575" x="1936750" y="6280150"/>
          <p14:tracePt t="63585" x="1903413" y="6262688"/>
          <p14:tracePt t="63590" x="1852613" y="6254750"/>
          <p14:tracePt t="63599" x="1817688" y="6237288"/>
          <p14:tracePt t="63606" x="1784350" y="6221413"/>
          <p14:tracePt t="63615" x="1749425" y="6203950"/>
          <p14:tracePt t="63623" x="1716088" y="6194425"/>
          <p14:tracePt t="63631" x="1682750" y="6186488"/>
          <p14:tracePt t="63639" x="1665288" y="6169025"/>
          <p14:tracePt t="63648" x="1631950" y="6161088"/>
          <p14:tracePt t="63655" x="1606550" y="6153150"/>
          <p14:tracePt t="63662" x="1579563" y="6135688"/>
          <p14:tracePt t="63672" x="1563688" y="6127750"/>
          <p14:tracePt t="63679" x="1528763" y="6110288"/>
          <p14:tracePt t="63686" x="1512888" y="6102350"/>
          <p14:tracePt t="63695" x="1487488" y="6084888"/>
          <p14:tracePt t="63703" x="1470025" y="6076950"/>
          <p14:tracePt t="63711" x="1444625" y="6059488"/>
          <p14:tracePt t="63719" x="1419225" y="6042025"/>
          <p14:tracePt t="63727" x="1401763" y="6024563"/>
          <p14:tracePt t="63736" x="1376363" y="5999163"/>
          <p14:tracePt t="63743" x="1358900" y="5991225"/>
          <p14:tracePt t="63752" x="1333500" y="5983288"/>
          <p14:tracePt t="63759" x="1325563" y="5983288"/>
          <p14:tracePt t="63766" x="1300163" y="5973763"/>
          <p14:tracePt t="63774" x="1282700" y="5965825"/>
          <p14:tracePt t="63783" x="1274763" y="5948363"/>
          <p14:tracePt t="63790" x="1257300" y="5940425"/>
          <p14:tracePt t="63799" x="1239838" y="5922963"/>
          <p14:tracePt t="63806" x="1214438" y="5905500"/>
          <p14:tracePt t="63815" x="1198563" y="5897563"/>
          <p14:tracePt t="63822" x="1173163" y="5880100"/>
          <p14:tracePt t="63831" x="1163638" y="5872163"/>
          <p14:tracePt t="63839" x="1155700" y="5864225"/>
          <p14:tracePt t="63847" x="1147763" y="5854700"/>
          <p14:tracePt t="63870" x="1138238" y="5854700"/>
          <p14:tracePt t="63879" x="1138238" y="5846763"/>
          <p14:tracePt t="63887" x="1120775" y="5838825"/>
          <p14:tracePt t="63895" x="1104900" y="5829300"/>
          <p14:tracePt t="63903" x="1079500" y="5803900"/>
          <p14:tracePt t="63911" x="1054100" y="5795963"/>
          <p14:tracePt t="63919" x="1019175" y="5753100"/>
          <p14:tracePt t="63926" x="993775" y="5745163"/>
          <p14:tracePt t="63936" x="976313" y="5719763"/>
          <p14:tracePt t="63943" x="968375" y="5702300"/>
          <p14:tracePt t="63954" x="960438" y="5684838"/>
          <p14:tracePt t="63959" x="960438" y="5676900"/>
          <p14:tracePt t="63967" x="960438" y="5651500"/>
          <p14:tracePt t="63975" x="960438" y="5634038"/>
          <p14:tracePt t="63983" x="968375" y="5616575"/>
          <p14:tracePt t="63991" x="968375" y="5600700"/>
          <p14:tracePt t="63999" x="976313" y="5583238"/>
          <p14:tracePt t="64015" x="976313" y="5575300"/>
          <p14:tracePt t="64023" x="976313" y="5565775"/>
          <p14:tracePt t="64031" x="976313" y="5557838"/>
          <p14:tracePt t="64039" x="968375" y="5557838"/>
          <p14:tracePt t="64046" x="950913" y="5540375"/>
          <p14:tracePt t="64055" x="925513" y="5532438"/>
          <p14:tracePt t="64062" x="900113" y="5514975"/>
          <p14:tracePt t="64072" x="892175" y="5497513"/>
          <p14:tracePt t="64079" x="874713" y="5489575"/>
          <p14:tracePt t="64087" x="866775" y="5481638"/>
          <p14:tracePt t="64095" x="858838" y="5481638"/>
          <p14:tracePt t="64104" x="858838" y="5472113"/>
          <p14:tracePt t="64111" x="858838" y="5464175"/>
          <p14:tracePt t="64127" x="866775" y="5464175"/>
          <p14:tracePt t="64136" x="874713" y="5464175"/>
          <p14:tracePt t="64143" x="884238" y="5464175"/>
          <p14:tracePt t="64153" x="900113" y="5464175"/>
          <p14:tracePt t="64159" x="909638" y="5464175"/>
          <p14:tracePt t="64166" x="925513" y="5464175"/>
          <p14:tracePt t="64206" x="917575" y="5464175"/>
          <p14:tracePt t="64231" x="909638" y="5464175"/>
          <p14:tracePt t="64262" x="909638" y="5456238"/>
          <p14:tracePt t="64270" x="900113" y="5456238"/>
          <p14:tracePt t="64327" x="900113" y="5438775"/>
          <p14:tracePt t="64352" x="892175" y="5438775"/>
          <p14:tracePt t="64359" x="874713" y="5438775"/>
          <p14:tracePt t="64870" x="866775" y="5438775"/>
          <p14:tracePt t="64878" x="858838" y="5438775"/>
          <p14:tracePt t="64886" x="841375" y="5438775"/>
          <p14:tracePt t="64895" x="823913" y="5438775"/>
          <p14:tracePt t="64927" x="823913" y="5446713"/>
          <p14:tracePt t="64936" x="823913" y="5456238"/>
          <p14:tracePt t="64975" x="831850" y="5456238"/>
          <p14:tracePt t="64983" x="841375" y="5456238"/>
          <p14:tracePt t="64991" x="858838" y="5456238"/>
          <p14:tracePt t="65000" x="866775" y="5456238"/>
          <p14:tracePt t="65006" x="874713" y="5456238"/>
          <p14:tracePt t="65022" x="884238" y="5446713"/>
          <p14:tracePt t="65030" x="884238" y="5430838"/>
          <p14:tracePt t="65038" x="884238" y="5421313"/>
          <p14:tracePt t="65046" x="884238" y="5395913"/>
          <p14:tracePt t="65054" x="874713" y="5380038"/>
          <p14:tracePt t="65062" x="858838" y="5370513"/>
          <p14:tracePt t="65223" x="858838" y="5380038"/>
          <p14:tracePt t="65231" x="909638" y="5362575"/>
          <p14:tracePt t="65263" x="900113" y="5362575"/>
          <p14:tracePt t="65271" x="892175" y="5362575"/>
          <p14:tracePt t="65279" x="884238" y="5362575"/>
          <p14:tracePt t="65288" x="866775" y="5362575"/>
          <p14:tracePt t="65306" x="841375" y="5362575"/>
          <p14:tracePt t="65313" x="823913" y="5362575"/>
          <p14:tracePt t="65320" x="790575" y="5370513"/>
          <p14:tracePt t="65327" x="773113" y="5370513"/>
          <p14:tracePt t="65337" x="755650" y="5370513"/>
          <p14:tracePt t="65343" x="739775" y="5370513"/>
          <p14:tracePt t="65354" x="722313" y="5370513"/>
          <p14:tracePt t="65370" x="704850" y="5370513"/>
          <p14:tracePt t="65375" x="696913" y="5370513"/>
          <p14:tracePt t="65463" x="688975" y="5370513"/>
          <p14:tracePt t="65471" x="679450" y="5370513"/>
          <p14:tracePt t="65495" x="671513" y="5370513"/>
          <p14:tracePt t="65503" x="661988" y="5370513"/>
          <p14:tracePt t="65583" x="654050" y="5370513"/>
          <p14:tracePt t="65616" x="646113" y="5370513"/>
          <p14:tracePt t="65623" x="636588" y="5370513"/>
          <p14:tracePt t="66295" x="654050" y="5370513"/>
          <p14:tracePt t="66303" x="696913" y="5370513"/>
          <p14:tracePt t="66311" x="806450" y="5370513"/>
          <p14:tracePt t="66319" x="884238" y="5370513"/>
          <p14:tracePt t="66327" x="993775" y="5370513"/>
          <p14:tracePt t="66338" x="1062038" y="5370513"/>
          <p14:tracePt t="66343" x="1206500" y="5370513"/>
          <p14:tracePt t="66354" x="1300163" y="5370513"/>
          <p14:tracePt t="66359" x="1419225" y="5370513"/>
          <p14:tracePt t="66370" x="1554163" y="5370513"/>
          <p14:tracePt t="66375" x="1673225" y="5370513"/>
          <p14:tracePt t="66384" x="1843088" y="5370513"/>
          <p14:tracePt t="66391" x="1971675" y="5370513"/>
          <p14:tracePt t="66399" x="2124075" y="5370513"/>
          <p14:tracePt t="66407" x="2251075" y="5370513"/>
          <p14:tracePt t="66415" x="2481263" y="5370513"/>
          <p14:tracePt t="66423" x="2625725" y="5370513"/>
          <p14:tracePt t="66431" x="2778125" y="5370513"/>
          <p14:tracePt t="66439" x="2973388" y="5370513"/>
          <p14:tracePt t="66447" x="3127375" y="5370513"/>
          <p14:tracePt t="66456" x="3338513" y="5370513"/>
          <p14:tracePt t="66463" x="3482975" y="5370513"/>
          <p14:tracePt t="66472" x="3636963" y="5370513"/>
          <p14:tracePt t="66479" x="3763963" y="5370513"/>
          <p14:tracePt t="66487" x="3900488" y="5370513"/>
          <p14:tracePt t="66494" x="4002088" y="5370513"/>
          <p14:tracePt t="66503" x="4086225" y="5370513"/>
          <p14:tracePt t="66510" x="4197350" y="5370513"/>
          <p14:tracePt t="66520" x="4281488" y="5370513"/>
          <p14:tracePt t="66526" x="4367213" y="5370513"/>
          <p14:tracePt t="66536" x="4443413" y="5370513"/>
          <p14:tracePt t="66542" x="4529138" y="5370513"/>
          <p14:tracePt t="66550" x="4613275" y="5370513"/>
          <p14:tracePt t="66558" x="4699000" y="5370513"/>
          <p14:tracePt t="66566" x="4791075" y="5370513"/>
          <p14:tracePt t="66574" x="4876800" y="5370513"/>
          <p14:tracePt t="66582" x="5003800" y="5370513"/>
          <p14:tracePt t="66590" x="5080000" y="5370513"/>
          <p14:tracePt t="66598" x="5165725" y="5370513"/>
          <p14:tracePt t="66606" x="5208588" y="5370513"/>
          <p14:tracePt t="66614" x="5267325" y="5370513"/>
          <p14:tracePt t="66622" x="5284788" y="5370513"/>
          <p14:tracePt t="66630" x="5310188" y="5370513"/>
          <p14:tracePt t="66638" x="5318125" y="5370513"/>
          <p14:tracePt t="66662" x="5310188" y="5380038"/>
          <p14:tracePt t="66670" x="5259388" y="5387975"/>
          <p14:tracePt t="66678" x="5183188" y="5395913"/>
          <p14:tracePt t="66686" x="5054600" y="5413375"/>
          <p14:tracePt t="66694" x="4945063" y="5413375"/>
          <p14:tracePt t="66702" x="4783138" y="5380038"/>
          <p14:tracePt t="66710" x="4749800" y="5370513"/>
          <p14:tracePt t="66839" x="4740275" y="5370513"/>
          <p14:tracePt t="66847" x="4724400" y="5370513"/>
          <p14:tracePt t="66856" x="4724400" y="5380038"/>
          <p14:tracePt t="66863" x="4724400" y="5387975"/>
          <p14:tracePt t="66872" x="4732338" y="5387975"/>
          <p14:tracePt t="66879" x="4749800" y="5395913"/>
          <p14:tracePt t="66887" x="4757738" y="5405438"/>
          <p14:tracePt t="66895" x="4765675" y="5413375"/>
          <p14:tracePt t="66904" x="4775200" y="5421313"/>
          <p14:tracePt t="66927" x="4765675" y="5421313"/>
          <p14:tracePt t="66937" x="4732338" y="5430838"/>
          <p14:tracePt t="66956" x="4605338" y="5472113"/>
          <p14:tracePt t="66959" x="4468813" y="5507038"/>
          <p14:tracePt t="66970" x="4367213" y="5524500"/>
          <p14:tracePt t="66975" x="4121150" y="5565775"/>
          <p14:tracePt t="66985" x="3890963" y="5608638"/>
          <p14:tracePt t="66992" x="3568700" y="5641975"/>
          <p14:tracePt t="66999" x="3381375" y="5659438"/>
          <p14:tracePt t="67007" x="3178175" y="5659438"/>
          <p14:tracePt t="67015" x="2947988" y="5659438"/>
          <p14:tracePt t="67023" x="2795588" y="5659438"/>
          <p14:tracePt t="67031" x="2616200" y="5659438"/>
          <p14:tracePt t="67039" x="2506663" y="5659438"/>
          <p14:tracePt t="67047" x="2379663" y="5641975"/>
          <p14:tracePt t="67055" x="2293938" y="5616575"/>
          <p14:tracePt t="67063" x="2192338" y="5608638"/>
          <p14:tracePt t="67073" x="2116138" y="5608638"/>
          <p14:tracePt t="67079" x="2030413" y="5608638"/>
          <p14:tracePt t="67087" x="1936750" y="5608638"/>
          <p14:tracePt t="67094" x="1878013" y="5608638"/>
          <p14:tracePt t="67102" x="1835150" y="5608638"/>
          <p14:tracePt t="67114" x="1809750" y="5608638"/>
          <p14:tracePt t="67123" x="1801813" y="5608638"/>
          <p14:tracePt t="67631" x="1817688" y="5600700"/>
          <p14:tracePt t="67639" x="1852613" y="5583238"/>
          <p14:tracePt t="67647" x="1878013" y="5565775"/>
          <p14:tracePt t="67664" x="1878013" y="5540375"/>
          <p14:tracePt t="67679" x="1878013" y="5497513"/>
          <p14:tracePt t="67687" x="1860550" y="5472113"/>
          <p14:tracePt t="67696" x="1835150" y="5438775"/>
          <p14:tracePt t="67703" x="1792288" y="5413375"/>
          <p14:tracePt t="67712" x="1784350" y="5405438"/>
          <p14:tracePt t="67720" x="1776413" y="5405438"/>
          <p14:tracePt t="67806" x="1766888" y="5405438"/>
          <p14:tracePt t="67879" x="1776413" y="5405438"/>
          <p14:tracePt t="67887" x="1801813" y="5395913"/>
          <p14:tracePt t="67895" x="1878013" y="5387975"/>
          <p14:tracePt t="67903" x="1954213" y="5380038"/>
          <p14:tracePt t="67912" x="2047875" y="5380038"/>
          <p14:tracePt t="67920" x="2132013" y="5380038"/>
          <p14:tracePt t="67927" x="2225675" y="5380038"/>
          <p14:tracePt t="67937" x="2319338" y="5380038"/>
          <p14:tracePt t="67944" x="2395538" y="5380038"/>
          <p14:tracePt t="67956" x="2481263" y="5387975"/>
          <p14:tracePt t="67959" x="2540000" y="5405438"/>
          <p14:tracePt t="67970" x="2651125" y="5421313"/>
          <p14:tracePt t="67975" x="2668588" y="5421313"/>
          <p14:tracePt t="68127" x="2668588" y="5413375"/>
          <p14:tracePt t="68135" x="2676525" y="5362575"/>
          <p14:tracePt t="68143" x="2676525" y="5353050"/>
          <p14:tracePt t="68153" x="2676525" y="5337175"/>
          <p14:tracePt t="68159" x="2676525" y="5327650"/>
          <p14:tracePt t="68170" x="2676525" y="5319713"/>
          <p14:tracePt t="68185" x="2719388" y="5302250"/>
          <p14:tracePt t="68191" x="2744788" y="5294313"/>
          <p14:tracePt t="68202" x="2803525" y="5286375"/>
          <p14:tracePt t="68207" x="2854325" y="5276850"/>
          <p14:tracePt t="68215" x="2922588" y="5268913"/>
          <p14:tracePt t="68222" x="3024188" y="5243513"/>
          <p14:tracePt t="68231" x="3100388" y="5235575"/>
          <p14:tracePt t="68239" x="3219450" y="5208588"/>
          <p14:tracePt t="68247" x="3305175" y="5200650"/>
          <p14:tracePt t="68255" x="3449638" y="5175250"/>
          <p14:tracePt t="68263" x="3533775" y="5167313"/>
          <p14:tracePt t="68272" x="3644900" y="5141913"/>
          <p14:tracePt t="68278" x="3789363" y="5124450"/>
          <p14:tracePt t="68286" x="3941763" y="5124450"/>
          <p14:tracePt t="68295" x="4052888" y="5116513"/>
          <p14:tracePt t="68303" x="4171950" y="5116513"/>
          <p14:tracePt t="68311" x="4298950" y="5116513"/>
          <p14:tracePt t="68319" x="4384675" y="5116513"/>
          <p14:tracePt t="68327" x="4468813" y="5116513"/>
          <p14:tracePt t="68336" x="4511675" y="5116513"/>
          <p14:tracePt t="68343" x="4537075" y="5116513"/>
          <p14:tracePt t="68353" x="4545013" y="5116513"/>
          <p14:tracePt t="69031" x="4545013" y="5106988"/>
          <p14:tracePt t="69038" x="4579938" y="5106988"/>
          <p14:tracePt t="69046" x="4664075" y="5091113"/>
          <p14:tracePt t="69054" x="4749800" y="5081588"/>
          <p14:tracePt t="69063" x="4910138" y="5056188"/>
          <p14:tracePt t="69070" x="5038725" y="5030788"/>
          <p14:tracePt t="69078" x="5148263" y="5013325"/>
          <p14:tracePt t="69086" x="5292725" y="4997450"/>
          <p14:tracePt t="69094" x="5403850" y="4997450"/>
          <p14:tracePt t="69104" x="5530850" y="4997450"/>
          <p14:tracePt t="69110" x="5649913" y="4997450"/>
          <p14:tracePt t="69118" x="5786438" y="4997450"/>
          <p14:tracePt t="69126" x="5870575" y="4997450"/>
          <p14:tracePt t="69134" x="5972175" y="4997450"/>
          <p14:tracePt t="69142" x="6057900" y="4997450"/>
          <p14:tracePt t="69150" x="6126163" y="4997450"/>
          <p14:tracePt t="69158" x="6219825" y="5013325"/>
          <p14:tracePt t="69167" x="6278563" y="5030788"/>
          <p14:tracePt t="69175" x="6338888" y="5056188"/>
          <p14:tracePt t="69184" x="6364288" y="5073650"/>
          <p14:tracePt t="69191" x="6364288" y="5099050"/>
          <p14:tracePt t="69199" x="6364288" y="5116513"/>
          <p14:tracePt t="69206" x="6321425" y="5132388"/>
          <p14:tracePt t="69215" x="6286500" y="5141913"/>
          <p14:tracePt t="69222" x="6253163" y="5149850"/>
          <p14:tracePt t="69383" x="6245225" y="5149850"/>
          <p14:tracePt t="69391" x="6235700" y="5149850"/>
          <p14:tracePt t="69407" x="6227763" y="5149850"/>
          <p14:tracePt t="69416" x="6219825" y="5149850"/>
          <p14:tracePt t="69423" x="6219825" y="5167313"/>
          <p14:tracePt t="69439" x="6219825" y="5175250"/>
          <p14:tracePt t="69447" x="6245225" y="5192713"/>
          <p14:tracePt t="69456" x="6296025" y="5200650"/>
          <p14:tracePt t="69464" x="6354763" y="5235575"/>
          <p14:tracePt t="69471" x="6430963" y="5251450"/>
          <p14:tracePt t="69479" x="6516688" y="5276850"/>
          <p14:tracePt t="69487" x="6618288" y="5276850"/>
          <p14:tracePt t="69495" x="6762750" y="5276850"/>
          <p14:tracePt t="69503" x="6848475" y="5276850"/>
          <p14:tracePt t="69511" x="6932613" y="5276850"/>
          <p14:tracePt t="69519" x="7026275" y="5276850"/>
          <p14:tracePt t="69527" x="7085013" y="5276850"/>
          <p14:tracePt t="69536" x="7137400" y="5276850"/>
          <p14:tracePt t="69543" x="7162800" y="5268913"/>
          <p14:tracePt t="69553" x="7178675" y="5268913"/>
          <p14:tracePt t="69559" x="7196138" y="5260975"/>
          <p14:tracePt t="71543" x="7213600" y="5251450"/>
          <p14:tracePt t="71552" x="7239000" y="5235575"/>
          <p14:tracePt t="71559" x="7272338" y="5226050"/>
          <p14:tracePt t="71569" x="7315200" y="5226050"/>
          <p14:tracePt t="71575" x="7358063" y="5218113"/>
          <p14:tracePt t="71587" x="7442200" y="5218113"/>
          <p14:tracePt t="71591" x="7518400" y="5218113"/>
          <p14:tracePt t="71600" x="7621588" y="5218113"/>
          <p14:tracePt t="71607" x="7731125" y="5243513"/>
          <p14:tracePt t="71616" x="7816850" y="5251450"/>
          <p14:tracePt t="71623" x="7893050" y="5276850"/>
          <p14:tracePt t="71631" x="7943850" y="5294313"/>
          <p14:tracePt t="71640" x="7986713" y="5311775"/>
          <p14:tracePt t="71646" x="8004175" y="5319713"/>
          <p14:tracePt t="71654" x="8020050" y="5319713"/>
          <p14:tracePt t="71662" x="8020050" y="5327650"/>
          <p14:tracePt t="71678" x="8020050" y="5337175"/>
          <p14:tracePt t="71694" x="8020050" y="5345113"/>
          <p14:tracePt t="71702" x="8037513" y="5353050"/>
          <p14:tracePt t="71710" x="8037513" y="5380038"/>
          <p14:tracePt t="71719" x="8045450" y="5395913"/>
          <p14:tracePt t="71726" x="8054975" y="5430838"/>
          <p14:tracePt t="71735" x="8062913" y="5464175"/>
          <p14:tracePt t="71742" x="8062913" y="5489575"/>
          <p14:tracePt t="71750" x="8080375" y="5507038"/>
          <p14:tracePt t="71758" x="8080375" y="5524500"/>
          <p14:tracePt t="71766" x="8088313" y="5540375"/>
          <p14:tracePt t="71783" x="8088313" y="5549900"/>
          <p14:tracePt t="71968" x="8080375" y="5549900"/>
          <p14:tracePt t="71985" x="8070850" y="5549900"/>
          <p14:tracePt t="71991" x="8062913" y="5549900"/>
          <p14:tracePt t="72000" x="8054975" y="5549900"/>
          <p14:tracePt t="72023" x="8045450" y="5549900"/>
          <p14:tracePt t="72039" x="8029575" y="5549900"/>
          <p14:tracePt t="72063" x="8020050" y="5549900"/>
          <p14:tracePt t="72734" x="8037513" y="5540375"/>
          <p14:tracePt t="72742" x="8045450" y="5532438"/>
          <p14:tracePt t="72790" x="8054975" y="5514975"/>
          <p14:tracePt t="72798" x="8062913" y="5497513"/>
          <p14:tracePt t="72806" x="8070850" y="5497513"/>
          <p14:tracePt t="72814" x="8070850" y="5481638"/>
          <p14:tracePt t="72830" x="8088313" y="5472113"/>
          <p14:tracePt t="72838" x="8088313" y="5464175"/>
          <p14:tracePt t="72846" x="8096250" y="5438775"/>
          <p14:tracePt t="73134" x="8105775" y="5438775"/>
          <p14:tracePt t="73150" x="8113713" y="5438775"/>
          <p14:tracePt t="73166" x="8121650" y="5438775"/>
          <p14:tracePt t="73175" x="8131175" y="5446713"/>
          <p14:tracePt t="73199" x="8131175" y="5456238"/>
          <p14:tracePt t="73223" x="8121650" y="5464175"/>
          <p14:tracePt t="73239" x="8113713" y="5472113"/>
          <p14:tracePt t="73255" x="8113713" y="5481638"/>
          <p14:tracePt t="73287" x="8105775" y="5481638"/>
          <p14:tracePt t="73336" x="8096250" y="5489575"/>
          <p14:tracePt t="73352" x="8096250" y="5497513"/>
          <p14:tracePt t="76584" x="8080375" y="5507038"/>
          <p14:tracePt t="76591" x="8070850" y="5507038"/>
          <p14:tracePt t="76607" x="8070850" y="5514975"/>
          <p14:tracePt t="76623" x="8070850" y="5524500"/>
          <p14:tracePt t="76663" x="8070850" y="5514975"/>
          <p14:tracePt t="76671" x="8070850" y="5507038"/>
          <p14:tracePt t="76679" x="8070850" y="5438775"/>
          <p14:tracePt t="76879" x="8062913" y="5438775"/>
          <p14:tracePt t="76887" x="8054975" y="5438775"/>
          <p14:tracePt t="76896" x="8045450" y="5456238"/>
          <p14:tracePt t="76976" x="8054975" y="5456238"/>
          <p14:tracePt t="77047" x="8062913" y="5456238"/>
          <p14:tracePt t="77079" x="8054975" y="5456238"/>
          <p14:tracePt t="77095" x="8054975" y="5464175"/>
          <p14:tracePt t="77239" x="8037513" y="5481638"/>
          <p14:tracePt t="77822" x="8029575" y="5489575"/>
          <p14:tracePt t="77830" x="8029575" y="5507038"/>
          <p14:tracePt t="77846" x="8029575" y="5524500"/>
          <p14:tracePt t="77855" x="8029575" y="5532438"/>
          <p14:tracePt t="77870" x="8037513" y="5540375"/>
          <p14:tracePt t="78047" x="8045450" y="5540375"/>
          <p14:tracePt t="78055" x="8062913" y="5524500"/>
          <p14:tracePt t="78063" x="8080375" y="5507038"/>
          <p14:tracePt t="78071" x="8080375" y="5497513"/>
          <p14:tracePt t="78079" x="8096250" y="5472113"/>
          <p14:tracePt t="78089" x="8113713" y="5456238"/>
          <p14:tracePt t="78248" x="8131175" y="5456238"/>
          <p14:tracePt t="78255" x="8181975" y="5446713"/>
          <p14:tracePt t="78287" x="8164513" y="5446713"/>
          <p14:tracePt t="78336" x="8156575" y="5446713"/>
          <p14:tracePt t="78352" x="8147050" y="5446713"/>
          <p14:tracePt t="78359" x="8131175" y="5446713"/>
          <p14:tracePt t="78368" x="8113713" y="5438775"/>
          <p14:tracePt t="78375" x="8080375" y="5438775"/>
          <p14:tracePt t="78385" x="8054975" y="5430838"/>
          <p14:tracePt t="78391" x="8029575" y="5430838"/>
          <p14:tracePt t="78399" x="7994650" y="5421313"/>
          <p14:tracePt t="78407" x="7943850" y="5413375"/>
          <p14:tracePt t="78416" x="7918450" y="5405438"/>
          <p14:tracePt t="78423" x="7867650" y="5405438"/>
          <p14:tracePt t="78432" x="7807325" y="5395913"/>
          <p14:tracePt t="78439" x="7766050" y="5387975"/>
          <p14:tracePt t="78447" x="7705725" y="5380038"/>
          <p14:tracePt t="78455" x="7662863" y="5370513"/>
          <p14:tracePt t="78464" x="7604125" y="5353050"/>
          <p14:tracePt t="78473" x="7578725" y="5353050"/>
          <p14:tracePt t="78479" x="7545388" y="5345113"/>
          <p14:tracePt t="78488" x="7527925" y="5345113"/>
          <p14:tracePt t="78736" x="7518400" y="5345113"/>
          <p14:tracePt t="78791" x="7545388" y="5345113"/>
          <p14:tracePt t="78799" x="7596188" y="5345113"/>
          <p14:tracePt t="78807" x="7723188" y="5353050"/>
          <p14:tracePt t="78816" x="7824788" y="5380038"/>
          <p14:tracePt t="78824" x="7943850" y="5413375"/>
          <p14:tracePt t="78832" x="8029575" y="5438775"/>
          <p14:tracePt t="78839" x="8088313" y="5446713"/>
          <p14:tracePt t="78847" x="8181975" y="5456238"/>
          <p14:tracePt t="78855" x="8215313" y="5464175"/>
          <p14:tracePt t="78864" x="8224838" y="5464175"/>
          <p14:tracePt t="78871" x="8232775" y="5464175"/>
          <p14:tracePt t="78911" x="8224838" y="5472113"/>
          <p14:tracePt t="78919" x="8207375" y="5472113"/>
          <p14:tracePt t="78926" x="8181975" y="5481638"/>
          <p14:tracePt t="78936" x="8156575" y="5489575"/>
          <p14:tracePt t="78943" x="8147050" y="5497513"/>
          <p14:tracePt t="78953" x="8121650" y="5507038"/>
          <p14:tracePt t="78959" x="8113713" y="5514975"/>
          <p14:tracePt t="78968" x="8113713" y="5524500"/>
          <p14:tracePt t="78975" x="8105775" y="5532438"/>
          <p14:tracePt t="79046" x="8096250" y="5532438"/>
          <p14:tracePt t="79054" x="8088313" y="5532438"/>
          <p14:tracePt t="79078" x="8080375" y="5532438"/>
          <p14:tracePt t="79102" x="8070850" y="5532438"/>
          <p14:tracePt t="79239" x="8062913" y="5540375"/>
          <p14:tracePt t="79255" x="8045450" y="5557838"/>
          <p14:tracePt t="79280" x="8037513" y="5565775"/>
          <p14:tracePt t="79287" x="8037513" y="5575300"/>
          <p14:tracePt t="79296" x="8029575" y="5575300"/>
          <p14:tracePt t="79304" x="8020050" y="5583238"/>
          <p14:tracePt t="79368" x="8012113" y="5583238"/>
          <p14:tracePt t="79384" x="8004175" y="5583238"/>
          <p14:tracePt t="79399" x="7986713" y="5583238"/>
          <p14:tracePt t="79407" x="7969250" y="5583238"/>
          <p14:tracePt t="79416" x="7961313" y="5575300"/>
          <p14:tracePt t="79423" x="7943850" y="5575300"/>
          <p14:tracePt t="79431" x="7926388" y="5575300"/>
          <p14:tracePt t="79439" x="7926388" y="5565775"/>
          <p14:tracePt t="79447" x="7918450" y="5565775"/>
          <p14:tracePt t="79455" x="7918450" y="5557838"/>
          <p14:tracePt t="79463" x="7910513" y="5557838"/>
          <p14:tracePt t="79471" x="7900988" y="5557838"/>
          <p14:tracePt t="79488" x="7893050" y="5557838"/>
          <p14:tracePt t="79496" x="7885113" y="5549900"/>
          <p14:tracePt t="79814" x="7885113" y="5540375"/>
          <p14:tracePt t="79822" x="7893050" y="5540375"/>
          <p14:tracePt t="79847" x="7893050" y="5532438"/>
          <p14:tracePt t="79896" x="7900988" y="5532438"/>
          <p14:tracePt t="79936" x="7910513" y="5524500"/>
          <p14:tracePt t="81943" x="7900988" y="5524500"/>
          <p14:tracePt t="81958" x="7867650" y="5524500"/>
          <p14:tracePt t="81966" x="7832725" y="5549900"/>
          <p14:tracePt t="81974" x="7731125" y="5583238"/>
          <p14:tracePt t="81982" x="7604125" y="5626100"/>
          <p14:tracePt t="81990" x="7348538" y="5719763"/>
          <p14:tracePt t="81999" x="7034213" y="5803900"/>
          <p14:tracePt t="82006" x="6397625" y="5983288"/>
          <p14:tracePt t="82016" x="5802313" y="6127750"/>
          <p14:tracePt t="82022" x="5259388" y="6254750"/>
          <p14:tracePt t="82031" x="4468813" y="6416675"/>
          <p14:tracePt t="82038" x="3933825" y="6492875"/>
          <p14:tracePt t="82046" x="3424238" y="6577013"/>
          <p14:tracePt t="82054" x="3127375" y="6611938"/>
          <p14:tracePt t="82063" x="2803525" y="6611938"/>
          <p14:tracePt t="82070" x="2651125" y="6611938"/>
          <p14:tracePt t="82079" x="2481263" y="6611938"/>
          <p14:tracePt t="82086" x="2352675" y="6602413"/>
          <p14:tracePt t="82095" x="2235200" y="6586538"/>
          <p14:tracePt t="82102" x="2098675" y="6586538"/>
          <p14:tracePt t="82110" x="2038350" y="6569075"/>
          <p14:tracePt t="82118" x="1962150" y="6569075"/>
          <p14:tracePt t="82126" x="1946275" y="6569075"/>
          <p14:tracePt t="82135" x="1928813" y="6569075"/>
          <p14:tracePt t="82153" x="1946275" y="6569075"/>
          <p14:tracePt t="82158" x="1979613" y="6586538"/>
          <p14:tracePt t="82167" x="2022475" y="6594475"/>
          <p14:tracePt t="82175" x="2090738" y="6627813"/>
          <p14:tracePt t="82183" x="2149475" y="6654800"/>
          <p14:tracePt t="82191" x="2200275" y="6670675"/>
          <p14:tracePt t="82199" x="2243138" y="6670675"/>
          <p14:tracePt t="82320" x="2251075" y="6670675"/>
          <p14:tracePt t="82327" x="2260600" y="6670675"/>
          <p14:tracePt t="82336" x="2268538" y="6670675"/>
          <p14:tracePt t="82352" x="2276475" y="6670675"/>
          <p14:tracePt t="82374" x="2260600" y="6680200"/>
          <p14:tracePt t="82415" x="2260600" y="6670675"/>
          <p14:tracePt t="82439" x="2260600" y="6662738"/>
          <p14:tracePt t="82446" x="2251075" y="6662738"/>
          <p14:tracePt t="82463" x="2251075" y="6654800"/>
          <p14:tracePt t="82479" x="2243138" y="6654800"/>
          <p14:tracePt t="82487" x="2235200" y="6654800"/>
          <p14:tracePt t="82495" x="2225675" y="6645275"/>
          <p14:tracePt t="82511" x="2208213" y="6645275"/>
          <p14:tracePt t="82520" x="2200275" y="6645275"/>
          <p14:tracePt t="82527" x="2174875" y="6637338"/>
          <p14:tracePt t="82536" x="2141538" y="6637338"/>
          <p14:tracePt t="82543" x="2098675" y="6627813"/>
          <p14:tracePt t="82552" x="2022475" y="6611938"/>
          <p14:tracePt t="82559" x="1979613" y="6602413"/>
          <p14:tracePt t="82569" x="1893888" y="6594475"/>
          <p14:tracePt t="82575" x="1827213" y="6577013"/>
          <p14:tracePt t="82585" x="1766888" y="6569075"/>
          <p14:tracePt t="82591" x="1673225" y="6551613"/>
          <p14:tracePt t="82598" x="1597025" y="6543675"/>
          <p14:tracePt t="82606" x="1512888" y="6518275"/>
          <p14:tracePt t="82615" x="1452563" y="6510338"/>
          <p14:tracePt t="82622" x="1358900" y="6500813"/>
          <p14:tracePt t="82630" x="1317625" y="6483350"/>
          <p14:tracePt t="82638" x="1265238" y="6457950"/>
          <p14:tracePt t="82646" x="1231900" y="6442075"/>
          <p14:tracePt t="82655" x="1206500" y="6424613"/>
          <p14:tracePt t="82662" x="1163638" y="6407150"/>
          <p14:tracePt t="82670" x="1138238" y="6399213"/>
          <p14:tracePt t="82679" x="1112838" y="6399213"/>
          <p14:tracePt t="82686" x="1095375" y="6391275"/>
          <p14:tracePt t="82695" x="1079500" y="6373813"/>
          <p14:tracePt t="82702" x="1069975" y="6365875"/>
          <p14:tracePt t="82711" x="1069975" y="6356350"/>
          <p14:tracePt t="82719" x="1062038" y="6356350"/>
          <p14:tracePt t="82727" x="1054100" y="6348413"/>
          <p14:tracePt t="82736" x="1054100" y="6338888"/>
          <p14:tracePt t="82775" x="1044575" y="6338888"/>
          <p14:tracePt t="82807" x="1044575" y="6330950"/>
          <p14:tracePt t="82816" x="1044575" y="6323013"/>
          <p14:tracePt t="82824" x="1028700" y="6297613"/>
          <p14:tracePt t="82831" x="1011238" y="6262688"/>
          <p14:tracePt t="82839" x="976313" y="6186488"/>
          <p14:tracePt t="82847" x="942975" y="6143625"/>
          <p14:tracePt t="82855" x="884238" y="6076950"/>
          <p14:tracePt t="82863" x="841375" y="6024563"/>
          <p14:tracePt t="82871" x="815975" y="5983288"/>
          <p14:tracePt t="82879" x="773113" y="5915025"/>
          <p14:tracePt t="82888" x="747713" y="5889625"/>
          <p14:tracePt t="82895" x="730250" y="5872163"/>
          <p14:tracePt t="82903" x="722313" y="5872163"/>
          <p14:tracePt t="83110" x="714375" y="5889625"/>
          <p14:tracePt t="83118" x="696913" y="5905500"/>
          <p14:tracePt t="83126" x="679450" y="5922963"/>
          <p14:tracePt t="83135" x="661988" y="5948363"/>
          <p14:tracePt t="83143" x="646113" y="5973763"/>
          <p14:tracePt t="83153" x="646113" y="5991225"/>
          <p14:tracePt t="83159" x="636588" y="5999163"/>
          <p14:tracePt t="83166" x="620713" y="6034088"/>
          <p14:tracePt t="83175" x="603250" y="6059488"/>
          <p14:tracePt t="83184" x="585788" y="6084888"/>
          <p14:tracePt t="83191" x="577850" y="6102350"/>
          <p14:tracePt t="83199" x="569913" y="6110288"/>
          <p14:tracePt t="83207" x="569913" y="6118225"/>
          <p14:tracePt t="83216" x="560388" y="6127750"/>
          <p14:tracePt t="83223" x="544513" y="6143625"/>
          <p14:tracePt t="83247" x="534988" y="6143625"/>
          <p14:tracePt t="83358" x="527050" y="6143625"/>
          <p14:tracePt t="83366" x="527050" y="6118225"/>
          <p14:tracePt t="83375" x="527050" y="6092825"/>
          <p14:tracePt t="83382" x="527050" y="6076950"/>
          <p14:tracePt t="83391" x="527050" y="6059488"/>
          <p14:tracePt t="83400" x="527050" y="6024563"/>
          <p14:tracePt t="83406" x="527050" y="5991225"/>
          <p14:tracePt t="83414" x="527050" y="5940425"/>
          <p14:tracePt t="83423" x="534988" y="5880100"/>
          <p14:tracePt t="83431" x="534988" y="5821363"/>
          <p14:tracePt t="83439" x="534988" y="5719763"/>
          <p14:tracePt t="83447" x="534988" y="5651500"/>
          <p14:tracePt t="83455" x="534988" y="5549900"/>
          <p14:tracePt t="83463" x="534988" y="5438775"/>
          <p14:tracePt t="83470" x="534988" y="5286375"/>
          <p14:tracePt t="83478" x="534988" y="5157788"/>
          <p14:tracePt t="83486" x="534988" y="4987925"/>
          <p14:tracePt t="83494" x="509588" y="4868863"/>
          <p14:tracePt t="83503" x="484188" y="4749800"/>
          <p14:tracePt t="83510" x="466725" y="4622800"/>
          <p14:tracePt t="83519" x="450850" y="4538663"/>
          <p14:tracePt t="83526" x="441325" y="4460875"/>
          <p14:tracePt t="83534" x="433388" y="4419600"/>
          <p14:tracePt t="83542" x="433388" y="4376738"/>
          <p14:tracePt t="83550" x="425450" y="4341813"/>
          <p14:tracePt t="83558" x="425450" y="4325938"/>
          <p14:tracePt t="83574" x="425450" y="4316413"/>
          <p14:tracePt t="83678" x="415925" y="4316413"/>
          <p14:tracePt t="83702" x="400050" y="4341813"/>
          <p14:tracePt t="83710" x="390525" y="4394200"/>
          <p14:tracePt t="83718" x="382588" y="4460875"/>
          <p14:tracePt t="83726" x="382588" y="4521200"/>
          <p14:tracePt t="83735" x="382588" y="4589463"/>
          <p14:tracePt t="83743" x="382588" y="4716463"/>
          <p14:tracePt t="83751" x="382588" y="4802188"/>
          <p14:tracePt t="83759" x="382588" y="4929188"/>
          <p14:tracePt t="83767" x="382588" y="5048250"/>
          <p14:tracePt t="83775" x="382588" y="5183188"/>
          <p14:tracePt t="83783" x="382588" y="5286375"/>
          <p14:tracePt t="83791" x="390525" y="5387975"/>
          <p14:tracePt t="83799" x="407988" y="5481638"/>
          <p14:tracePt t="83806" x="415925" y="5575300"/>
          <p14:tracePt t="83816" x="441325" y="5702300"/>
          <p14:tracePt t="83823" x="458788" y="5778500"/>
          <p14:tracePt t="83831" x="492125" y="5905500"/>
          <p14:tracePt t="83839" x="527050" y="5983288"/>
          <p14:tracePt t="83847" x="569913" y="6084888"/>
          <p14:tracePt t="83855" x="595313" y="6135688"/>
          <p14:tracePt t="83863" x="611188" y="6203950"/>
          <p14:tracePt t="83870" x="628650" y="6246813"/>
          <p14:tracePt t="83879" x="646113" y="6262688"/>
          <p14:tracePt t="83886" x="654050" y="6288088"/>
          <p14:tracePt t="83895" x="661988" y="6297613"/>
          <p14:tracePt t="83902" x="671513" y="6305550"/>
          <p14:tracePt t="83927" x="671513" y="6313488"/>
          <p14:tracePt t="83935" x="671513" y="6330950"/>
          <p14:tracePt t="83943" x="671513" y="6338888"/>
          <p14:tracePt t="83953" x="671513" y="6348413"/>
          <p14:tracePt t="83959" x="671513" y="6356350"/>
          <p14:tracePt t="83974" x="671513" y="6373813"/>
          <p14:tracePt t="83990" x="671513" y="6381750"/>
          <p14:tracePt t="83998" x="671513" y="6391275"/>
          <p14:tracePt t="84135" x="671513" y="6381750"/>
          <p14:tracePt t="84151" x="679450" y="6373813"/>
          <p14:tracePt t="84519" x="671513" y="6365875"/>
          <p14:tracePt t="84527" x="661988" y="6365875"/>
          <p14:tracePt t="84536" x="654050" y="6356350"/>
          <p14:tracePt t="84543" x="654050" y="6348413"/>
          <p14:tracePt t="84552" x="654050" y="6338888"/>
          <p14:tracePt t="84559" x="646113" y="6338888"/>
          <p14:tracePt t="84569" x="636588" y="6330950"/>
          <p14:tracePt t="84607" x="636588" y="6323013"/>
          <p14:tracePt t="84631" x="636588" y="6313488"/>
          <p14:tracePt t="84639" x="636588" y="6305550"/>
          <p14:tracePt t="84647" x="646113" y="6305550"/>
          <p14:tracePt t="84655" x="646113" y="6297613"/>
          <p14:tracePt t="84727" x="654050" y="6280150"/>
          <p14:tracePt t="84736" x="679450" y="6272213"/>
          <p14:tracePt t="84743" x="688975" y="6262688"/>
          <p14:tracePt t="84754" x="714375" y="6254750"/>
          <p14:tracePt t="84759" x="730250" y="6254750"/>
          <p14:tracePt t="84769" x="747713" y="6254750"/>
          <p14:tracePt t="84775" x="755650" y="6246813"/>
          <p14:tracePt t="84785" x="773113" y="6246813"/>
          <p14:tracePt t="84791" x="781050" y="6246813"/>
          <p14:tracePt t="84802" x="798513" y="6246813"/>
          <p14:tracePt t="84807" x="831850" y="6237288"/>
          <p14:tracePt t="84816" x="858838" y="6237288"/>
          <p14:tracePt t="84823" x="874713" y="6237288"/>
          <p14:tracePt t="84831" x="892175" y="6237288"/>
          <p14:tracePt t="84839" x="900113" y="6237288"/>
          <p14:tracePt t="84863" x="909638" y="6237288"/>
          <p14:tracePt t="84870" x="909638" y="6246813"/>
          <p14:tracePt t="84879" x="917575" y="6254750"/>
          <p14:tracePt t="84887" x="917575" y="6262688"/>
          <p14:tracePt t="84895" x="942975" y="6280150"/>
          <p14:tracePt t="84903" x="950913" y="6288088"/>
          <p14:tracePt t="84911" x="960438" y="6297613"/>
          <p14:tracePt t="84920" x="960438" y="6305550"/>
          <p14:tracePt t="84927" x="950913" y="6313488"/>
          <p14:tracePt t="85136" x="942975" y="6313488"/>
          <p14:tracePt t="85143" x="925513" y="6305550"/>
          <p14:tracePt t="85157" x="900113" y="6297613"/>
          <p14:tracePt t="85162" x="892175" y="6288088"/>
          <p14:tracePt t="85168" x="874713" y="6280150"/>
          <p14:tracePt t="85175" x="866775" y="6272213"/>
          <p14:tracePt t="85214" x="874713" y="6272213"/>
          <p14:tracePt t="85223" x="874713" y="6280150"/>
          <p14:tracePt t="85239" x="858838" y="6280150"/>
          <p14:tracePt t="85255" x="849313" y="6280150"/>
          <p14:tracePt t="85271" x="841375" y="6280150"/>
          <p14:tracePt t="85279" x="831850" y="6280150"/>
          <p14:tracePt t="85302" x="823913" y="6280150"/>
          <p14:tracePt t="85326" x="815975" y="6280150"/>
          <p14:tracePt t="85431" x="806450" y="6280150"/>
          <p14:tracePt t="85958" x="815975" y="6280150"/>
          <p14:tracePt t="85966" x="823913" y="6280150"/>
          <p14:tracePt t="85974" x="849313" y="6272213"/>
          <p14:tracePt t="85982" x="866775" y="6272213"/>
          <p14:tracePt t="85990" x="892175" y="6272213"/>
          <p14:tracePt t="85999" x="900113" y="6272213"/>
          <p14:tracePt t="86006" x="925513" y="6272213"/>
          <p14:tracePt t="86017" x="935038" y="6272213"/>
          <p14:tracePt t="86023" x="968375" y="6272213"/>
          <p14:tracePt t="86031" x="993775" y="6272213"/>
          <p14:tracePt t="86038" x="1011238" y="6272213"/>
          <p14:tracePt t="86046" x="1044575" y="6272213"/>
          <p14:tracePt t="86054" x="1062038" y="6272213"/>
          <p14:tracePt t="86063" x="1069975" y="6272213"/>
          <p14:tracePt t="86070" x="1079500" y="6272213"/>
          <p14:tracePt t="86079" x="1087438" y="6272213"/>
          <p14:tracePt t="86086" x="1095375" y="6272213"/>
          <p14:tracePt t="86247" x="1087438" y="6272213"/>
          <p14:tracePt t="86336" x="1079500" y="6272213"/>
          <p14:tracePt t="86352" x="1069975" y="6262688"/>
          <p14:tracePt t="86359" x="1062038" y="6262688"/>
          <p14:tracePt t="86367" x="1062038" y="6254750"/>
          <p14:tracePt t="86375" x="1054100" y="6254750"/>
          <p14:tracePt t="86385" x="1044575" y="6246813"/>
          <p14:tracePt t="86456" x="1036638" y="6246813"/>
          <p14:tracePt t="86487" x="1019175" y="6246813"/>
          <p14:tracePt t="86495" x="1011238" y="6246813"/>
          <p14:tracePt t="86503" x="1003300" y="6246813"/>
          <p14:tracePt t="86511" x="993775" y="6246813"/>
          <p14:tracePt t="86519" x="985838" y="6246813"/>
          <p14:tracePt t="86662" x="1011238" y="6246813"/>
          <p14:tracePt t="86670" x="1054100" y="6246813"/>
          <p14:tracePt t="86678" x="1112838" y="6246813"/>
          <p14:tracePt t="86686" x="1163638" y="6246813"/>
          <p14:tracePt t="86695" x="1257300" y="6246813"/>
          <p14:tracePt t="86702" x="1325563" y="6246813"/>
          <p14:tracePt t="86711" x="1435100" y="6246813"/>
          <p14:tracePt t="86718" x="1520825" y="6246813"/>
          <p14:tracePt t="86727" x="1622425" y="6246813"/>
          <p14:tracePt t="86735" x="1690688" y="6246813"/>
          <p14:tracePt t="86743" x="1776413" y="6246813"/>
          <p14:tracePt t="86751" x="1852613" y="6246813"/>
          <p14:tracePt t="86758" x="1903413" y="6246813"/>
          <p14:tracePt t="86767" x="1997075" y="6246813"/>
          <p14:tracePt t="86775" x="2047875" y="6246813"/>
          <p14:tracePt t="86783" x="2124075" y="6246813"/>
          <p14:tracePt t="86790" x="2174875" y="6246813"/>
          <p14:tracePt t="86801" x="2235200" y="6246813"/>
          <p14:tracePt t="86806" x="2276475" y="6246813"/>
          <p14:tracePt t="86816" x="2327275" y="6246813"/>
          <p14:tracePt t="86823" x="2344738" y="6246813"/>
          <p14:tracePt t="86831" x="2370138" y="6246813"/>
          <p14:tracePt t="86839" x="2387600" y="6246813"/>
          <p14:tracePt t="86934" x="2405063" y="6246813"/>
          <p14:tracePt t="86942" x="2420938" y="6246813"/>
          <p14:tracePt t="86950" x="2438400" y="6254750"/>
          <p14:tracePt t="86958" x="2463800" y="6254750"/>
          <p14:tracePt t="86967" x="2481263" y="6262688"/>
          <p14:tracePt t="86974" x="2514600" y="6262688"/>
          <p14:tracePt t="86983" x="2565400" y="6262688"/>
          <p14:tracePt t="86990" x="2608263" y="6262688"/>
          <p14:tracePt t="87000" x="2701925" y="6262688"/>
          <p14:tracePt t="87006" x="2778125" y="6262688"/>
          <p14:tracePt t="87016" x="2905125" y="6262688"/>
          <p14:tracePt t="87023" x="2998788" y="6262688"/>
          <p14:tracePt t="87031" x="3100388" y="6254750"/>
          <p14:tracePt t="87039" x="3178175" y="6254750"/>
          <p14:tracePt t="87047" x="3262313" y="6246813"/>
          <p14:tracePt t="87055" x="3322638" y="6246813"/>
          <p14:tracePt t="87063" x="3363913" y="6237288"/>
          <p14:tracePt t="87070" x="3424238" y="6237288"/>
          <p14:tracePt t="87079" x="3457575" y="6237288"/>
          <p14:tracePt t="87086" x="3500438" y="6237288"/>
          <p14:tracePt t="87095" x="3508375" y="6237288"/>
          <p14:tracePt t="87102" x="3533775" y="6237288"/>
          <p14:tracePt t="87111" x="3543300" y="6237288"/>
          <p14:tracePt t="87118" x="3551238" y="6237288"/>
          <p14:tracePt t="87143" x="3559175" y="6237288"/>
          <p14:tracePt t="87166" x="3568700" y="6237288"/>
          <p14:tracePt t="87519" x="3576638" y="6237288"/>
          <p14:tracePt t="87527" x="3602038" y="6229350"/>
          <p14:tracePt t="87536" x="3636963" y="6229350"/>
          <p14:tracePt t="87543" x="3662363" y="6229350"/>
          <p14:tracePt t="87552" x="3729038" y="6229350"/>
          <p14:tracePt t="87559" x="3763963" y="6229350"/>
          <p14:tracePt t="87568" x="3814763" y="6229350"/>
          <p14:tracePt t="87575" x="3883025" y="6229350"/>
          <p14:tracePt t="87585" x="3916363" y="6229350"/>
          <p14:tracePt t="87591" x="3976688" y="6229350"/>
          <p14:tracePt t="87603" x="4002088" y="6229350"/>
          <p14:tracePt t="87607" x="4035425" y="6229350"/>
          <p14:tracePt t="87618" x="4060825" y="6229350"/>
          <p14:tracePt t="87624" x="4070350" y="6229350"/>
          <p14:tracePt t="87632" x="4078288" y="6229350"/>
          <p14:tracePt t="87935" x="4070350" y="6229350"/>
          <p14:tracePt t="87968" x="4060825" y="6229350"/>
          <p14:tracePt t="87984" x="4052888" y="6229350"/>
          <p14:tracePt t="87999" x="4044950" y="6237288"/>
          <p14:tracePt t="88007" x="4035425" y="6237288"/>
          <p14:tracePt t="88024" x="4027488" y="6237288"/>
          <p14:tracePt t="88032" x="4010025" y="6246813"/>
          <p14:tracePt t="88039" x="4002088" y="6254750"/>
          <p14:tracePt t="88047" x="3992563" y="6254750"/>
          <p14:tracePt t="88055" x="3976688" y="6262688"/>
          <p14:tracePt t="88063" x="3959225" y="6272213"/>
          <p14:tracePt t="88071" x="3951288" y="6280150"/>
          <p14:tracePt t="88079" x="3916363" y="6288088"/>
          <p14:tracePt t="88088" x="3890963" y="6288088"/>
          <p14:tracePt t="88095" x="3857625" y="6288088"/>
          <p14:tracePt t="88104" x="3814763" y="6297613"/>
          <p14:tracePt t="88110" x="3756025" y="6297613"/>
          <p14:tracePt t="88119" x="3703638" y="6297613"/>
          <p14:tracePt t="88127" x="3602038" y="6297613"/>
          <p14:tracePt t="88135" x="3525838" y="6313488"/>
          <p14:tracePt t="88143" x="3457575" y="6313488"/>
          <p14:tracePt t="88152" x="3373438" y="6323013"/>
          <p14:tracePt t="88159" x="3297238" y="6323013"/>
          <p14:tracePt t="88167" x="3203575" y="6323013"/>
          <p14:tracePt t="88175" x="3143250" y="6330950"/>
          <p14:tracePt t="88185" x="3041650" y="6330950"/>
          <p14:tracePt t="88191" x="2973388" y="6330950"/>
          <p14:tracePt t="88201" x="2889250" y="6330950"/>
          <p14:tracePt t="88206" x="2795588" y="6338888"/>
          <p14:tracePt t="88214" x="2709863" y="6338888"/>
          <p14:tracePt t="88222" x="2600325" y="6338888"/>
          <p14:tracePt t="88230" x="2497138" y="6338888"/>
          <p14:tracePt t="88238" x="2387600" y="6338888"/>
          <p14:tracePt t="88246" x="2301875" y="6338888"/>
          <p14:tracePt t="88254" x="2192338" y="6338888"/>
          <p14:tracePt t="88262" x="2116138" y="6338888"/>
          <p14:tracePt t="88270" x="2030413" y="6323013"/>
          <p14:tracePt t="88279" x="1971675" y="6305550"/>
          <p14:tracePt t="88286" x="1911350" y="6297613"/>
          <p14:tracePt t="88294" x="1827213" y="6288088"/>
          <p14:tracePt t="88302" x="1776413" y="6280150"/>
          <p14:tracePt t="88310" x="1716088" y="6272213"/>
          <p14:tracePt t="88318" x="1673225" y="6262688"/>
          <p14:tracePt t="88327" x="1631950" y="6262688"/>
          <p14:tracePt t="88335" x="1597025" y="6254750"/>
          <p14:tracePt t="88342" x="1563688" y="6246813"/>
          <p14:tracePt t="88352" x="1528763" y="6246813"/>
          <p14:tracePt t="88358" x="1512888" y="6246813"/>
          <p14:tracePt t="88368" x="1487488" y="6246813"/>
          <p14:tracePt t="88375" x="1462088" y="6246813"/>
          <p14:tracePt t="88383" x="1444625" y="6246813"/>
          <p14:tracePt t="88391" x="1435100" y="6246813"/>
          <p14:tracePt t="88400" x="1409700" y="6246813"/>
          <p14:tracePt t="88407" x="1401763" y="6246813"/>
          <p14:tracePt t="88416" x="1376363" y="6246813"/>
          <p14:tracePt t="88423" x="1368425" y="6246813"/>
          <p14:tracePt t="88431" x="1350963" y="6246813"/>
          <p14:tracePt t="88439" x="1333500" y="6246813"/>
          <p14:tracePt t="88455" x="1325563" y="6246813"/>
          <p14:tracePt t="88463" x="1308100" y="6246813"/>
          <p14:tracePt t="88471" x="1300163" y="6246813"/>
          <p14:tracePt t="88479" x="1282700" y="6246813"/>
          <p14:tracePt t="88486" x="1274763" y="6237288"/>
          <p14:tracePt t="88495" x="1265238" y="6237288"/>
          <p14:tracePt t="88502" x="1249363" y="6237288"/>
          <p14:tracePt t="88510" x="1239838" y="6237288"/>
          <p14:tracePt t="88518" x="1231900" y="6237288"/>
          <p14:tracePt t="88526" x="1223963" y="6237288"/>
          <p14:tracePt t="88535" x="1206500" y="6237288"/>
          <p14:tracePt t="88542" x="1181100" y="6237288"/>
          <p14:tracePt t="88551" x="1163638" y="6237288"/>
          <p14:tracePt t="88559" x="1112838" y="6237288"/>
          <p14:tracePt t="88568" x="1095375" y="6237288"/>
          <p14:tracePt t="88575" x="1062038" y="6237288"/>
          <p14:tracePt t="88583" x="1028700" y="6237288"/>
          <p14:tracePt t="88591" x="1003300" y="6237288"/>
          <p14:tracePt t="88600" x="968375" y="6237288"/>
          <p14:tracePt t="88606" x="942975" y="6237288"/>
          <p14:tracePt t="88616" x="900113" y="6237288"/>
          <p14:tracePt t="88623" x="874713" y="6229350"/>
          <p14:tracePt t="88632" x="831850" y="6221413"/>
          <p14:tracePt t="88639" x="798513" y="6221413"/>
          <p14:tracePt t="88647" x="781050" y="6203950"/>
          <p14:tracePt t="88655" x="765175" y="6194425"/>
          <p14:tracePt t="88663" x="747713" y="6186488"/>
          <p14:tracePt t="88671" x="730250" y="6186488"/>
          <p14:tracePt t="88686" x="730250" y="6178550"/>
          <p14:tracePt t="88719" x="730250" y="6169025"/>
          <p14:tracePt t="88784" x="739775" y="6169025"/>
          <p14:tracePt t="88791" x="755650" y="6169025"/>
          <p14:tracePt t="88800" x="773113" y="6169025"/>
          <p14:tracePt t="88807" x="798513" y="6169025"/>
          <p14:tracePt t="88817" x="841375" y="6169025"/>
          <p14:tracePt t="88823" x="884238" y="6178550"/>
          <p14:tracePt t="88832" x="942975" y="6203950"/>
          <p14:tracePt t="88839" x="1011238" y="6229350"/>
          <p14:tracePt t="88847" x="1112838" y="6254750"/>
          <p14:tracePt t="88855" x="1181100" y="6262688"/>
          <p14:tracePt t="88864" x="1282700" y="6280150"/>
          <p14:tracePt t="88873" x="1358900" y="6288088"/>
          <p14:tracePt t="88880" x="1401763" y="6288088"/>
          <p14:tracePt t="88888" x="1470025" y="6288088"/>
          <p14:tracePt t="88897" x="1503363" y="6288088"/>
          <p14:tracePt t="88903" x="1554163" y="6288088"/>
          <p14:tracePt t="88911" x="1579563" y="6288088"/>
          <p14:tracePt t="88919" x="1606550" y="6280150"/>
          <p14:tracePt t="88927" x="1622425" y="6272213"/>
          <p14:tracePt t="88937" x="1631950" y="6262688"/>
          <p14:tracePt t="88942" x="1639888" y="6254750"/>
          <p14:tracePt t="88959" x="1647825" y="6254750"/>
          <p14:tracePt t="88967" x="1647825" y="6246813"/>
          <p14:tracePt t="89023" x="1657350" y="6246813"/>
          <p14:tracePt t="89031" x="1665288" y="6246813"/>
          <p14:tracePt t="89038" x="1673225" y="6246813"/>
          <p14:tracePt t="89047" x="1698625" y="6246813"/>
          <p14:tracePt t="89055" x="1716088" y="6246813"/>
          <p14:tracePt t="89063" x="1733550" y="6246813"/>
          <p14:tracePt t="89071" x="1758950" y="6246813"/>
          <p14:tracePt t="89079" x="1784350" y="6246813"/>
          <p14:tracePt t="89087" x="1792288" y="6246813"/>
          <p14:tracePt t="89095" x="1809750" y="6246813"/>
          <p14:tracePt t="89103" x="1817688" y="6246813"/>
          <p14:tracePt t="89127" x="1809750" y="6246813"/>
          <p14:tracePt t="89135" x="1792288" y="6246813"/>
          <p14:tracePt t="89143" x="1776413" y="6246813"/>
          <p14:tracePt t="89342" x="1776413" y="6237288"/>
          <p14:tracePt t="89350" x="1766888" y="6237288"/>
          <p14:tracePt t="89382" x="1766888" y="6229350"/>
          <p14:tracePt t="89391" x="1758950" y="6229350"/>
          <p14:tracePt t="89446" x="1749425" y="6229350"/>
          <p14:tracePt t="89454" x="1741488" y="6221413"/>
          <p14:tracePt t="89462" x="1733550" y="6221413"/>
          <p14:tracePt t="89486" x="1733550" y="6211888"/>
          <p14:tracePt t="89511" x="1724025" y="6211888"/>
          <p14:tracePt t="89663" x="1741488" y="6211888"/>
          <p14:tracePt t="89671" x="1758950" y="6211888"/>
          <p14:tracePt t="89679" x="1766888" y="6211888"/>
          <p14:tracePt t="89687" x="1792288" y="6221413"/>
          <p14:tracePt t="89696" x="1817688" y="6229350"/>
          <p14:tracePt t="89703" x="1835150" y="6237288"/>
          <p14:tracePt t="89712" x="1860550" y="6246813"/>
          <p14:tracePt t="89719" x="1878013" y="6262688"/>
          <p14:tracePt t="89727" x="1920875" y="6262688"/>
          <p14:tracePt t="89737" x="1971675" y="6272213"/>
          <p14:tracePt t="89744" x="2038350" y="6280150"/>
          <p14:tracePt t="89752" x="2098675" y="6288088"/>
          <p14:tracePt t="89759" x="2174875" y="6305550"/>
          <p14:tracePt t="89769" x="2276475" y="6323013"/>
          <p14:tracePt t="89775" x="2344738" y="6330950"/>
          <p14:tracePt t="89784" x="2438400" y="6348413"/>
          <p14:tracePt t="89791" x="2481263" y="6356350"/>
          <p14:tracePt t="89799" x="2524125" y="6365875"/>
          <p14:tracePt t="89806" x="2549525" y="6365875"/>
          <p14:tracePt t="89817" x="2557463" y="6365875"/>
          <p14:tracePt t="90286" x="2590800" y="6365875"/>
          <p14:tracePt t="90294" x="2659063" y="6330950"/>
          <p14:tracePt t="90302" x="2744788" y="6288088"/>
          <p14:tracePt t="90311" x="2838450" y="6262688"/>
          <p14:tracePt t="90318" x="2905125" y="6246813"/>
          <p14:tracePt t="90327" x="2955925" y="6246813"/>
          <p14:tracePt t="90335" x="2982913" y="6237288"/>
          <p14:tracePt t="90343" x="3033713" y="6229350"/>
          <p14:tracePt t="90351" x="3041650" y="6229350"/>
          <p14:tracePt t="90359" x="3049588" y="6211888"/>
          <p14:tracePt t="90368" x="3059113" y="6194425"/>
          <p14:tracePt t="90375" x="3059113" y="6186488"/>
          <p14:tracePt t="90559" x="3074988" y="6186488"/>
          <p14:tracePt t="90568" x="3092450" y="6186488"/>
          <p14:tracePt t="90575" x="3117850" y="6186488"/>
          <p14:tracePt t="90585" x="3135313" y="6186488"/>
          <p14:tracePt t="90591" x="3152775" y="6203950"/>
          <p14:tracePt t="90601" x="3160713" y="6203950"/>
          <p14:tracePt t="90607" x="3168650" y="6203950"/>
          <p14:tracePt t="90632" x="3178175" y="6203950"/>
          <p14:tracePt t="90639" x="3186113" y="6203950"/>
          <p14:tracePt t="90647" x="3186113" y="6211888"/>
          <p14:tracePt t="90664" x="3186113" y="6221413"/>
          <p14:tracePt t="90679" x="3168650" y="6237288"/>
          <p14:tracePt t="90687" x="3152775" y="6254750"/>
          <p14:tracePt t="90695" x="3127375" y="6272213"/>
          <p14:tracePt t="90704" x="3109913" y="6280150"/>
          <p14:tracePt t="90711" x="3092450" y="6280150"/>
          <p14:tracePt t="90719" x="3041650" y="6313488"/>
          <p14:tracePt t="90727" x="3016250" y="6323013"/>
          <p14:tracePt t="90737" x="2982913" y="6338888"/>
          <p14:tracePt t="90743" x="2947988" y="6356350"/>
          <p14:tracePt t="90752" x="2914650" y="6373813"/>
          <p14:tracePt t="90759" x="2889250" y="6391275"/>
          <p14:tracePt t="90768" x="2879725" y="6391275"/>
          <p14:tracePt t="90775" x="2871788" y="6391275"/>
          <p14:tracePt t="90785" x="2863850" y="6391275"/>
          <p14:tracePt t="90791" x="2854325" y="6391275"/>
          <p14:tracePt t="90807" x="2838450" y="6391275"/>
          <p14:tracePt t="90823" x="2828925" y="6391275"/>
          <p14:tracePt t="90835" x="2820988" y="6391275"/>
          <p14:tracePt t="90839" x="2811463" y="6391275"/>
          <p14:tracePt t="90847" x="2795588" y="6391275"/>
          <p14:tracePt t="90855" x="2778125" y="6381750"/>
          <p14:tracePt t="90864" x="2760663" y="6373813"/>
          <p14:tracePt t="90871" x="2735263" y="6356350"/>
          <p14:tracePt t="90879" x="2701925" y="6356350"/>
          <p14:tracePt t="90887" x="2676525" y="6348413"/>
          <p14:tracePt t="90984" x="2684463" y="6348413"/>
          <p14:tracePt t="90991" x="2693988" y="6348413"/>
          <p14:tracePt t="90999" x="2701925" y="6348413"/>
          <p14:tracePt t="91007" x="2727325" y="6348413"/>
          <p14:tracePt t="91018" x="2735263" y="6338888"/>
          <p14:tracePt t="91023" x="2744788" y="6338888"/>
          <p14:tracePt t="91035" x="2760663" y="6330950"/>
          <p14:tracePt t="91039" x="2760663" y="6323013"/>
          <p14:tracePt t="91047" x="2770188" y="6323013"/>
          <p14:tracePt t="91064" x="2778125" y="6313488"/>
          <p14:tracePt t="91071" x="2786063" y="6313488"/>
          <p14:tracePt t="91079" x="2795588" y="6313488"/>
          <p14:tracePt t="91087" x="2803525" y="6313488"/>
          <p14:tracePt t="91095" x="2820988" y="6313488"/>
          <p14:tracePt t="91103" x="2838450" y="6313488"/>
          <p14:tracePt t="91111" x="2879725" y="6305550"/>
          <p14:tracePt t="91119" x="2914650" y="6297613"/>
          <p14:tracePt t="91126" x="2973388" y="6297613"/>
          <p14:tracePt t="91135" x="3084513" y="6297613"/>
          <p14:tracePt t="91143" x="3178175" y="6297613"/>
          <p14:tracePt t="91151" x="3322638" y="6297613"/>
          <p14:tracePt t="91159" x="3432175" y="6297613"/>
          <p14:tracePt t="91167" x="3559175" y="6297613"/>
          <p14:tracePt t="91175" x="3662363" y="6297613"/>
          <p14:tracePt t="91182" x="3771900" y="6297613"/>
          <p14:tracePt t="91190" x="3848100" y="6297613"/>
          <p14:tracePt t="91198" x="3900488" y="6297613"/>
          <p14:tracePt t="91206" x="3941763" y="6297613"/>
          <p14:tracePt t="91215" x="3967163" y="6297613"/>
          <p14:tracePt t="91222" x="3992563" y="6297613"/>
          <p14:tracePt t="91599" x="4002088" y="6297613"/>
          <p14:tracePt t="91607" x="4017963" y="6288088"/>
          <p14:tracePt t="91616" x="4044950" y="6288088"/>
          <p14:tracePt t="91623" x="4070350" y="6280150"/>
          <p14:tracePt t="91634" x="4121150" y="6280150"/>
          <p14:tracePt t="91639" x="4146550" y="6280150"/>
          <p14:tracePt t="91647" x="4162425" y="6288088"/>
          <p14:tracePt t="91655" x="4187825" y="6313488"/>
          <p14:tracePt t="91664" x="4205288" y="6323013"/>
          <p14:tracePt t="91671" x="4222750" y="6330950"/>
          <p14:tracePt t="91679" x="4222750" y="6338888"/>
          <p14:tracePt t="91687" x="4205288" y="6348413"/>
          <p14:tracePt t="91863" x="4205288" y="6356350"/>
          <p14:tracePt t="91872" x="4214813" y="6356350"/>
          <p14:tracePt t="91879" x="4222750" y="6356350"/>
          <p14:tracePt t="91911" x="4205288" y="6356350"/>
          <p14:tracePt t="91919" x="4171950" y="6356350"/>
          <p14:tracePt t="91927" x="4137025" y="6356350"/>
          <p14:tracePt t="91952" x="4095750" y="6338888"/>
          <p14:tracePt t="91984" x="4086225" y="6338888"/>
          <p14:tracePt t="92038" x="4078288" y="6338888"/>
          <p14:tracePt t="92046" x="4070350" y="6338888"/>
          <p14:tracePt t="92062" x="4060825" y="6338888"/>
          <p14:tracePt t="92070" x="4044950" y="6338888"/>
          <p14:tracePt t="92078" x="4035425" y="6338888"/>
          <p14:tracePt t="92086" x="4027488" y="6348413"/>
          <p14:tracePt t="92094" x="4017963" y="6348413"/>
          <p14:tracePt t="93095" x="4027488" y="6348413"/>
          <p14:tracePt t="93103" x="4052888" y="6348413"/>
          <p14:tracePt t="93111" x="4078288" y="6348413"/>
          <p14:tracePt t="93119" x="4111625" y="6348413"/>
          <p14:tracePt t="93127" x="4146550" y="6348413"/>
          <p14:tracePt t="93136" x="4214813" y="6348413"/>
          <p14:tracePt t="93143" x="4273550" y="6356350"/>
          <p14:tracePt t="93153" x="4341813" y="6365875"/>
          <p14:tracePt t="93159" x="4400550" y="6365875"/>
          <p14:tracePt t="93168" x="4468813" y="6365875"/>
          <p14:tracePt t="93175" x="4545013" y="6365875"/>
          <p14:tracePt t="93184" x="4638675" y="6365875"/>
          <p14:tracePt t="93191" x="4724400" y="6365875"/>
          <p14:tracePt t="93199" x="4808538" y="6365875"/>
          <p14:tracePt t="93207" x="4953000" y="6365875"/>
          <p14:tracePt t="93216" x="5054600" y="6365875"/>
          <p14:tracePt t="93223" x="5183188" y="6365875"/>
          <p14:tracePt t="93231" x="5249863" y="6365875"/>
          <p14:tracePt t="93238" x="5360988" y="6365875"/>
          <p14:tracePt t="93246" x="5437188" y="6365875"/>
          <p14:tracePt t="93255" x="5487988" y="6365875"/>
          <p14:tracePt t="93263" x="5522913" y="6365875"/>
          <p14:tracePt t="93271" x="5548313" y="6365875"/>
          <p14:tracePt t="93278" x="5556250" y="6365875"/>
          <p14:tracePt t="93286" x="5565775" y="6365875"/>
          <p14:tracePt t="93527" x="5573713" y="6365875"/>
          <p14:tracePt t="93536" x="5581650" y="6365875"/>
          <p14:tracePt t="93543" x="5599113" y="6365875"/>
          <p14:tracePt t="93552" x="5616575" y="6365875"/>
          <p14:tracePt t="93559" x="5624513" y="6365875"/>
          <p14:tracePt t="93568" x="5649913" y="6365875"/>
          <p14:tracePt t="93575" x="5657850" y="6365875"/>
          <p14:tracePt t="93584" x="5675313" y="6365875"/>
          <p14:tracePt t="93591" x="5692775" y="6365875"/>
          <p14:tracePt t="93601" x="5726113" y="6356350"/>
          <p14:tracePt t="93607" x="5743575" y="6356350"/>
          <p14:tracePt t="93618" x="5776913" y="6356350"/>
          <p14:tracePt t="93623" x="5794375" y="6356350"/>
          <p14:tracePt t="93631" x="5802313" y="6356350"/>
          <p14:tracePt t="93639" x="5819775" y="6356350"/>
          <p14:tracePt t="93655" x="5827713" y="6356350"/>
          <p14:tracePt t="93680" x="5837238" y="6356350"/>
          <p14:tracePt t="96135" x="5870575" y="6356350"/>
          <p14:tracePt t="96143" x="5956300" y="6356350"/>
          <p14:tracePt t="96152" x="6083300" y="6356350"/>
          <p14:tracePt t="96159" x="6235700" y="6356350"/>
          <p14:tracePt t="96168" x="6415088" y="6356350"/>
          <p14:tracePt t="96175" x="6711950" y="6323013"/>
          <p14:tracePt t="96184" x="6992938" y="6272213"/>
          <p14:tracePt t="96191" x="7416800" y="6178550"/>
          <p14:tracePt t="96208" x="8207375" y="6024563"/>
          <p14:tracePt t="96215" x="8521700" y="5957888"/>
          <p14:tracePt t="96223" x="8802688" y="5889625"/>
          <p14:tracePt t="96232" x="9193213" y="5829300"/>
          <p14:tracePt t="96239" x="9413875" y="5788025"/>
          <p14:tracePt t="96246" x="9694863" y="5735638"/>
          <p14:tracePt t="96255" x="9812338" y="5719763"/>
          <p14:tracePt t="96263" x="9974263" y="5694363"/>
          <p14:tracePt t="96271" x="10059988" y="5676900"/>
          <p14:tracePt t="96279" x="10204450" y="5659438"/>
          <p14:tracePt t="96286" x="10271125" y="5634038"/>
          <p14:tracePt t="96294" x="10364788" y="5626100"/>
          <p14:tracePt t="96302" x="10407650" y="5616575"/>
          <p14:tracePt t="96310" x="10442575" y="5616575"/>
          <p14:tracePt t="96318" x="10458450" y="5608638"/>
          <p14:tracePt t="96326" x="10475913" y="5600700"/>
          <p14:tracePt t="96334" x="10483850" y="5600700"/>
          <p14:tracePt t="96350" x="10458450" y="5600700"/>
          <p14:tracePt t="96664" x="10458450" y="5608638"/>
          <p14:tracePt t="96671" x="10467975" y="5608638"/>
          <p14:tracePt t="96679" x="10493375" y="5626100"/>
          <p14:tracePt t="96687" x="10518775" y="5634038"/>
          <p14:tracePt t="96696" x="10534650" y="5651500"/>
          <p14:tracePt t="96703" x="10569575" y="5659438"/>
          <p14:tracePt t="96711" x="10594975" y="5659438"/>
          <p14:tracePt t="96720" x="10612438" y="5659438"/>
          <p14:tracePt t="96727" x="10663238" y="5659438"/>
          <p14:tracePt t="96736" x="10747375" y="5626100"/>
          <p14:tracePt t="96743" x="10848975" y="5600700"/>
          <p14:tracePt t="96751" x="11044238" y="5524500"/>
          <p14:tracePt t="96759" x="11249025" y="5464175"/>
          <p14:tracePt t="96767" x="11596688" y="5353050"/>
          <p14:tracePt t="96775" x="11860213" y="5268913"/>
          <p14:tracePt t="96782" x="12184063" y="5157788"/>
          <p14:tracePt t="102264" x="11903075" y="5030788"/>
          <p14:tracePt t="102270" x="11715750" y="5030788"/>
          <p14:tracePt t="102278" x="11368088" y="5030788"/>
          <p14:tracePt t="102286" x="11104563" y="5030788"/>
          <p14:tracePt t="102295" x="10585450" y="5030788"/>
          <p14:tracePt t="102302" x="10186988" y="5030788"/>
          <p14:tracePt t="102311" x="9667875" y="5030788"/>
          <p14:tracePt t="102318" x="9261475" y="5013325"/>
          <p14:tracePt t="102326" x="8666163" y="4911725"/>
          <p14:tracePt t="102335" x="8266113" y="4818063"/>
          <p14:tracePt t="102343" x="7935913" y="4767263"/>
          <p14:tracePt t="102351" x="7535863" y="4665663"/>
          <p14:tracePt t="102359" x="7256463" y="4622800"/>
          <p14:tracePt t="102368" x="6915150" y="4546600"/>
          <p14:tracePt t="102375" x="6831013" y="4546600"/>
          <p14:tracePt t="102384" x="6754813" y="4546600"/>
          <p14:tracePt t="102391" x="6729413" y="4546600"/>
          <p14:tracePt t="102399" x="6686550" y="4546600"/>
          <p14:tracePt t="102407" x="6678613" y="4546600"/>
          <p14:tracePt t="102416" x="6669088" y="4529138"/>
          <p14:tracePt t="102423" x="6669088" y="4503738"/>
          <p14:tracePt t="102671" x="6711950" y="4503738"/>
          <p14:tracePt t="102679" x="6788150" y="4538663"/>
          <p14:tracePt t="102687" x="6856413" y="4579938"/>
          <p14:tracePt t="102695" x="6889750" y="4614863"/>
          <p14:tracePt t="102703" x="6915150" y="4622800"/>
          <p14:tracePt t="102711" x="6924675" y="4657725"/>
          <p14:tracePt t="102719" x="6924675" y="4673600"/>
          <p14:tracePt t="102727" x="6907213" y="4691063"/>
          <p14:tracePt t="102736" x="6873875" y="4708525"/>
          <p14:tracePt t="102743" x="6813550" y="4733925"/>
          <p14:tracePt t="102753" x="6737350" y="4767263"/>
          <p14:tracePt t="102759" x="6584950" y="4818063"/>
          <p14:tracePt t="102769" x="6473825" y="4868863"/>
          <p14:tracePt t="102775" x="6321425" y="4911725"/>
          <p14:tracePt t="102783" x="6057900" y="4997450"/>
          <p14:tracePt t="102791" x="5862638" y="5038725"/>
          <p14:tracePt t="102799" x="5581650" y="5091113"/>
          <p14:tracePt t="102807" x="5353050" y="5149850"/>
          <p14:tracePt t="102815" x="5140325" y="5175250"/>
          <p14:tracePt t="102822" x="4987925" y="5175250"/>
          <p14:tracePt t="102832" x="4724400" y="5175250"/>
          <p14:tracePt t="102839" x="4554538" y="5175250"/>
          <p14:tracePt t="102848" x="4410075" y="5149850"/>
          <p14:tracePt t="102855" x="4103688" y="5106988"/>
          <p14:tracePt t="102865" x="3840163" y="5022850"/>
          <p14:tracePt t="102871" x="3500438" y="4835525"/>
          <p14:tracePt t="102879" x="3236913" y="4665663"/>
          <p14:tracePt t="102886" x="2838450" y="4402138"/>
          <p14:tracePt t="102895" x="2565400" y="4146550"/>
          <p14:tracePt t="102903" x="2200275" y="3679825"/>
          <p14:tracePt t="102911" x="2012950" y="3340100"/>
          <p14:tracePt t="102918" x="1809750" y="3000375"/>
          <p14:tracePt t="102926" x="1546225" y="2592388"/>
          <p14:tracePt t="102935" x="1419225" y="2371725"/>
          <p14:tracePt t="102950" x="1300163" y="2124075"/>
          <p14:tracePt t="102952" x="1257300" y="2030413"/>
          <p14:tracePt t="102959" x="1214438" y="1946275"/>
          <p14:tracePt t="102968" x="1206500" y="1895475"/>
          <p14:tracePt t="102975" x="1198563" y="1878013"/>
          <p14:tracePt t="102983" x="1189038" y="1870075"/>
          <p14:tracePt t="102991" x="1189038" y="1860550"/>
          <p14:tracePt t="103064" x="1198563" y="1870075"/>
          <p14:tracePt t="103071" x="1231900" y="1878013"/>
          <p14:tracePt t="103279" x="1239838" y="1878013"/>
          <p14:tracePt t="103295" x="1257300" y="1878013"/>
          <p14:tracePt t="103303" x="1223963" y="1885950"/>
          <p14:tracePt t="103311" x="1206500" y="1885950"/>
          <p14:tracePt t="103319" x="1155700" y="1885950"/>
          <p14:tracePt t="103326" x="1095375" y="1885950"/>
          <p14:tracePt t="103335" x="1028700" y="1878013"/>
          <p14:tracePt t="103342" x="909638" y="1870075"/>
          <p14:tracePt t="103351" x="823913" y="1844675"/>
          <p14:tracePt t="103359" x="704850" y="1819275"/>
          <p14:tracePt t="103368" x="595313" y="1809750"/>
          <p14:tracePt t="103375" x="476250" y="1758950"/>
          <p14:tracePt t="103384" x="390525" y="1733550"/>
          <p14:tracePt t="103390" x="271463" y="1674813"/>
          <p14:tracePt t="103399" x="177800" y="1614488"/>
          <p14:tracePt t="103407" x="42863" y="1555750"/>
          <p14:tracePt t="107702" x="246063" y="2065338"/>
          <p14:tracePt t="107702" x="347663" y="2235200"/>
          <p14:tracePt t="107702" x="390525" y="2336800"/>
          <p14:tracePt t="107702" x="425450" y="2438400"/>
          <p14:tracePt t="107702" x="441325" y="2489200"/>
          <p14:tracePt t="107702" x="441325" y="2516188"/>
          <p14:tracePt t="107702" x="441325" y="2549525"/>
          <p14:tracePt t="107702" x="441325" y="2582863"/>
          <p14:tracePt t="107702" x="441325" y="2617788"/>
          <p14:tracePt t="107702" x="441325" y="2643188"/>
          <p14:tracePt t="107702" x="441325" y="2676525"/>
          <p14:tracePt t="107702" x="441325" y="2711450"/>
          <p14:tracePt t="107702" x="476250" y="2744788"/>
          <p14:tracePt t="107702" x="492125" y="2744788"/>
          <p14:tracePt t="107702" x="517525" y="2744788"/>
          <p14:tracePt t="107702" x="458788" y="2752725"/>
          <p14:tracePt t="107702" x="400050" y="2762250"/>
          <p14:tracePt t="107702" x="322263" y="2795588"/>
          <p14:tracePt t="107702" x="296863" y="2820988"/>
          <p14:tracePt t="107702" x="296863" y="2846388"/>
          <p14:tracePt t="107702" x="306388" y="2871788"/>
          <p14:tracePt t="107702" x="347663" y="2881313"/>
          <p14:tracePt t="107702" x="400050" y="2897188"/>
          <p14:tracePt t="107702" x="458788" y="2932113"/>
          <p14:tracePt t="107702" x="569913" y="2982913"/>
          <p14:tracePt t="107702" x="671513" y="3025775"/>
          <p14:tracePt t="107702" x="866775" y="3119438"/>
          <p14:tracePt t="107702" x="1054100" y="3186113"/>
          <p14:tracePt t="107702" x="1401763" y="3297238"/>
          <p14:tracePt t="107702" x="1733550" y="3355975"/>
          <p14:tracePt t="107702" x="2293938" y="3459163"/>
          <p14:tracePt t="107702" x="2871788" y="3459163"/>
          <p14:tracePt t="107702" x="3389313" y="3459163"/>
          <p14:tracePt t="107702" x="4367213" y="3459163"/>
          <p14:tracePt t="107702" x="5080000" y="3459163"/>
          <p14:tracePt t="107702" x="6142038" y="3459163"/>
          <p14:tracePt t="107702" x="6831013" y="3459163"/>
          <p14:tracePt t="107702" x="7807325" y="3459163"/>
          <p14:tracePt t="107702" x="8462963" y="3459163"/>
          <p14:tracePt t="107702" x="9236075" y="3459163"/>
          <p14:tracePt t="107702" x="9558338" y="3459163"/>
          <p14:tracePt t="107702" x="9847263" y="3459163"/>
          <p14:tracePt t="107702" x="10050463" y="3459163"/>
          <p14:tracePt t="107702" x="10153650" y="3459163"/>
          <p14:tracePt t="107702" x="10204450" y="3459163"/>
          <p14:tracePt t="107702" x="10229850" y="3459163"/>
          <p14:tracePt t="107702" x="10220325" y="3459163"/>
          <p14:tracePt t="107702" x="10194925" y="3459163"/>
          <p14:tracePt t="107702" x="10153650" y="3441700"/>
          <p14:tracePt t="107702" x="10101263" y="3398838"/>
          <p14:tracePt t="107702" x="10093325" y="3390900"/>
          <p14:tracePt t="107702" x="10093325" y="3382963"/>
          <p14:tracePt t="107702" x="10093325" y="3390900"/>
          <p14:tracePt t="107702" x="10110788" y="3433763"/>
          <p14:tracePt t="107702" x="10118725" y="3459163"/>
          <p14:tracePt t="107702" x="10118725" y="3475038"/>
          <p14:tracePt t="107702" x="10118725" y="3502025"/>
          <p14:tracePt t="107702" x="10110788" y="3517900"/>
          <p14:tracePt t="107702" x="10101263" y="3527425"/>
          <p14:tracePt t="107702" x="10093325" y="3535363"/>
          <p14:tracePt t="107702" x="10075863" y="3535363"/>
          <p14:tracePt t="107702" x="10034588" y="3517900"/>
          <p14:tracePt t="107702" x="9931400" y="3475038"/>
          <p14:tracePt t="107702" x="9821863" y="3408363"/>
          <p14:tracePt t="107702" x="9626600" y="3305175"/>
          <p14:tracePt t="107702" x="9201150" y="3059113"/>
          <p14:tracePt t="107702" x="8886825" y="2855913"/>
          <p14:tracePt t="107702" x="8453438" y="2574925"/>
          <p14:tracePt t="107702" x="8113713" y="2362200"/>
          <p14:tracePt t="107702" x="7654925" y="2090738"/>
          <p14:tracePt t="107702" x="7315200" y="1885950"/>
          <p14:tracePt t="107702" x="6856413" y="1597025"/>
          <p14:tracePt t="107702" x="6483350" y="1360488"/>
          <p14:tracePt t="107702" x="6049963" y="1028700"/>
          <p14:tracePt t="107702" x="5421313" y="620713"/>
          <p14:tracePt t="107702" x="4962525" y="331788"/>
          <p14:tracePt t="107702" x="4400550" y="25400"/>
        </p14:tracePtLst>
      </p14:laserTraceLst>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09E113E-AE6B-420F-A4DD-DCF35F5F32CD}"/>
              </a:ext>
            </a:extLst>
          </p:cNvPr>
          <p:cNvSpPr>
            <a:spLocks noGrp="1"/>
          </p:cNvSpPr>
          <p:nvPr>
            <p:ph sz="quarter" idx="15"/>
          </p:nvPr>
        </p:nvSpPr>
        <p:spPr>
          <a:xfrm>
            <a:off x="6210302" y="1561144"/>
            <a:ext cx="5981698" cy="4479059"/>
          </a:xfrm>
        </p:spPr>
        <p:txBody>
          <a:bodyPr>
            <a:noAutofit/>
          </a:bodyPr>
          <a:lstStyle/>
          <a:p>
            <a:r>
              <a:rPr lang="en-US" dirty="0"/>
              <a:t>Starts with functional test of each network node</a:t>
            </a:r>
          </a:p>
          <a:p>
            <a:pPr lvl="1"/>
            <a:r>
              <a:rPr lang="en-US" dirty="0"/>
              <a:t>Assure functionality</a:t>
            </a:r>
          </a:p>
          <a:p>
            <a:pPr lvl="1"/>
            <a:r>
              <a:rPr lang="en-US" dirty="0"/>
              <a:t>Different types of equipment – digital, RF</a:t>
            </a:r>
          </a:p>
          <a:p>
            <a:pPr lvl="1"/>
            <a:r>
              <a:rPr lang="en-US" dirty="0"/>
              <a:t>Environmental tests</a:t>
            </a:r>
          </a:p>
          <a:p>
            <a:r>
              <a:rPr lang="en-US" dirty="0"/>
              <a:t>Test network functionality and performance</a:t>
            </a:r>
          </a:p>
          <a:p>
            <a:pPr lvl="1"/>
            <a:r>
              <a:rPr lang="en-US" dirty="0"/>
              <a:t>…under quiescent conditions</a:t>
            </a:r>
          </a:p>
          <a:p>
            <a:pPr lvl="1"/>
            <a:r>
              <a:rPr lang="en-US" dirty="0"/>
              <a:t>…under stressful conditions</a:t>
            </a:r>
          </a:p>
          <a:p>
            <a:pPr lvl="1"/>
            <a:r>
              <a:rPr lang="en-US" dirty="0"/>
              <a:t>…under cyber attack</a:t>
            </a:r>
          </a:p>
          <a:p>
            <a:r>
              <a:rPr lang="en-US" dirty="0"/>
              <a:t>Huge number of potential test case scenarios</a:t>
            </a:r>
          </a:p>
          <a:p>
            <a:pPr lvl="1"/>
            <a:r>
              <a:rPr lang="en-US" dirty="0"/>
              <a:t>Cannot test them all</a:t>
            </a:r>
          </a:p>
          <a:p>
            <a:pPr lvl="1"/>
            <a:r>
              <a:rPr lang="en-US" dirty="0"/>
              <a:t>Identify key test cases</a:t>
            </a:r>
          </a:p>
          <a:p>
            <a:r>
              <a:rPr lang="en-US" dirty="0"/>
              <a:t>Field testing is expensive, slow and insecure</a:t>
            </a:r>
          </a:p>
          <a:p>
            <a:pPr lvl="1"/>
            <a:r>
              <a:rPr lang="en-US" dirty="0"/>
              <a:t>Do most testing in the lab</a:t>
            </a:r>
          </a:p>
        </p:txBody>
      </p:sp>
      <p:pic>
        <p:nvPicPr>
          <p:cNvPr id="9" name="Picture 2" descr="Diagram&#10;&#10;Description automatically generated">
            <a:extLst>
              <a:ext uri="{FF2B5EF4-FFF2-40B4-BE49-F238E27FC236}">
                <a16:creationId xmlns:a16="http://schemas.microsoft.com/office/drawing/2014/main" id="{B7A8139E-376A-45A7-986C-062EFC12CB44}"/>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449580" y="2486490"/>
            <a:ext cx="5532120" cy="3111817"/>
          </a:xfrm>
          <a:prstGeom prst="rect">
            <a:avLst/>
          </a:prstGeom>
          <a:noFill/>
        </p:spPr>
      </p:pic>
      <p:sp>
        <p:nvSpPr>
          <p:cNvPr id="3" name="Text Placeholder 2">
            <a:extLst>
              <a:ext uri="{FF2B5EF4-FFF2-40B4-BE49-F238E27FC236}">
                <a16:creationId xmlns:a16="http://schemas.microsoft.com/office/drawing/2014/main" id="{FF5DBB2B-736A-4BF4-8BFA-B058490A395A}"/>
              </a:ext>
            </a:extLst>
          </p:cNvPr>
          <p:cNvSpPr>
            <a:spLocks noGrp="1"/>
          </p:cNvSpPr>
          <p:nvPr>
            <p:ph type="body" sz="quarter" idx="13"/>
          </p:nvPr>
        </p:nvSpPr>
        <p:spPr>
          <a:xfrm>
            <a:off x="449201" y="920555"/>
            <a:ext cx="6383399" cy="339138"/>
          </a:xfrm>
        </p:spPr>
        <p:txBody>
          <a:bodyPr anchor="ctr">
            <a:normAutofit fontScale="92500" lnSpcReduction="20000"/>
          </a:bodyPr>
          <a:lstStyle/>
          <a:p>
            <a:r>
              <a:rPr lang="en-US" dirty="0"/>
              <a:t>Requires many steps and test scenarios</a:t>
            </a:r>
          </a:p>
        </p:txBody>
      </p:sp>
      <p:sp>
        <p:nvSpPr>
          <p:cNvPr id="5" name="Title 4">
            <a:extLst>
              <a:ext uri="{FF2B5EF4-FFF2-40B4-BE49-F238E27FC236}">
                <a16:creationId xmlns:a16="http://schemas.microsoft.com/office/drawing/2014/main" id="{CE24342E-D67E-4A78-9848-D2A7D3A134E8}"/>
              </a:ext>
            </a:extLst>
          </p:cNvPr>
          <p:cNvSpPr>
            <a:spLocks noGrp="1"/>
          </p:cNvSpPr>
          <p:nvPr>
            <p:ph type="title"/>
          </p:nvPr>
        </p:nvSpPr>
        <p:spPr>
          <a:xfrm>
            <a:off x="449202" y="372339"/>
            <a:ext cx="11293597" cy="492443"/>
          </a:xfrm>
        </p:spPr>
        <p:txBody>
          <a:bodyPr anchor="t">
            <a:normAutofit/>
          </a:bodyPr>
          <a:lstStyle/>
          <a:p>
            <a:r>
              <a:rPr lang="en-US" dirty="0"/>
              <a:t>Testing Mixed-Use Networks</a:t>
            </a:r>
          </a:p>
        </p:txBody>
      </p:sp>
      <p:pic>
        <p:nvPicPr>
          <p:cNvPr id="4" name="Audio 3">
            <a:hlinkClick r:id="" action="ppaction://media"/>
            <a:extLst>
              <a:ext uri="{FF2B5EF4-FFF2-40B4-BE49-F238E27FC236}">
                <a16:creationId xmlns:a16="http://schemas.microsoft.com/office/drawing/2014/main" id="{0CB53E17-E765-4F2E-BC08-9C09201A4506}"/>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1288159440"/>
      </p:ext>
    </p:extLst>
  </p:cSld>
  <p:clrMapOvr>
    <a:masterClrMapping/>
  </p:clrMapOvr>
  <mc:AlternateContent xmlns:mc="http://schemas.openxmlformats.org/markup-compatibility/2006" xmlns:p14="http://schemas.microsoft.com/office/powerpoint/2010/main">
    <mc:Choice Requires="p14">
      <p:transition spd="slow" p14:dur="2000" advTm="93727"/>
    </mc:Choice>
    <mc:Fallback xmlns="">
      <p:transition spd="slow" advTm="9372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extLst>
    <p:ext uri="{3A86A75C-4F4B-4683-9AE1-C65F6400EC91}">
      <p14:laserTraceLst xmlns:p14="http://schemas.microsoft.com/office/powerpoint/2010/main">
        <p14:tracePtLst>
          <p14:tracePt t="81993" x="484188" y="2455863"/>
          <p14:tracePt t="82000" x="1130300" y="3076575"/>
          <p14:tracePt t="82008" x="1606550" y="3560763"/>
          <p14:tracePt t="82017" x="2090738" y="4062413"/>
          <p14:tracePt t="82023" x="2395538" y="4341813"/>
          <p14:tracePt t="82033" x="2684463" y="4564063"/>
          <p14:tracePt t="82040" x="3041650" y="4843463"/>
          <p14:tracePt t="82049" x="3322638" y="4997450"/>
          <p14:tracePt t="82056" x="3678238" y="5167313"/>
          <p14:tracePt t="82064" x="3873500" y="5276850"/>
          <p14:tracePt t="82072" x="4060825" y="5362575"/>
          <p14:tracePt t="82080" x="4171950" y="5421313"/>
          <p14:tracePt t="82088" x="4256088" y="5456238"/>
          <p14:tracePt t="82096" x="4306888" y="5464175"/>
          <p14:tracePt t="82104" x="4316413" y="5472113"/>
          <p14:tracePt t="82112" x="4316413" y="5456238"/>
          <p14:tracePt t="82120" x="4306888" y="5413375"/>
          <p14:tracePt t="82128" x="4230688" y="5319713"/>
          <p14:tracePt t="82136" x="4222750" y="5302250"/>
          <p14:tracePt t="82344" x="4240213" y="5327650"/>
          <p14:tracePt t="82353" x="4256088" y="5380038"/>
          <p14:tracePt t="82360" x="4298950" y="5456238"/>
          <p14:tracePt t="82370" x="4349750" y="5524500"/>
          <p14:tracePt t="82376" x="4375150" y="5565775"/>
          <p14:tracePt t="82384" x="4410075" y="5608638"/>
          <p14:tracePt t="82392" x="4460875" y="5659438"/>
          <p14:tracePt t="82400" x="4529138" y="5727700"/>
          <p14:tracePt t="82408" x="4605338" y="5778500"/>
          <p14:tracePt t="82416" x="4689475" y="5872163"/>
          <p14:tracePt t="82423" x="4783138" y="5932488"/>
          <p14:tracePt t="82433" x="4884738" y="5999163"/>
          <p14:tracePt t="82440" x="4987925" y="6049963"/>
          <p14:tracePt t="82449" x="5106988" y="6110288"/>
          <p14:tracePt t="82455" x="5191125" y="6118225"/>
          <p14:tracePt t="82463" x="5241925" y="6127750"/>
          <p14:tracePt t="82472" x="5284788" y="6127750"/>
          <p14:tracePt t="82479" x="5292725" y="6127750"/>
          <p14:tracePt t="82487" x="5302250" y="6127750"/>
          <p14:tracePt t="82496" x="5310188" y="6127750"/>
          <p14:tracePt t="83224" x="5327650" y="6127750"/>
          <p14:tracePt t="83232" x="5394325" y="6135688"/>
          <p14:tracePt t="83240" x="5599113" y="6161088"/>
          <p14:tracePt t="83249" x="5819775" y="6211888"/>
          <p14:tracePt t="83256" x="6065838" y="6237288"/>
          <p14:tracePt t="83264" x="6261100" y="6280150"/>
          <p14:tracePt t="83272" x="6380163" y="6305550"/>
          <p14:tracePt t="83280" x="6491288" y="6305550"/>
          <p14:tracePt t="83288" x="6550025" y="6305550"/>
          <p14:tracePt t="83297" x="6600825" y="6305550"/>
          <p14:tracePt t="83304" x="6661150" y="6305550"/>
          <p14:tracePt t="83312" x="6719888" y="6305550"/>
          <p14:tracePt t="83321" x="6823075" y="6280150"/>
          <p14:tracePt t="83328" x="6942138" y="6254750"/>
          <p14:tracePt t="83337" x="7102475" y="6229350"/>
          <p14:tracePt t="83343" x="7297738" y="6178550"/>
          <p14:tracePt t="83352" x="7596188" y="6067425"/>
          <p14:tracePt t="83359" x="7773988" y="6016625"/>
          <p14:tracePt t="83367" x="8004175" y="5957888"/>
          <p14:tracePt t="83375" x="8131175" y="5922963"/>
          <p14:tracePt t="83383" x="8232775" y="5897563"/>
          <p14:tracePt t="83391" x="8334375" y="5889625"/>
          <p14:tracePt t="83399" x="8369300" y="5872163"/>
          <p14:tracePt t="83407" x="8385175" y="5864225"/>
          <p14:tracePt t="83416" x="8394700" y="5854700"/>
          <p14:tracePt t="83456" x="8385175" y="5854700"/>
          <p14:tracePt t="83464" x="8343900" y="5854700"/>
          <p14:tracePt t="83472" x="8301038" y="5854700"/>
          <p14:tracePt t="83480" x="8207375" y="5864225"/>
          <p14:tracePt t="83488" x="8139113" y="5889625"/>
          <p14:tracePt t="83496" x="8037513" y="5897563"/>
          <p14:tracePt t="83504" x="7977188" y="5905500"/>
          <p14:tracePt t="83512" x="7918450" y="5922963"/>
          <p14:tracePt t="83521" x="7893050" y="5932488"/>
          <p14:tracePt t="83528" x="7885113" y="5957888"/>
          <p14:tracePt t="83541" x="7885113" y="5983288"/>
          <p14:tracePt t="83544" x="7893050" y="6016625"/>
          <p14:tracePt t="83551" x="7951788" y="6076950"/>
          <p14:tracePt t="83559" x="7994650" y="6110288"/>
          <p14:tracePt t="83567" x="8088313" y="6169025"/>
          <p14:tracePt t="83575" x="8189913" y="6169025"/>
          <p14:tracePt t="83583" x="8326438" y="6169025"/>
          <p14:tracePt t="83591" x="8428038" y="6161088"/>
          <p14:tracePt t="83600" x="8555038" y="6143625"/>
          <p14:tracePt t="83607" x="8632825" y="6127750"/>
          <p14:tracePt t="83616" x="8691563" y="6118225"/>
          <p14:tracePt t="83623" x="8750300" y="6102350"/>
          <p14:tracePt t="83632" x="8777288" y="6084888"/>
          <p14:tracePt t="83639" x="8793163" y="6067425"/>
          <p14:tracePt t="83655" x="8793163" y="6059488"/>
          <p14:tracePt t="83687" x="8767763" y="6059488"/>
          <p14:tracePt t="83695" x="8716963" y="6059488"/>
          <p14:tracePt t="83703" x="8640763" y="6059488"/>
          <p14:tracePt t="83711" x="8529638" y="6059488"/>
          <p14:tracePt t="83720" x="8420100" y="6059488"/>
          <p14:tracePt t="83727" x="8275638" y="6059488"/>
          <p14:tracePt t="83736" x="8062913" y="6059488"/>
          <p14:tracePt t="83743" x="7910513" y="6059488"/>
          <p14:tracePt t="83751" x="7715250" y="6059488"/>
          <p14:tracePt t="83759" x="7586663" y="6059488"/>
          <p14:tracePt t="83767" x="7502525" y="6059488"/>
          <p14:tracePt t="83775" x="7467600" y="6067425"/>
          <p14:tracePt t="83799" x="7477125" y="6076950"/>
          <p14:tracePt t="83807" x="7510463" y="6076950"/>
          <p14:tracePt t="83815" x="7586663" y="6084888"/>
          <p14:tracePt t="83823" x="7654925" y="6092825"/>
          <p14:tracePt t="83832" x="7756525" y="6118225"/>
          <p14:tracePt t="83839" x="7885113" y="6127750"/>
          <p14:tracePt t="83848" x="8004175" y="6127750"/>
          <p14:tracePt t="83855" x="8139113" y="6127750"/>
          <p14:tracePt t="83863" x="8240713" y="6127750"/>
          <p14:tracePt t="83871" x="8343900" y="6102350"/>
          <p14:tracePt t="83879" x="8402638" y="6092825"/>
          <p14:tracePt t="83887" x="8445500" y="6084888"/>
          <p14:tracePt t="83896" x="8462963" y="6076950"/>
          <p14:tracePt t="83903" x="8462963" y="6067425"/>
          <p14:tracePt t="83928" x="8435975" y="6049963"/>
          <p14:tracePt t="83936" x="8402638" y="6042025"/>
          <p14:tracePt t="83949" x="8301038" y="6034088"/>
          <p14:tracePt t="83951" x="8215313" y="6034088"/>
          <p14:tracePt t="83960" x="8105775" y="6034088"/>
          <p14:tracePt t="83967" x="7943850" y="6059488"/>
          <p14:tracePt t="83976" x="7816850" y="6084888"/>
          <p14:tracePt t="83983" x="7629525" y="6110288"/>
          <p14:tracePt t="83992" x="7518400" y="6135688"/>
          <p14:tracePt t="84000" x="7416800" y="6169025"/>
          <p14:tracePt t="84008" x="7366000" y="6194425"/>
          <p14:tracePt t="84016" x="7340600" y="6211888"/>
          <p14:tracePt t="84023" x="7340600" y="6221413"/>
          <p14:tracePt t="84039" x="7366000" y="6237288"/>
          <p14:tracePt t="84048" x="7426325" y="6237288"/>
          <p14:tracePt t="84055" x="7510463" y="6246813"/>
          <p14:tracePt t="84063" x="7596188" y="6246813"/>
          <p14:tracePt t="84071" x="7731125" y="6237288"/>
          <p14:tracePt t="84079" x="7842250" y="6221413"/>
          <p14:tracePt t="84087" x="7969250" y="6203950"/>
          <p14:tracePt t="84095" x="8029575" y="6186488"/>
          <p14:tracePt t="84103" x="8080375" y="6169025"/>
          <p14:tracePt t="84111" x="8096250" y="6153150"/>
          <p14:tracePt t="84136" x="8088313" y="6143625"/>
          <p14:tracePt t="84143" x="8054975" y="6143625"/>
          <p14:tracePt t="84151" x="8020050" y="6135688"/>
          <p14:tracePt t="84159" x="7935913" y="6135688"/>
          <p14:tracePt t="84167" x="7850188" y="6135688"/>
          <p14:tracePt t="84175" x="7740650" y="6135688"/>
          <p14:tracePt t="84183" x="7654925" y="6135688"/>
          <p14:tracePt t="84191" x="7561263" y="6153150"/>
          <p14:tracePt t="84199" x="7451725" y="6169025"/>
          <p14:tracePt t="84207" x="7400925" y="6178550"/>
          <p14:tracePt t="84215" x="7366000" y="6194425"/>
          <p14:tracePt t="84256" x="7400925" y="6194425"/>
          <p14:tracePt t="84264" x="7442200" y="6194425"/>
          <p14:tracePt t="84272" x="7510463" y="6194425"/>
          <p14:tracePt t="84280" x="7586663" y="6178550"/>
          <p14:tracePt t="84288" x="7688263" y="6161088"/>
          <p14:tracePt t="84296" x="7766050" y="6153150"/>
          <p14:tracePt t="84304" x="7824788" y="6135688"/>
          <p14:tracePt t="84312" x="7832725" y="6135688"/>
          <p14:tracePt t="84320" x="7842250" y="6135688"/>
          <p14:tracePt t="84360" x="7816850" y="6135688"/>
          <p14:tracePt t="84368" x="7791450" y="6135688"/>
          <p14:tracePt t="84376" x="7731125" y="6135688"/>
          <p14:tracePt t="84384" x="7654925" y="6135688"/>
          <p14:tracePt t="84392" x="7578725" y="6143625"/>
          <p14:tracePt t="84401" x="7451725" y="6169025"/>
          <p14:tracePt t="84408" x="7383463" y="6178550"/>
          <p14:tracePt t="84416" x="7307263" y="6194425"/>
          <p14:tracePt t="84424" x="7272338" y="6194425"/>
          <p14:tracePt t="84433" x="7264400" y="6194425"/>
          <p14:tracePt t="84457" x="7289800" y="6194425"/>
          <p14:tracePt t="84464" x="7340600" y="6194425"/>
          <p14:tracePt t="84472" x="7451725" y="6194425"/>
          <p14:tracePt t="84480" x="7570788" y="6194425"/>
          <p14:tracePt t="84488" x="7697788" y="6186488"/>
          <p14:tracePt t="84496" x="7807325" y="6169025"/>
          <p14:tracePt t="84504" x="7935913" y="6153150"/>
          <p14:tracePt t="84512" x="7994650" y="6127750"/>
          <p14:tracePt t="84520" x="8054975" y="6118225"/>
          <p14:tracePt t="84528" x="8070850" y="6118225"/>
          <p14:tracePt t="84536" x="8080375" y="6118225"/>
          <p14:tracePt t="84545" x="8080375" y="6110288"/>
          <p14:tracePt t="84567" x="8062913" y="6110288"/>
          <p14:tracePt t="84575" x="8037513" y="6110288"/>
          <p14:tracePt t="84584" x="7994650" y="6110288"/>
          <p14:tracePt t="84592" x="7918450" y="6110288"/>
          <p14:tracePt t="84600" x="7859713" y="6118225"/>
          <p14:tracePt t="84608" x="7791450" y="6135688"/>
          <p14:tracePt t="84616" x="7715250" y="6143625"/>
          <p14:tracePt t="84623" x="7672388" y="6153150"/>
          <p14:tracePt t="84632" x="7621588" y="6161088"/>
          <p14:tracePt t="84640" x="7612063" y="6161088"/>
          <p14:tracePt t="84672" x="7629525" y="6161088"/>
          <p14:tracePt t="84680" x="7662863" y="6161088"/>
          <p14:tracePt t="84688" x="7723188" y="6143625"/>
          <p14:tracePt t="84696" x="7766050" y="6127750"/>
          <p14:tracePt t="84704" x="7842250" y="6092825"/>
          <p14:tracePt t="84711" x="7900988" y="6084888"/>
          <p14:tracePt t="84720" x="7961313" y="6076950"/>
          <p14:tracePt t="84728" x="7986713" y="6076950"/>
          <p14:tracePt t="84736" x="8004175" y="6067425"/>
          <p14:tracePt t="84767" x="7994650" y="6067425"/>
          <p14:tracePt t="84775" x="7986713" y="6067425"/>
          <p14:tracePt t="84783" x="7951788" y="6067425"/>
          <p14:tracePt t="84792" x="7910513" y="6067425"/>
          <p14:tracePt t="84800" x="7875588" y="6067425"/>
          <p14:tracePt t="84808" x="7807325" y="6067425"/>
          <p14:tracePt t="84816" x="7766050" y="6076950"/>
          <p14:tracePt t="84823" x="7705725" y="6084888"/>
          <p14:tracePt t="84832" x="7629525" y="6092825"/>
          <p14:tracePt t="84840" x="7586663" y="6110288"/>
          <p14:tracePt t="84849" x="7527925" y="6118225"/>
          <p14:tracePt t="84856" x="7493000" y="6118225"/>
          <p14:tracePt t="84864" x="7426325" y="6127750"/>
          <p14:tracePt t="84872" x="7383463" y="6135688"/>
          <p14:tracePt t="84880" x="7323138" y="6143625"/>
          <p14:tracePt t="84888" x="7281863" y="6143625"/>
          <p14:tracePt t="84896" x="7246938" y="6143625"/>
          <p14:tracePt t="84904" x="7213600" y="6143625"/>
          <p14:tracePt t="84920" x="7204075" y="6143625"/>
          <p14:tracePt t="84949" x="7213600" y="6143625"/>
          <p14:tracePt t="84951" x="7246938" y="6135688"/>
          <p14:tracePt t="84960" x="7307263" y="6135688"/>
          <p14:tracePt t="84967" x="7434263" y="6118225"/>
          <p14:tracePt t="84975" x="7545388" y="6118225"/>
          <p14:tracePt t="84983" x="7672388" y="6118225"/>
          <p14:tracePt t="84991" x="7875588" y="6135688"/>
          <p14:tracePt t="84999" x="8004175" y="6161088"/>
          <p14:tracePt t="85007" x="8139113" y="6178550"/>
          <p14:tracePt t="85015" x="8232775" y="6186488"/>
          <p14:tracePt t="85023" x="8318500" y="6203950"/>
          <p14:tracePt t="85031" x="8359775" y="6211888"/>
          <p14:tracePt t="85039" x="8385175" y="6221413"/>
          <p14:tracePt t="85047" x="8394700" y="6229350"/>
          <p14:tracePt t="85055" x="8402638" y="6229350"/>
          <p14:tracePt t="85063" x="8402638" y="6237288"/>
          <p14:tracePt t="85071" x="8385175" y="6237288"/>
          <p14:tracePt t="85079" x="8369300" y="6237288"/>
          <p14:tracePt t="85087" x="8334375" y="6237288"/>
          <p14:tracePt t="85095" x="8266113" y="6237288"/>
          <p14:tracePt t="85103" x="8224838" y="6229350"/>
          <p14:tracePt t="85111" x="8131175" y="6211888"/>
          <p14:tracePt t="85119" x="7994650" y="6203950"/>
          <p14:tracePt t="85128" x="7867650" y="6203950"/>
          <p14:tracePt t="85135" x="7629525" y="6203950"/>
          <p14:tracePt t="85143" x="7459663" y="6203950"/>
          <p14:tracePt t="85151" x="7137400" y="6203950"/>
          <p14:tracePt t="85159" x="6899275" y="6211888"/>
          <p14:tracePt t="85167" x="6559550" y="6297613"/>
          <p14:tracePt t="85175" x="6311900" y="6416675"/>
          <p14:tracePt t="85183" x="5921375" y="6586538"/>
          <p14:tracePt t="85191" x="5675313" y="6705600"/>
          <p14:tracePt t="85199" x="5378450" y="6824663"/>
          <p14:tracePt t="86160" x="0" y="0"/>
        </p14:tracePtLst>
      </p14:laserTraceLst>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0D0EA95-3EE3-4948-B3DD-0DE7DD5FE348}"/>
              </a:ext>
            </a:extLst>
          </p:cNvPr>
          <p:cNvSpPr>
            <a:spLocks noGrp="1"/>
          </p:cNvSpPr>
          <p:nvPr>
            <p:ph sz="quarter" idx="14"/>
          </p:nvPr>
        </p:nvSpPr>
        <p:spPr>
          <a:xfrm>
            <a:off x="449580" y="1802870"/>
            <a:ext cx="7780020" cy="1853169"/>
          </a:xfrm>
        </p:spPr>
        <p:txBody>
          <a:bodyPr/>
          <a:lstStyle/>
          <a:p>
            <a:r>
              <a:rPr lang="en-US" dirty="0"/>
              <a:t>Test each network node in isolation, not as part of a larger network</a:t>
            </a:r>
          </a:p>
          <a:p>
            <a:r>
              <a:rPr lang="en-US" dirty="0"/>
              <a:t>Classical functional tests with pass/fail results</a:t>
            </a:r>
          </a:p>
          <a:p>
            <a:r>
              <a:rPr lang="en-US" dirty="0"/>
              <a:t>Complicated by the presence of different types of nodes</a:t>
            </a:r>
          </a:p>
          <a:p>
            <a:pPr lvl="1"/>
            <a:r>
              <a:rPr lang="en-US" dirty="0"/>
              <a:t>Testing a surveillance camera is different from testing a radio is different from testing a radar</a:t>
            </a:r>
          </a:p>
        </p:txBody>
      </p:sp>
      <p:sp>
        <p:nvSpPr>
          <p:cNvPr id="3" name="Text Placeholder 2">
            <a:extLst>
              <a:ext uri="{FF2B5EF4-FFF2-40B4-BE49-F238E27FC236}">
                <a16:creationId xmlns:a16="http://schemas.microsoft.com/office/drawing/2014/main" id="{D0DBD667-84CC-436C-AB63-97C8CB2DF03D}"/>
              </a:ext>
            </a:extLst>
          </p:cNvPr>
          <p:cNvSpPr>
            <a:spLocks noGrp="1"/>
          </p:cNvSpPr>
          <p:nvPr>
            <p:ph type="body" sz="quarter" idx="13"/>
          </p:nvPr>
        </p:nvSpPr>
        <p:spPr/>
        <p:txBody>
          <a:bodyPr/>
          <a:lstStyle/>
          <a:p>
            <a:r>
              <a:rPr lang="en-US" dirty="0"/>
              <a:t>This is the easy part</a:t>
            </a:r>
          </a:p>
        </p:txBody>
      </p:sp>
      <p:sp>
        <p:nvSpPr>
          <p:cNvPr id="5" name="Title 4">
            <a:extLst>
              <a:ext uri="{FF2B5EF4-FFF2-40B4-BE49-F238E27FC236}">
                <a16:creationId xmlns:a16="http://schemas.microsoft.com/office/drawing/2014/main" id="{B5CE2B12-7357-4370-ADC4-6166C211CBAA}"/>
              </a:ext>
            </a:extLst>
          </p:cNvPr>
          <p:cNvSpPr>
            <a:spLocks noGrp="1"/>
          </p:cNvSpPr>
          <p:nvPr>
            <p:ph type="title"/>
          </p:nvPr>
        </p:nvSpPr>
        <p:spPr/>
        <p:txBody>
          <a:bodyPr/>
          <a:lstStyle/>
          <a:p>
            <a:r>
              <a:rPr lang="en-US" dirty="0"/>
              <a:t>Functional Testing</a:t>
            </a:r>
          </a:p>
        </p:txBody>
      </p:sp>
      <p:pic>
        <p:nvPicPr>
          <p:cNvPr id="6" name="Picture 5">
            <a:extLst>
              <a:ext uri="{FF2B5EF4-FFF2-40B4-BE49-F238E27FC236}">
                <a16:creationId xmlns:a16="http://schemas.microsoft.com/office/drawing/2014/main" id="{45076452-10DD-3049-BC08-261AB58D1EF8}"/>
              </a:ext>
            </a:extLst>
          </p:cNvPr>
          <p:cNvPicPr>
            <a:picLocks noChangeAspect="1"/>
          </p:cNvPicPr>
          <p:nvPr/>
        </p:nvPicPr>
        <p:blipFill>
          <a:blip r:embed="rId5"/>
          <a:stretch>
            <a:fillRect/>
          </a:stretch>
        </p:blipFill>
        <p:spPr>
          <a:xfrm>
            <a:off x="572631" y="4161794"/>
            <a:ext cx="2797875" cy="1453530"/>
          </a:xfrm>
          <a:prstGeom prst="rect">
            <a:avLst/>
          </a:prstGeom>
        </p:spPr>
      </p:pic>
      <p:pic>
        <p:nvPicPr>
          <p:cNvPr id="7" name="Picture 6">
            <a:extLst>
              <a:ext uri="{FF2B5EF4-FFF2-40B4-BE49-F238E27FC236}">
                <a16:creationId xmlns:a16="http://schemas.microsoft.com/office/drawing/2014/main" id="{FAFF1822-4832-624F-BE89-FB8A893AE794}"/>
              </a:ext>
            </a:extLst>
          </p:cNvPr>
          <p:cNvPicPr>
            <a:picLocks noChangeAspect="1"/>
          </p:cNvPicPr>
          <p:nvPr/>
        </p:nvPicPr>
        <p:blipFill>
          <a:blip r:embed="rId6"/>
          <a:stretch>
            <a:fillRect/>
          </a:stretch>
        </p:blipFill>
        <p:spPr>
          <a:xfrm>
            <a:off x="3562345" y="4072418"/>
            <a:ext cx="2343098" cy="1404616"/>
          </a:xfrm>
          <a:prstGeom prst="rect">
            <a:avLst/>
          </a:prstGeom>
        </p:spPr>
      </p:pic>
      <p:pic>
        <p:nvPicPr>
          <p:cNvPr id="8" name="Picture 7">
            <a:extLst>
              <a:ext uri="{FF2B5EF4-FFF2-40B4-BE49-F238E27FC236}">
                <a16:creationId xmlns:a16="http://schemas.microsoft.com/office/drawing/2014/main" id="{C7C83D2C-282F-E048-9CE2-B30ABDF19522}"/>
              </a:ext>
            </a:extLst>
          </p:cNvPr>
          <p:cNvPicPr/>
          <p:nvPr/>
        </p:nvPicPr>
        <p:blipFill rotWithShape="1">
          <a:blip r:embed="rId7">
            <a:extLst>
              <a:ext uri="{28A0092B-C50C-407E-A947-70E740481C1C}">
                <a14:useLocalDpi xmlns:a14="http://schemas.microsoft.com/office/drawing/2010/main" val="0"/>
              </a:ext>
            </a:extLst>
          </a:blip>
          <a:srcRect r="5639"/>
          <a:stretch/>
        </p:blipFill>
        <p:spPr bwMode="auto">
          <a:xfrm>
            <a:off x="8829189" y="507426"/>
            <a:ext cx="2913231" cy="3148613"/>
          </a:xfrm>
          <a:prstGeom prst="rect">
            <a:avLst/>
          </a:prstGeom>
          <a:noFill/>
          <a:ln>
            <a:noFill/>
          </a:ln>
          <a:effectLst/>
          <a:extLst>
            <a:ext uri="{53640926-AAD7-44D8-BBD7-CCE9431645EC}">
              <a14:shadowObscured xmlns:a14="http://schemas.microsoft.com/office/drawing/2010/main"/>
            </a:ext>
          </a:extLst>
        </p:spPr>
      </p:pic>
      <p:sp>
        <p:nvSpPr>
          <p:cNvPr id="9" name="TextBox 8">
            <a:extLst>
              <a:ext uri="{FF2B5EF4-FFF2-40B4-BE49-F238E27FC236}">
                <a16:creationId xmlns:a16="http://schemas.microsoft.com/office/drawing/2014/main" id="{92702182-541C-FE4D-871F-CB76D868CCD2}"/>
              </a:ext>
            </a:extLst>
          </p:cNvPr>
          <p:cNvSpPr txBox="1"/>
          <p:nvPr/>
        </p:nvSpPr>
        <p:spPr>
          <a:xfrm>
            <a:off x="9241971" y="3751498"/>
            <a:ext cx="1603003" cy="276999"/>
          </a:xfrm>
          <a:prstGeom prst="rect">
            <a:avLst/>
          </a:prstGeom>
          <a:noFill/>
        </p:spPr>
        <p:txBody>
          <a:bodyPr wrap="none" lIns="0" tIns="0" rIns="0" bIns="0" rtlCol="0">
            <a:spAutoFit/>
          </a:bodyPr>
          <a:lstStyle/>
          <a:p>
            <a:pPr algn="l"/>
            <a:r>
              <a:rPr lang="en-US" dirty="0">
                <a:solidFill>
                  <a:schemeClr val="tx1">
                    <a:lumMod val="85000"/>
                    <a:lumOff val="15000"/>
                  </a:schemeClr>
                </a:solidFill>
              </a:rPr>
              <a:t>EW test system</a:t>
            </a:r>
          </a:p>
        </p:txBody>
      </p:sp>
      <p:sp>
        <p:nvSpPr>
          <p:cNvPr id="10" name="TextBox 9">
            <a:extLst>
              <a:ext uri="{FF2B5EF4-FFF2-40B4-BE49-F238E27FC236}">
                <a16:creationId xmlns:a16="http://schemas.microsoft.com/office/drawing/2014/main" id="{C973DC68-609C-764F-AA90-3B829AA2DBD3}"/>
              </a:ext>
            </a:extLst>
          </p:cNvPr>
          <p:cNvSpPr txBox="1"/>
          <p:nvPr/>
        </p:nvSpPr>
        <p:spPr>
          <a:xfrm>
            <a:off x="573750" y="5615324"/>
            <a:ext cx="2795637" cy="276999"/>
          </a:xfrm>
          <a:prstGeom prst="rect">
            <a:avLst/>
          </a:prstGeom>
          <a:noFill/>
        </p:spPr>
        <p:txBody>
          <a:bodyPr wrap="none" lIns="0" tIns="0" rIns="0" bIns="0" rtlCol="0">
            <a:spAutoFit/>
          </a:bodyPr>
          <a:lstStyle/>
          <a:p>
            <a:pPr algn="l"/>
            <a:r>
              <a:rPr lang="en-US" dirty="0">
                <a:solidFill>
                  <a:schemeClr val="tx1">
                    <a:lumMod val="85000"/>
                    <a:lumOff val="15000"/>
                  </a:schemeClr>
                </a:solidFill>
              </a:rPr>
              <a:t>Handheld radio test system</a:t>
            </a:r>
          </a:p>
        </p:txBody>
      </p:sp>
      <p:sp>
        <p:nvSpPr>
          <p:cNvPr id="11" name="TextBox 10">
            <a:extLst>
              <a:ext uri="{FF2B5EF4-FFF2-40B4-BE49-F238E27FC236}">
                <a16:creationId xmlns:a16="http://schemas.microsoft.com/office/drawing/2014/main" id="{A160A45F-50BB-4243-9C7F-F97533BAF6FB}"/>
              </a:ext>
            </a:extLst>
          </p:cNvPr>
          <p:cNvSpPr txBox="1"/>
          <p:nvPr/>
        </p:nvSpPr>
        <p:spPr>
          <a:xfrm>
            <a:off x="3690820" y="5615324"/>
            <a:ext cx="2086149" cy="276999"/>
          </a:xfrm>
          <a:prstGeom prst="rect">
            <a:avLst/>
          </a:prstGeom>
          <a:noFill/>
        </p:spPr>
        <p:txBody>
          <a:bodyPr wrap="none" lIns="0" tIns="0" rIns="0" bIns="0" rtlCol="0">
            <a:spAutoFit/>
          </a:bodyPr>
          <a:lstStyle/>
          <a:p>
            <a:pPr algn="l"/>
            <a:r>
              <a:rPr lang="en-US" dirty="0">
                <a:solidFill>
                  <a:schemeClr val="tx1">
                    <a:lumMod val="85000"/>
                    <a:lumOff val="15000"/>
                  </a:schemeClr>
                </a:solidFill>
              </a:rPr>
              <a:t>IoT WiFi test system</a:t>
            </a:r>
          </a:p>
        </p:txBody>
      </p:sp>
      <p:pic>
        <p:nvPicPr>
          <p:cNvPr id="12" name="Picture 11">
            <a:extLst>
              <a:ext uri="{FF2B5EF4-FFF2-40B4-BE49-F238E27FC236}">
                <a16:creationId xmlns:a16="http://schemas.microsoft.com/office/drawing/2014/main" id="{83729079-E03D-4246-91D8-4613C4829394}"/>
              </a:ext>
            </a:extLst>
          </p:cNvPr>
          <p:cNvPicPr>
            <a:picLocks noChangeAspect="1"/>
          </p:cNvPicPr>
          <p:nvPr/>
        </p:nvPicPr>
        <p:blipFill>
          <a:blip r:embed="rId8"/>
          <a:stretch>
            <a:fillRect/>
          </a:stretch>
        </p:blipFill>
        <p:spPr>
          <a:xfrm>
            <a:off x="6082622" y="4267720"/>
            <a:ext cx="1813971" cy="1209314"/>
          </a:xfrm>
          <a:prstGeom prst="rect">
            <a:avLst/>
          </a:prstGeom>
        </p:spPr>
      </p:pic>
      <p:sp>
        <p:nvSpPr>
          <p:cNvPr id="13" name="TextBox 12">
            <a:extLst>
              <a:ext uri="{FF2B5EF4-FFF2-40B4-BE49-F238E27FC236}">
                <a16:creationId xmlns:a16="http://schemas.microsoft.com/office/drawing/2014/main" id="{B17F9001-0686-C549-9EEE-1915C35FC2B5}"/>
              </a:ext>
            </a:extLst>
          </p:cNvPr>
          <p:cNvSpPr txBox="1"/>
          <p:nvPr/>
        </p:nvSpPr>
        <p:spPr>
          <a:xfrm>
            <a:off x="6322759" y="5615323"/>
            <a:ext cx="1333698" cy="276999"/>
          </a:xfrm>
          <a:prstGeom prst="rect">
            <a:avLst/>
          </a:prstGeom>
          <a:noFill/>
        </p:spPr>
        <p:txBody>
          <a:bodyPr wrap="none" lIns="0" tIns="0" rIns="0" bIns="0" rtlCol="0">
            <a:spAutoFit/>
          </a:bodyPr>
          <a:lstStyle/>
          <a:p>
            <a:pPr algn="l"/>
            <a:r>
              <a:rPr lang="en-US" dirty="0">
                <a:solidFill>
                  <a:schemeClr val="tx1">
                    <a:lumMod val="85000"/>
                    <a:lumOff val="15000"/>
                  </a:schemeClr>
                </a:solidFill>
              </a:rPr>
              <a:t>5G UE tester</a:t>
            </a:r>
          </a:p>
        </p:txBody>
      </p:sp>
      <p:pic>
        <p:nvPicPr>
          <p:cNvPr id="14" name="Picture 13">
            <a:extLst>
              <a:ext uri="{FF2B5EF4-FFF2-40B4-BE49-F238E27FC236}">
                <a16:creationId xmlns:a16="http://schemas.microsoft.com/office/drawing/2014/main" id="{46630472-4287-7D4F-8F96-F3D11C1FAA5E}"/>
              </a:ext>
            </a:extLst>
          </p:cNvPr>
          <p:cNvPicPr>
            <a:picLocks noChangeAspect="1"/>
          </p:cNvPicPr>
          <p:nvPr/>
        </p:nvPicPr>
        <p:blipFill rotWithShape="1">
          <a:blip r:embed="rId9"/>
          <a:srcRect t="7107" r="25427" b="5712"/>
          <a:stretch/>
        </p:blipFill>
        <p:spPr>
          <a:xfrm>
            <a:off x="8637411" y="4267720"/>
            <a:ext cx="2931992" cy="1815845"/>
          </a:xfrm>
          <a:prstGeom prst="rect">
            <a:avLst/>
          </a:prstGeom>
        </p:spPr>
      </p:pic>
      <p:sp>
        <p:nvSpPr>
          <p:cNvPr id="15" name="TextBox 14">
            <a:extLst>
              <a:ext uri="{FF2B5EF4-FFF2-40B4-BE49-F238E27FC236}">
                <a16:creationId xmlns:a16="http://schemas.microsoft.com/office/drawing/2014/main" id="{45470579-CD43-504E-BD85-34C2961634CA}"/>
              </a:ext>
            </a:extLst>
          </p:cNvPr>
          <p:cNvSpPr txBox="1"/>
          <p:nvPr/>
        </p:nvSpPr>
        <p:spPr>
          <a:xfrm>
            <a:off x="8919236" y="6170298"/>
            <a:ext cx="2282676" cy="276999"/>
          </a:xfrm>
          <a:prstGeom prst="rect">
            <a:avLst/>
          </a:prstGeom>
          <a:noFill/>
        </p:spPr>
        <p:txBody>
          <a:bodyPr wrap="none" lIns="0" tIns="0" rIns="0" bIns="0" rtlCol="0">
            <a:spAutoFit/>
          </a:bodyPr>
          <a:lstStyle/>
          <a:p>
            <a:pPr algn="l"/>
            <a:r>
              <a:rPr lang="en-US" dirty="0">
                <a:solidFill>
                  <a:schemeClr val="tx1">
                    <a:lumMod val="85000"/>
                    <a:lumOff val="15000"/>
                  </a:schemeClr>
                </a:solidFill>
              </a:rPr>
              <a:t>Radar target simulator</a:t>
            </a:r>
          </a:p>
        </p:txBody>
      </p:sp>
      <p:pic>
        <p:nvPicPr>
          <p:cNvPr id="4" name="Audio 3">
            <a:hlinkClick r:id="" action="ppaction://media"/>
            <a:extLst>
              <a:ext uri="{FF2B5EF4-FFF2-40B4-BE49-F238E27FC236}">
                <a16:creationId xmlns:a16="http://schemas.microsoft.com/office/drawing/2014/main" id="{E472189C-9BFD-45C7-AA6F-890A4C094BB8}"/>
              </a:ext>
            </a:extLst>
          </p:cNvPr>
          <p:cNvPicPr>
            <a:picLocks noChangeAspect="1"/>
          </p:cNvPicPr>
          <p:nvPr>
            <a:audioFile r:link="rId2"/>
            <p:extLst>
              <p:ext uri="{DAA4B4D4-6D71-4841-9C94-3DE7FCFB9230}">
                <p14:media xmlns:p14="http://schemas.microsoft.com/office/powerpoint/2010/main" r:embed="rId1"/>
              </p:ext>
            </p:extLst>
          </p:nvPr>
        </p:nvPicPr>
        <p:blipFill>
          <a:blip r:embed="rId10"/>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946924620"/>
      </p:ext>
    </p:extLst>
  </p:cSld>
  <p:clrMapOvr>
    <a:masterClrMapping/>
  </p:clrMapOvr>
  <mc:AlternateContent xmlns:mc="http://schemas.openxmlformats.org/markup-compatibility/2006" xmlns:p14="http://schemas.microsoft.com/office/powerpoint/2010/main">
    <mc:Choice Requires="p14">
      <p:transition spd="slow" p14:dur="2000" advTm="84178"/>
    </mc:Choice>
    <mc:Fallback xmlns="">
      <p:transition spd="slow" advTm="8417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913F03C-0150-4B38-A92F-77F6B0E7404C}"/>
              </a:ext>
            </a:extLst>
          </p:cNvPr>
          <p:cNvSpPr>
            <a:spLocks noGrp="1"/>
          </p:cNvSpPr>
          <p:nvPr>
            <p:ph sz="quarter" idx="14"/>
          </p:nvPr>
        </p:nvSpPr>
        <p:spPr>
          <a:xfrm>
            <a:off x="449578" y="1540802"/>
            <a:ext cx="7415485" cy="4466979"/>
          </a:xfrm>
        </p:spPr>
        <p:txBody>
          <a:bodyPr/>
          <a:lstStyle/>
          <a:p>
            <a:r>
              <a:rPr lang="en-US" dirty="0"/>
              <a:t>One solution: Channel emulator</a:t>
            </a:r>
          </a:p>
          <a:p>
            <a:pPr lvl="1"/>
            <a:r>
              <a:rPr lang="en-US" dirty="0"/>
              <a:t>Emulates signal paths including multipath, fading, scattering, kinetics</a:t>
            </a:r>
          </a:p>
          <a:p>
            <a:pPr lvl="2"/>
            <a:r>
              <a:rPr lang="en-US" dirty="0"/>
              <a:t>Beware: Some are designed for cell phone applications</a:t>
            </a:r>
          </a:p>
          <a:p>
            <a:pPr lvl="2"/>
            <a:r>
              <a:rPr lang="en-US" dirty="0"/>
              <a:t>May not meet frequency, bandwidth, latency requirements</a:t>
            </a:r>
          </a:p>
          <a:p>
            <a:pPr lvl="1"/>
            <a:r>
              <a:rPr lang="en-US" dirty="0"/>
              <a:t>Limited number of connections</a:t>
            </a:r>
          </a:p>
          <a:p>
            <a:pPr lvl="2"/>
            <a:r>
              <a:rPr lang="en-US" dirty="0"/>
              <a:t>If network has hundreds or thousands of nodes, better move outdoors!</a:t>
            </a:r>
          </a:p>
          <a:p>
            <a:r>
              <a:rPr lang="en-US" sz="1800" dirty="0"/>
              <a:t>Test network connectivity and performance</a:t>
            </a:r>
          </a:p>
          <a:p>
            <a:pPr lvl="1"/>
            <a:r>
              <a:rPr lang="en-US" sz="1600" dirty="0"/>
              <a:t>…</a:t>
            </a:r>
            <a:r>
              <a:rPr lang="en-US" dirty="0"/>
              <a:t>as network nodes log on and off</a:t>
            </a:r>
          </a:p>
          <a:p>
            <a:pPr lvl="1"/>
            <a:r>
              <a:rPr lang="en-US" dirty="0"/>
              <a:t>…as network nodes move around</a:t>
            </a:r>
          </a:p>
          <a:p>
            <a:r>
              <a:rPr lang="en-US" dirty="0"/>
              <a:t>Ensure signals don’t interfere with each other</a:t>
            </a:r>
          </a:p>
          <a:p>
            <a:pPr lvl="1"/>
            <a:r>
              <a:rPr lang="en-US" dirty="0"/>
              <a:t>e.g., radar/EW signals should not disrupt the network </a:t>
            </a:r>
            <a:r>
              <a:rPr lang="en-US" dirty="0" err="1"/>
              <a:t>WiFi</a:t>
            </a:r>
            <a:endParaRPr lang="en-US" dirty="0"/>
          </a:p>
          <a:p>
            <a:r>
              <a:rPr lang="en-US" dirty="0"/>
              <a:t>Calibration may be necessary (for AoA or geolocation)</a:t>
            </a:r>
          </a:p>
          <a:p>
            <a:endParaRPr lang="en-US" sz="1800" dirty="0"/>
          </a:p>
        </p:txBody>
      </p:sp>
      <p:sp>
        <p:nvSpPr>
          <p:cNvPr id="3" name="Text Placeholder 2">
            <a:extLst>
              <a:ext uri="{FF2B5EF4-FFF2-40B4-BE49-F238E27FC236}">
                <a16:creationId xmlns:a16="http://schemas.microsoft.com/office/drawing/2014/main" id="{48756645-6AE2-42D9-A741-1319BAB0A424}"/>
              </a:ext>
            </a:extLst>
          </p:cNvPr>
          <p:cNvSpPr>
            <a:spLocks noGrp="1"/>
          </p:cNvSpPr>
          <p:nvPr>
            <p:ph type="body" sz="quarter" idx="13"/>
          </p:nvPr>
        </p:nvSpPr>
        <p:spPr>
          <a:xfrm>
            <a:off x="449201" y="920555"/>
            <a:ext cx="7453790" cy="319549"/>
          </a:xfrm>
        </p:spPr>
        <p:txBody>
          <a:bodyPr/>
          <a:lstStyle/>
          <a:p>
            <a:r>
              <a:rPr lang="en-US" dirty="0"/>
              <a:t>…in normal operation</a:t>
            </a:r>
          </a:p>
        </p:txBody>
      </p:sp>
      <p:sp>
        <p:nvSpPr>
          <p:cNvPr id="5" name="Title 4">
            <a:extLst>
              <a:ext uri="{FF2B5EF4-FFF2-40B4-BE49-F238E27FC236}">
                <a16:creationId xmlns:a16="http://schemas.microsoft.com/office/drawing/2014/main" id="{3C178E79-870B-40DD-947F-0CA22992E209}"/>
              </a:ext>
            </a:extLst>
          </p:cNvPr>
          <p:cNvSpPr>
            <a:spLocks noGrp="1"/>
          </p:cNvSpPr>
          <p:nvPr>
            <p:ph type="title"/>
          </p:nvPr>
        </p:nvSpPr>
        <p:spPr/>
        <p:txBody>
          <a:bodyPr/>
          <a:lstStyle/>
          <a:p>
            <a:r>
              <a:rPr lang="en-US" dirty="0"/>
              <a:t>Testing</a:t>
            </a:r>
            <a:r>
              <a:rPr lang="en-US" baseline="0" dirty="0"/>
              <a:t> RF</a:t>
            </a:r>
            <a:endParaRPr lang="en-US" dirty="0"/>
          </a:p>
        </p:txBody>
      </p:sp>
      <p:pic>
        <p:nvPicPr>
          <p:cNvPr id="7" name="Picture 6">
            <a:extLst>
              <a:ext uri="{FF2B5EF4-FFF2-40B4-BE49-F238E27FC236}">
                <a16:creationId xmlns:a16="http://schemas.microsoft.com/office/drawing/2014/main" id="{A917A42D-969F-0B45-B79D-7CD0E59FD791}"/>
              </a:ext>
            </a:extLst>
          </p:cNvPr>
          <p:cNvPicPr>
            <a:picLocks noChangeAspect="1"/>
          </p:cNvPicPr>
          <p:nvPr/>
        </p:nvPicPr>
        <p:blipFill>
          <a:blip r:embed="rId5"/>
          <a:stretch>
            <a:fillRect/>
          </a:stretch>
        </p:blipFill>
        <p:spPr>
          <a:xfrm>
            <a:off x="8807324" y="2085659"/>
            <a:ext cx="1832429" cy="2769467"/>
          </a:xfrm>
          <a:prstGeom prst="rect">
            <a:avLst/>
          </a:prstGeom>
        </p:spPr>
      </p:pic>
      <p:pic>
        <p:nvPicPr>
          <p:cNvPr id="8" name="Graphic 7" descr="Satellite with solid fill">
            <a:extLst>
              <a:ext uri="{FF2B5EF4-FFF2-40B4-BE49-F238E27FC236}">
                <a16:creationId xmlns:a16="http://schemas.microsoft.com/office/drawing/2014/main" id="{61FE3963-E1A8-364D-A47E-2878583CD3E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302615" y="1724801"/>
            <a:ext cx="492443" cy="492443"/>
          </a:xfrm>
          <a:prstGeom prst="rect">
            <a:avLst/>
          </a:prstGeom>
        </p:spPr>
      </p:pic>
      <p:pic>
        <p:nvPicPr>
          <p:cNvPr id="9" name="Graphic 8" descr="Satellite dish with solid fill">
            <a:extLst>
              <a:ext uri="{FF2B5EF4-FFF2-40B4-BE49-F238E27FC236}">
                <a16:creationId xmlns:a16="http://schemas.microsoft.com/office/drawing/2014/main" id="{DD663978-F1D3-E842-9803-E38EB0A77FE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708166" y="4774866"/>
            <a:ext cx="394011" cy="394011"/>
          </a:xfrm>
          <a:prstGeom prst="rect">
            <a:avLst/>
          </a:prstGeom>
        </p:spPr>
      </p:pic>
      <p:pic>
        <p:nvPicPr>
          <p:cNvPr id="11" name="Graphic 10" descr="Take Off with solid fill">
            <a:extLst>
              <a:ext uri="{FF2B5EF4-FFF2-40B4-BE49-F238E27FC236}">
                <a16:creationId xmlns:a16="http://schemas.microsoft.com/office/drawing/2014/main" id="{CFFF782E-82BC-BE4A-A27E-33AA3046A2F3}"/>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b="37195"/>
          <a:stretch/>
        </p:blipFill>
        <p:spPr>
          <a:xfrm>
            <a:off x="7401837" y="3490400"/>
            <a:ext cx="914400" cy="574288"/>
          </a:xfrm>
          <a:prstGeom prst="rect">
            <a:avLst/>
          </a:prstGeom>
        </p:spPr>
      </p:pic>
      <p:pic>
        <p:nvPicPr>
          <p:cNvPr id="12" name="Graphic 11" descr="Wireless router with solid fill">
            <a:extLst>
              <a:ext uri="{FF2B5EF4-FFF2-40B4-BE49-F238E27FC236}">
                <a16:creationId xmlns:a16="http://schemas.microsoft.com/office/drawing/2014/main" id="{52084D7A-3D85-D744-A8D5-CB69A786DC9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344900" y="2651271"/>
            <a:ext cx="394010" cy="394010"/>
          </a:xfrm>
          <a:prstGeom prst="rect">
            <a:avLst/>
          </a:prstGeom>
        </p:spPr>
      </p:pic>
      <p:pic>
        <p:nvPicPr>
          <p:cNvPr id="13" name="Graphic 12" descr="Security camera with solid fill">
            <a:extLst>
              <a:ext uri="{FF2B5EF4-FFF2-40B4-BE49-F238E27FC236}">
                <a16:creationId xmlns:a16="http://schemas.microsoft.com/office/drawing/2014/main" id="{CA561398-D547-794D-B1F5-DD1812B6C14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flipH="1">
            <a:off x="9018587" y="5326833"/>
            <a:ext cx="389290" cy="389290"/>
          </a:xfrm>
          <a:prstGeom prst="rect">
            <a:avLst/>
          </a:prstGeom>
        </p:spPr>
      </p:pic>
      <p:pic>
        <p:nvPicPr>
          <p:cNvPr id="14" name="Graphic 13" descr="Wireless router with solid fill">
            <a:extLst>
              <a:ext uri="{FF2B5EF4-FFF2-40B4-BE49-F238E27FC236}">
                <a16:creationId xmlns:a16="http://schemas.microsoft.com/office/drawing/2014/main" id="{9D45118C-3840-954C-8284-50BAB5A568C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344900" y="3659328"/>
            <a:ext cx="394010" cy="394010"/>
          </a:xfrm>
          <a:prstGeom prst="rect">
            <a:avLst/>
          </a:prstGeom>
        </p:spPr>
      </p:pic>
      <p:pic>
        <p:nvPicPr>
          <p:cNvPr id="15" name="Graphic 14" descr="Wireless router with solid fill">
            <a:extLst>
              <a:ext uri="{FF2B5EF4-FFF2-40B4-BE49-F238E27FC236}">
                <a16:creationId xmlns:a16="http://schemas.microsoft.com/office/drawing/2014/main" id="{DF6ECD16-79D8-7843-B4D9-F8495968B38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235778" y="5326833"/>
            <a:ext cx="394010" cy="394010"/>
          </a:xfrm>
          <a:prstGeom prst="rect">
            <a:avLst/>
          </a:prstGeom>
        </p:spPr>
      </p:pic>
      <p:pic>
        <p:nvPicPr>
          <p:cNvPr id="16" name="Graphic 15" descr="Wireless router with solid fill">
            <a:extLst>
              <a:ext uri="{FF2B5EF4-FFF2-40B4-BE49-F238E27FC236}">
                <a16:creationId xmlns:a16="http://schemas.microsoft.com/office/drawing/2014/main" id="{B8A45CD5-4323-D249-BBDF-214D9CB9DAC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344900" y="4774866"/>
            <a:ext cx="394010" cy="394010"/>
          </a:xfrm>
          <a:prstGeom prst="rect">
            <a:avLst/>
          </a:prstGeom>
        </p:spPr>
      </p:pic>
      <p:cxnSp>
        <p:nvCxnSpPr>
          <p:cNvPr id="19" name="Straight Connector 18">
            <a:extLst>
              <a:ext uri="{FF2B5EF4-FFF2-40B4-BE49-F238E27FC236}">
                <a16:creationId xmlns:a16="http://schemas.microsoft.com/office/drawing/2014/main" id="{381EB4A5-C413-B048-8A6C-6F57994BC9C9}"/>
              </a:ext>
            </a:extLst>
          </p:cNvPr>
          <p:cNvCxnSpPr>
            <a:cxnSpLocks/>
          </p:cNvCxnSpPr>
          <p:nvPr/>
        </p:nvCxnSpPr>
        <p:spPr>
          <a:xfrm flipH="1">
            <a:off x="9270282" y="4283448"/>
            <a:ext cx="220383" cy="1073478"/>
          </a:xfrm>
          <a:prstGeom prst="line">
            <a:avLst/>
          </a:prstGeom>
          <a:ln w="254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5CAB7E8-6AC2-D04C-8B72-A72EA3CDD96E}"/>
              </a:ext>
            </a:extLst>
          </p:cNvPr>
          <p:cNvCxnSpPr>
            <a:cxnSpLocks/>
          </p:cNvCxnSpPr>
          <p:nvPr/>
        </p:nvCxnSpPr>
        <p:spPr>
          <a:xfrm>
            <a:off x="10193493" y="4302372"/>
            <a:ext cx="222129" cy="1001010"/>
          </a:xfrm>
          <a:prstGeom prst="line">
            <a:avLst/>
          </a:prstGeom>
          <a:ln w="254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37C344C-62D2-8747-AA5D-520FBEDC605E}"/>
              </a:ext>
            </a:extLst>
          </p:cNvPr>
          <p:cNvCxnSpPr>
            <a:cxnSpLocks/>
          </p:cNvCxnSpPr>
          <p:nvPr/>
        </p:nvCxnSpPr>
        <p:spPr>
          <a:xfrm>
            <a:off x="10235778" y="3659328"/>
            <a:ext cx="1109814" cy="1310400"/>
          </a:xfrm>
          <a:prstGeom prst="line">
            <a:avLst/>
          </a:prstGeom>
          <a:ln w="254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CF41D10-FCCD-C64E-8540-F8FFD4A9FED6}"/>
              </a:ext>
            </a:extLst>
          </p:cNvPr>
          <p:cNvCxnSpPr>
            <a:cxnSpLocks/>
          </p:cNvCxnSpPr>
          <p:nvPr/>
        </p:nvCxnSpPr>
        <p:spPr>
          <a:xfrm>
            <a:off x="10193493" y="3244645"/>
            <a:ext cx="1151407" cy="643044"/>
          </a:xfrm>
          <a:prstGeom prst="line">
            <a:avLst/>
          </a:prstGeom>
          <a:ln w="254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1171475-061F-194A-8490-984421CC53F4}"/>
              </a:ext>
            </a:extLst>
          </p:cNvPr>
          <p:cNvCxnSpPr>
            <a:cxnSpLocks/>
          </p:cNvCxnSpPr>
          <p:nvPr/>
        </p:nvCxnSpPr>
        <p:spPr>
          <a:xfrm flipV="1">
            <a:off x="10193493" y="2848276"/>
            <a:ext cx="1130265" cy="151088"/>
          </a:xfrm>
          <a:prstGeom prst="line">
            <a:avLst/>
          </a:prstGeom>
          <a:ln w="254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C8E60A6-12DF-1240-A9E1-6B7FEF7A14BB}"/>
              </a:ext>
            </a:extLst>
          </p:cNvPr>
          <p:cNvCxnSpPr>
            <a:cxnSpLocks/>
          </p:cNvCxnSpPr>
          <p:nvPr/>
        </p:nvCxnSpPr>
        <p:spPr>
          <a:xfrm flipV="1">
            <a:off x="10235778" y="2173057"/>
            <a:ext cx="1066837" cy="581026"/>
          </a:xfrm>
          <a:prstGeom prst="line">
            <a:avLst/>
          </a:prstGeom>
          <a:ln w="254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C8CBC31-416E-854C-AD39-EC842FC45FE1}"/>
              </a:ext>
            </a:extLst>
          </p:cNvPr>
          <p:cNvCxnSpPr>
            <a:cxnSpLocks/>
          </p:cNvCxnSpPr>
          <p:nvPr/>
        </p:nvCxnSpPr>
        <p:spPr>
          <a:xfrm flipV="1">
            <a:off x="8121076" y="3865722"/>
            <a:ext cx="1092156" cy="1034418"/>
          </a:xfrm>
          <a:prstGeom prst="line">
            <a:avLst/>
          </a:prstGeom>
          <a:ln w="254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27CE83D-D123-6C4E-9486-6828FA5BB555}"/>
              </a:ext>
            </a:extLst>
          </p:cNvPr>
          <p:cNvCxnSpPr>
            <a:cxnSpLocks/>
          </p:cNvCxnSpPr>
          <p:nvPr/>
        </p:nvCxnSpPr>
        <p:spPr>
          <a:xfrm flipV="1">
            <a:off x="8259074" y="3039509"/>
            <a:ext cx="954158" cy="715620"/>
          </a:xfrm>
          <a:prstGeom prst="line">
            <a:avLst/>
          </a:prstGeom>
          <a:ln w="254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37" name="Graphic 36" descr="Quadcopter with solid fill">
            <a:extLst>
              <a:ext uri="{FF2B5EF4-FFF2-40B4-BE49-F238E27FC236}">
                <a16:creationId xmlns:a16="http://schemas.microsoft.com/office/drawing/2014/main" id="{BDAC0E49-00A5-2947-BFDB-851B6106DA5E}"/>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573430" y="2341011"/>
            <a:ext cx="507265" cy="507265"/>
          </a:xfrm>
          <a:prstGeom prst="rect">
            <a:avLst/>
          </a:prstGeom>
        </p:spPr>
      </p:pic>
      <p:cxnSp>
        <p:nvCxnSpPr>
          <p:cNvPr id="38" name="Straight Connector 37">
            <a:extLst>
              <a:ext uri="{FF2B5EF4-FFF2-40B4-BE49-F238E27FC236}">
                <a16:creationId xmlns:a16="http://schemas.microsoft.com/office/drawing/2014/main" id="{34F3E832-4A82-0D4A-9239-EC1F96A82372}"/>
              </a:ext>
            </a:extLst>
          </p:cNvPr>
          <p:cNvCxnSpPr>
            <a:cxnSpLocks/>
          </p:cNvCxnSpPr>
          <p:nvPr/>
        </p:nvCxnSpPr>
        <p:spPr>
          <a:xfrm>
            <a:off x="8092190" y="2603707"/>
            <a:ext cx="1121042" cy="173794"/>
          </a:xfrm>
          <a:prstGeom prst="line">
            <a:avLst/>
          </a:prstGeom>
          <a:ln w="254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6" name="Audio 5">
            <a:hlinkClick r:id="" action="ppaction://media"/>
            <a:extLst>
              <a:ext uri="{FF2B5EF4-FFF2-40B4-BE49-F238E27FC236}">
                <a16:creationId xmlns:a16="http://schemas.microsoft.com/office/drawing/2014/main" id="{6D3F73C2-07D8-4FDB-8B8A-A75810C50BAF}"/>
              </a:ext>
            </a:extLst>
          </p:cNvPr>
          <p:cNvPicPr>
            <a:picLocks noChangeAspect="1"/>
          </p:cNvPicPr>
          <p:nvPr>
            <a:audioFile r:link="rId2"/>
            <p:extLst>
              <p:ext uri="{DAA4B4D4-6D71-4841-9C94-3DE7FCFB9230}">
                <p14:media xmlns:p14="http://schemas.microsoft.com/office/powerpoint/2010/main" r:embed="rId1"/>
              </p:ext>
            </p:extLst>
          </p:nvPr>
        </p:nvPicPr>
        <p:blipFill>
          <a:blip r:embed="rId18"/>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1047056759"/>
      </p:ext>
    </p:extLst>
  </p:cSld>
  <p:clrMapOvr>
    <a:masterClrMapping/>
  </p:clrMapOvr>
  <mc:AlternateContent xmlns:mc="http://schemas.openxmlformats.org/markup-compatibility/2006" xmlns:p14="http://schemas.microsoft.com/office/powerpoint/2010/main">
    <mc:Choice Requires="p14">
      <p:transition spd="slow" p14:dur="2000" advTm="120456"/>
    </mc:Choice>
    <mc:Fallback xmlns="">
      <p:transition spd="slow" advTm="12045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9E74680-7854-47E3-8A46-9289F30F2EAB}"/>
              </a:ext>
            </a:extLst>
          </p:cNvPr>
          <p:cNvSpPr>
            <a:spLocks noGrp="1"/>
          </p:cNvSpPr>
          <p:nvPr>
            <p:ph sz="quarter" idx="14"/>
          </p:nvPr>
        </p:nvSpPr>
        <p:spPr>
          <a:xfrm>
            <a:off x="449579" y="1552554"/>
            <a:ext cx="5737842" cy="4479059"/>
          </a:xfrm>
        </p:spPr>
        <p:txBody>
          <a:bodyPr/>
          <a:lstStyle/>
          <a:p>
            <a:r>
              <a:rPr lang="en-US" dirty="0"/>
              <a:t>Add interfering signals to the environment</a:t>
            </a:r>
          </a:p>
          <a:p>
            <a:pPr lvl="1"/>
            <a:r>
              <a:rPr lang="en-US" dirty="0"/>
              <a:t>Make sure network can detect jamming/interference</a:t>
            </a:r>
          </a:p>
          <a:p>
            <a:pPr lvl="1"/>
            <a:r>
              <a:rPr lang="en-US" dirty="0"/>
              <a:t>Make sure network can reconfigure to avoid jamming/interference</a:t>
            </a:r>
          </a:p>
          <a:p>
            <a:pPr lvl="1"/>
            <a:r>
              <a:rPr lang="en-US" dirty="0"/>
              <a:t>Requires RF sources to create the interference</a:t>
            </a:r>
          </a:p>
          <a:p>
            <a:pPr lvl="2"/>
            <a:r>
              <a:rPr lang="en-US" dirty="0">
                <a:solidFill>
                  <a:srgbClr val="FF0000"/>
                </a:solidFill>
              </a:rPr>
              <a:t>Emulating a jammer is not trivial</a:t>
            </a:r>
          </a:p>
        </p:txBody>
      </p:sp>
      <p:sp>
        <p:nvSpPr>
          <p:cNvPr id="3" name="Text Placeholder 2">
            <a:extLst>
              <a:ext uri="{FF2B5EF4-FFF2-40B4-BE49-F238E27FC236}">
                <a16:creationId xmlns:a16="http://schemas.microsoft.com/office/drawing/2014/main" id="{B50244F4-73D5-4D4F-B013-3CCB813E88FF}"/>
              </a:ext>
            </a:extLst>
          </p:cNvPr>
          <p:cNvSpPr>
            <a:spLocks noGrp="1"/>
          </p:cNvSpPr>
          <p:nvPr>
            <p:ph type="body" sz="quarter" idx="13"/>
          </p:nvPr>
        </p:nvSpPr>
        <p:spPr/>
        <p:txBody>
          <a:bodyPr/>
          <a:lstStyle/>
          <a:p>
            <a:r>
              <a:rPr lang="en-US" dirty="0"/>
              <a:t>…under stressful conditions</a:t>
            </a:r>
          </a:p>
        </p:txBody>
      </p:sp>
      <p:sp>
        <p:nvSpPr>
          <p:cNvPr id="5" name="Title 4">
            <a:extLst>
              <a:ext uri="{FF2B5EF4-FFF2-40B4-BE49-F238E27FC236}">
                <a16:creationId xmlns:a16="http://schemas.microsoft.com/office/drawing/2014/main" id="{EA975D86-7AE1-4BB9-9190-92A2B0D64B7C}"/>
              </a:ext>
            </a:extLst>
          </p:cNvPr>
          <p:cNvSpPr>
            <a:spLocks noGrp="1"/>
          </p:cNvSpPr>
          <p:nvPr>
            <p:ph type="title"/>
          </p:nvPr>
        </p:nvSpPr>
        <p:spPr/>
        <p:txBody>
          <a:bodyPr/>
          <a:lstStyle/>
          <a:p>
            <a:r>
              <a:rPr lang="en-US" dirty="0"/>
              <a:t>Testing</a:t>
            </a:r>
            <a:r>
              <a:rPr lang="en-US" baseline="0" dirty="0"/>
              <a:t> RF</a:t>
            </a:r>
            <a:endParaRPr lang="en-US" dirty="0"/>
          </a:p>
        </p:txBody>
      </p:sp>
      <p:pic>
        <p:nvPicPr>
          <p:cNvPr id="6" name="Picture 5">
            <a:extLst>
              <a:ext uri="{FF2B5EF4-FFF2-40B4-BE49-F238E27FC236}">
                <a16:creationId xmlns:a16="http://schemas.microsoft.com/office/drawing/2014/main" id="{F532D3FF-B25E-9743-B693-E92CB7BB5F37}"/>
              </a:ext>
            </a:extLst>
          </p:cNvPr>
          <p:cNvPicPr>
            <a:picLocks noChangeAspect="1"/>
          </p:cNvPicPr>
          <p:nvPr/>
        </p:nvPicPr>
        <p:blipFill>
          <a:blip r:embed="rId5"/>
          <a:stretch>
            <a:fillRect/>
          </a:stretch>
        </p:blipFill>
        <p:spPr>
          <a:xfrm>
            <a:off x="7872830" y="1824405"/>
            <a:ext cx="1832429" cy="2769467"/>
          </a:xfrm>
          <a:prstGeom prst="rect">
            <a:avLst/>
          </a:prstGeom>
        </p:spPr>
      </p:pic>
      <p:pic>
        <p:nvPicPr>
          <p:cNvPr id="7" name="Graphic 6" descr="Satellite with solid fill">
            <a:extLst>
              <a:ext uri="{FF2B5EF4-FFF2-40B4-BE49-F238E27FC236}">
                <a16:creationId xmlns:a16="http://schemas.microsoft.com/office/drawing/2014/main" id="{26C554D2-D6FC-9A40-96D8-84DA87A40A3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368121" y="1463547"/>
            <a:ext cx="492443" cy="492443"/>
          </a:xfrm>
          <a:prstGeom prst="rect">
            <a:avLst/>
          </a:prstGeom>
        </p:spPr>
      </p:pic>
      <p:pic>
        <p:nvPicPr>
          <p:cNvPr id="8" name="Graphic 7" descr="Satellite dish with solid fill">
            <a:extLst>
              <a:ext uri="{FF2B5EF4-FFF2-40B4-BE49-F238E27FC236}">
                <a16:creationId xmlns:a16="http://schemas.microsoft.com/office/drawing/2014/main" id="{E8F2AA6B-E48B-514C-9F2B-F097380BDF1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6773672" y="4513612"/>
            <a:ext cx="394011" cy="394011"/>
          </a:xfrm>
          <a:prstGeom prst="rect">
            <a:avLst/>
          </a:prstGeom>
        </p:spPr>
      </p:pic>
      <p:pic>
        <p:nvPicPr>
          <p:cNvPr id="9" name="Graphic 8" descr="Cell Tower with solid fill">
            <a:extLst>
              <a:ext uri="{FF2B5EF4-FFF2-40B4-BE49-F238E27FC236}">
                <a16:creationId xmlns:a16="http://schemas.microsoft.com/office/drawing/2014/main" id="{41A46C4E-43EC-5846-BE2E-DE48B13DFA4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623491" y="2119030"/>
            <a:ext cx="570851" cy="570851"/>
          </a:xfrm>
          <a:prstGeom prst="rect">
            <a:avLst/>
          </a:prstGeom>
        </p:spPr>
      </p:pic>
      <p:pic>
        <p:nvPicPr>
          <p:cNvPr id="11" name="Graphic 10" descr="Wireless router with solid fill">
            <a:extLst>
              <a:ext uri="{FF2B5EF4-FFF2-40B4-BE49-F238E27FC236}">
                <a16:creationId xmlns:a16="http://schemas.microsoft.com/office/drawing/2014/main" id="{A97BF8AB-5DF8-8846-87C5-EE821476874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410406" y="2390017"/>
            <a:ext cx="394010" cy="394010"/>
          </a:xfrm>
          <a:prstGeom prst="rect">
            <a:avLst/>
          </a:prstGeom>
        </p:spPr>
      </p:pic>
      <p:pic>
        <p:nvPicPr>
          <p:cNvPr id="12" name="Graphic 11" descr="Security camera with solid fill">
            <a:extLst>
              <a:ext uri="{FF2B5EF4-FFF2-40B4-BE49-F238E27FC236}">
                <a16:creationId xmlns:a16="http://schemas.microsoft.com/office/drawing/2014/main" id="{A4B042F4-FFD6-7F41-91FB-2E3390B6B14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flipH="1">
            <a:off x="8084093" y="5065579"/>
            <a:ext cx="389290" cy="389290"/>
          </a:xfrm>
          <a:prstGeom prst="rect">
            <a:avLst/>
          </a:prstGeom>
        </p:spPr>
      </p:pic>
      <p:pic>
        <p:nvPicPr>
          <p:cNvPr id="13" name="Graphic 12" descr="Wireless router with solid fill">
            <a:extLst>
              <a:ext uri="{FF2B5EF4-FFF2-40B4-BE49-F238E27FC236}">
                <a16:creationId xmlns:a16="http://schemas.microsoft.com/office/drawing/2014/main" id="{153414AB-E451-5F46-9B33-84EC837219A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410406" y="3398074"/>
            <a:ext cx="394010" cy="394010"/>
          </a:xfrm>
          <a:prstGeom prst="rect">
            <a:avLst/>
          </a:prstGeom>
        </p:spPr>
      </p:pic>
      <p:pic>
        <p:nvPicPr>
          <p:cNvPr id="14" name="Graphic 13" descr="Wireless router with solid fill">
            <a:extLst>
              <a:ext uri="{FF2B5EF4-FFF2-40B4-BE49-F238E27FC236}">
                <a16:creationId xmlns:a16="http://schemas.microsoft.com/office/drawing/2014/main" id="{E44B6E4D-F9DC-1F40-81AF-262C802101F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01284" y="5065579"/>
            <a:ext cx="394010" cy="394010"/>
          </a:xfrm>
          <a:prstGeom prst="rect">
            <a:avLst/>
          </a:prstGeom>
        </p:spPr>
      </p:pic>
      <p:pic>
        <p:nvPicPr>
          <p:cNvPr id="15" name="Graphic 14" descr="Wireless router with solid fill">
            <a:extLst>
              <a:ext uri="{FF2B5EF4-FFF2-40B4-BE49-F238E27FC236}">
                <a16:creationId xmlns:a16="http://schemas.microsoft.com/office/drawing/2014/main" id="{064F1FF8-0F54-6D46-A26A-87C6C8A91FF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410406" y="4513612"/>
            <a:ext cx="394010" cy="394010"/>
          </a:xfrm>
          <a:prstGeom prst="rect">
            <a:avLst/>
          </a:prstGeom>
        </p:spPr>
      </p:pic>
      <p:cxnSp>
        <p:nvCxnSpPr>
          <p:cNvPr id="16" name="Straight Connector 15">
            <a:extLst>
              <a:ext uri="{FF2B5EF4-FFF2-40B4-BE49-F238E27FC236}">
                <a16:creationId xmlns:a16="http://schemas.microsoft.com/office/drawing/2014/main" id="{E321BDED-EA7D-2949-B49C-9672E996C736}"/>
              </a:ext>
            </a:extLst>
          </p:cNvPr>
          <p:cNvCxnSpPr>
            <a:stCxn id="9" idx="3"/>
          </p:cNvCxnSpPr>
          <p:nvPr/>
        </p:nvCxnSpPr>
        <p:spPr>
          <a:xfrm>
            <a:off x="7194342" y="2404456"/>
            <a:ext cx="1084396" cy="88373"/>
          </a:xfrm>
          <a:prstGeom prst="line">
            <a:avLst/>
          </a:prstGeom>
          <a:ln w="254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2566CCD-73AE-3548-9ED8-5E3155C9A330}"/>
              </a:ext>
            </a:extLst>
          </p:cNvPr>
          <p:cNvCxnSpPr>
            <a:cxnSpLocks/>
          </p:cNvCxnSpPr>
          <p:nvPr/>
        </p:nvCxnSpPr>
        <p:spPr>
          <a:xfrm flipH="1">
            <a:off x="8335788" y="4022194"/>
            <a:ext cx="220383" cy="1073478"/>
          </a:xfrm>
          <a:prstGeom prst="line">
            <a:avLst/>
          </a:prstGeom>
          <a:ln w="254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2894662-4234-DB42-BBD8-ADBC1388096B}"/>
              </a:ext>
            </a:extLst>
          </p:cNvPr>
          <p:cNvCxnSpPr>
            <a:cxnSpLocks/>
          </p:cNvCxnSpPr>
          <p:nvPr/>
        </p:nvCxnSpPr>
        <p:spPr>
          <a:xfrm>
            <a:off x="9258999" y="4041118"/>
            <a:ext cx="222129" cy="1001010"/>
          </a:xfrm>
          <a:prstGeom prst="line">
            <a:avLst/>
          </a:prstGeom>
          <a:ln w="254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FB6A625-AFD6-654C-8F33-0CD08255AB72}"/>
              </a:ext>
            </a:extLst>
          </p:cNvPr>
          <p:cNvCxnSpPr>
            <a:cxnSpLocks/>
          </p:cNvCxnSpPr>
          <p:nvPr/>
        </p:nvCxnSpPr>
        <p:spPr>
          <a:xfrm>
            <a:off x="9301284" y="3398074"/>
            <a:ext cx="1109814" cy="1310400"/>
          </a:xfrm>
          <a:prstGeom prst="line">
            <a:avLst/>
          </a:prstGeom>
          <a:ln w="254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7F9C1C3-98AF-054D-AD91-AE36D88C88B2}"/>
              </a:ext>
            </a:extLst>
          </p:cNvPr>
          <p:cNvCxnSpPr>
            <a:cxnSpLocks/>
          </p:cNvCxnSpPr>
          <p:nvPr/>
        </p:nvCxnSpPr>
        <p:spPr>
          <a:xfrm>
            <a:off x="9258999" y="2983391"/>
            <a:ext cx="1151407" cy="643044"/>
          </a:xfrm>
          <a:prstGeom prst="line">
            <a:avLst/>
          </a:prstGeom>
          <a:ln w="254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CBDB8B9-6E0E-984B-9C6E-1C565FDA1C30}"/>
              </a:ext>
            </a:extLst>
          </p:cNvPr>
          <p:cNvCxnSpPr>
            <a:cxnSpLocks/>
          </p:cNvCxnSpPr>
          <p:nvPr/>
        </p:nvCxnSpPr>
        <p:spPr>
          <a:xfrm flipV="1">
            <a:off x="9258999" y="2587022"/>
            <a:ext cx="1130265" cy="151088"/>
          </a:xfrm>
          <a:prstGeom prst="line">
            <a:avLst/>
          </a:prstGeom>
          <a:ln w="254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7DF5A51-A570-7E47-9840-834773C59981}"/>
              </a:ext>
            </a:extLst>
          </p:cNvPr>
          <p:cNvCxnSpPr>
            <a:cxnSpLocks/>
          </p:cNvCxnSpPr>
          <p:nvPr/>
        </p:nvCxnSpPr>
        <p:spPr>
          <a:xfrm flipV="1">
            <a:off x="9301284" y="1911803"/>
            <a:ext cx="1066837" cy="581026"/>
          </a:xfrm>
          <a:prstGeom prst="line">
            <a:avLst/>
          </a:prstGeom>
          <a:ln w="254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3E99BF7-8114-074A-9678-826572FFA5E6}"/>
              </a:ext>
            </a:extLst>
          </p:cNvPr>
          <p:cNvCxnSpPr>
            <a:cxnSpLocks/>
          </p:cNvCxnSpPr>
          <p:nvPr/>
        </p:nvCxnSpPr>
        <p:spPr>
          <a:xfrm flipV="1">
            <a:off x="7186582" y="3604468"/>
            <a:ext cx="1092156" cy="1034418"/>
          </a:xfrm>
          <a:prstGeom prst="line">
            <a:avLst/>
          </a:prstGeom>
          <a:ln w="254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CCDE9E6-D4E2-0E4A-9817-7B6690212098}"/>
              </a:ext>
            </a:extLst>
          </p:cNvPr>
          <p:cNvCxnSpPr>
            <a:cxnSpLocks/>
            <a:stCxn id="25" idx="3"/>
          </p:cNvCxnSpPr>
          <p:nvPr/>
        </p:nvCxnSpPr>
        <p:spPr>
          <a:xfrm flipV="1">
            <a:off x="7194342" y="2778255"/>
            <a:ext cx="1084396" cy="737840"/>
          </a:xfrm>
          <a:prstGeom prst="line">
            <a:avLst/>
          </a:prstGeom>
          <a:ln w="254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25" name="Graphic 24" descr="Cell Tower with solid fill">
            <a:extLst>
              <a:ext uri="{FF2B5EF4-FFF2-40B4-BE49-F238E27FC236}">
                <a16:creationId xmlns:a16="http://schemas.microsoft.com/office/drawing/2014/main" id="{85F6E9E5-F91B-874E-96EA-86C8871A9C1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623491" y="3230669"/>
            <a:ext cx="570851" cy="570851"/>
          </a:xfrm>
          <a:prstGeom prst="rect">
            <a:avLst/>
          </a:prstGeom>
        </p:spPr>
      </p:pic>
      <p:sp>
        <p:nvSpPr>
          <p:cNvPr id="27" name="TextBox 26">
            <a:extLst>
              <a:ext uri="{FF2B5EF4-FFF2-40B4-BE49-F238E27FC236}">
                <a16:creationId xmlns:a16="http://schemas.microsoft.com/office/drawing/2014/main" id="{62A017BC-6AB6-604B-9151-745B6689F323}"/>
              </a:ext>
            </a:extLst>
          </p:cNvPr>
          <p:cNvSpPr txBox="1"/>
          <p:nvPr/>
        </p:nvSpPr>
        <p:spPr>
          <a:xfrm>
            <a:off x="6375918" y="2768347"/>
            <a:ext cx="1065997" cy="184666"/>
          </a:xfrm>
          <a:prstGeom prst="rect">
            <a:avLst/>
          </a:prstGeom>
          <a:noFill/>
        </p:spPr>
        <p:txBody>
          <a:bodyPr wrap="none" lIns="0" tIns="0" rIns="0" bIns="0" rtlCol="0">
            <a:spAutoFit/>
          </a:bodyPr>
          <a:lstStyle/>
          <a:p>
            <a:pPr algn="l"/>
            <a:r>
              <a:rPr lang="en-US" sz="1200" dirty="0">
                <a:solidFill>
                  <a:schemeClr val="tx1">
                    <a:lumMod val="85000"/>
                    <a:lumOff val="15000"/>
                  </a:schemeClr>
                </a:solidFill>
              </a:rPr>
              <a:t>Background RF</a:t>
            </a:r>
          </a:p>
        </p:txBody>
      </p:sp>
      <p:sp>
        <p:nvSpPr>
          <p:cNvPr id="28" name="TextBox 27">
            <a:extLst>
              <a:ext uri="{FF2B5EF4-FFF2-40B4-BE49-F238E27FC236}">
                <a16:creationId xmlns:a16="http://schemas.microsoft.com/office/drawing/2014/main" id="{2532CEAC-E439-7D4B-8943-6B6AAE7C50E6}"/>
              </a:ext>
            </a:extLst>
          </p:cNvPr>
          <p:cNvSpPr txBox="1"/>
          <p:nvPr/>
        </p:nvSpPr>
        <p:spPr>
          <a:xfrm>
            <a:off x="6244471" y="3867600"/>
            <a:ext cx="1328890" cy="184666"/>
          </a:xfrm>
          <a:prstGeom prst="rect">
            <a:avLst/>
          </a:prstGeom>
          <a:noFill/>
        </p:spPr>
        <p:txBody>
          <a:bodyPr wrap="none" lIns="0" tIns="0" rIns="0" bIns="0" rtlCol="0">
            <a:spAutoFit/>
          </a:bodyPr>
          <a:lstStyle/>
          <a:p>
            <a:pPr algn="l"/>
            <a:r>
              <a:rPr lang="en-US" sz="1200" dirty="0">
                <a:solidFill>
                  <a:schemeClr val="tx1">
                    <a:lumMod val="85000"/>
                    <a:lumOff val="15000"/>
                  </a:schemeClr>
                </a:solidFill>
              </a:rPr>
              <a:t>Intentional jamming</a:t>
            </a:r>
          </a:p>
        </p:txBody>
      </p:sp>
      <p:pic>
        <p:nvPicPr>
          <p:cNvPr id="29" name="Audio 28">
            <a:hlinkClick r:id="" action="ppaction://media"/>
            <a:extLst>
              <a:ext uri="{FF2B5EF4-FFF2-40B4-BE49-F238E27FC236}">
                <a16:creationId xmlns:a16="http://schemas.microsoft.com/office/drawing/2014/main" id="{AA0D0E0F-686D-4528-AA8F-E032054EB5CC}"/>
              </a:ext>
            </a:extLst>
          </p:cNvPr>
          <p:cNvPicPr>
            <a:picLocks noChangeAspect="1"/>
          </p:cNvPicPr>
          <p:nvPr>
            <a:audioFile r:link="rId2"/>
            <p:extLst>
              <p:ext uri="{DAA4B4D4-6D71-4841-9C94-3DE7FCFB9230}">
                <p14:media xmlns:p14="http://schemas.microsoft.com/office/powerpoint/2010/main" r:embed="rId1"/>
              </p:ext>
            </p:extLst>
          </p:nvPr>
        </p:nvPicPr>
        <p:blipFill>
          <a:blip r:embed="rId16"/>
          <a:stretch>
            <a:fillRect/>
          </a:stretch>
        </p:blipFill>
        <p:spPr>
          <a:xfrm>
            <a:off x="11552238" y="6218238"/>
            <a:ext cx="487362" cy="487362"/>
          </a:xfrm>
          <a:prstGeom prst="rect">
            <a:avLst/>
          </a:prstGeom>
        </p:spPr>
      </p:pic>
    </p:spTree>
    <p:extLst>
      <p:ext uri="{BB962C8B-B14F-4D97-AF65-F5344CB8AC3E}">
        <p14:creationId xmlns:p14="http://schemas.microsoft.com/office/powerpoint/2010/main" val="2946100073"/>
      </p:ext>
    </p:extLst>
  </p:cSld>
  <p:clrMapOvr>
    <a:masterClrMapping/>
  </p:clrMapOvr>
  <mc:AlternateContent xmlns:mc="http://schemas.openxmlformats.org/markup-compatibility/2006" xmlns:p14="http://schemas.microsoft.com/office/powerpoint/2010/main">
    <mc:Choice Requires="p14">
      <p:transition spd="slow" p14:dur="2000" advTm="36231"/>
    </mc:Choice>
    <mc:Fallback xmlns="">
      <p:transition spd="slow" advTm="3623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9"/>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SP_AGENDA" val="SectionNumber SlideNumber"/>
  <p:tag name="EE4P_STYLE_ID" val="39dcc26a-7131-49f4-a9eb-1c0521500c03"/>
</p:tagLst>
</file>

<file path=ppt/theme/theme1.xml><?xml version="1.0" encoding="utf-8"?>
<a:theme xmlns:a="http://schemas.openxmlformats.org/drawingml/2006/main" name="2017 Keysight Macro LIGHT">
  <a:themeElements>
    <a:clrScheme name="Keysight Light">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E90029"/>
      </a:hlink>
      <a:folHlink>
        <a:srgbClr val="74001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err="1" smtClean="0">
            <a:solidFill>
              <a:schemeClr val="tx1">
                <a:lumMod val="85000"/>
                <a:lumOff val="15000"/>
              </a:schemeClr>
            </a:solidFill>
          </a:defRPr>
        </a:defPPr>
      </a:lstStyle>
    </a:txDef>
  </a:objectDefaults>
  <a:extraClrSchemeLst/>
  <a:extLst>
    <a:ext uri="{05A4C25C-085E-4340-85A3-A5531E510DB2}">
      <thm15:themeFamily xmlns:thm15="http://schemas.microsoft.com/office/thememl/2012/main" name="Keysight_Widescreen_April_2019" id="{CDC0E78D-7FDB-4EC3-8948-D87114C1A23A}" vid="{C053656A-2954-4C94-A489-2F6E04E1FDCD}"/>
    </a:ext>
  </a:extLst>
</a:theme>
</file>

<file path=ppt/theme/theme2.xml><?xml version="1.0" encoding="utf-8"?>
<a:theme xmlns:a="http://schemas.openxmlformats.org/drawingml/2006/main" name="Office Theme">
  <a:themeElements>
    <a:clrScheme name="2017 Keysight MACRO">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FFA623"/>
      </a:hlink>
      <a:folHlink>
        <a:srgbClr val="A4A1A9"/>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2017 Keysight MACRO">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FFA623"/>
      </a:hlink>
      <a:folHlink>
        <a:srgbClr val="A4A1A9"/>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7F9BF3E6986B64BB66E4A3E4DF5C1F3" ma:contentTypeVersion="8" ma:contentTypeDescription="Create a new document." ma:contentTypeScope="" ma:versionID="10df51c3ef141b767e71111dfe165197">
  <xsd:schema xmlns:xsd="http://www.w3.org/2001/XMLSchema" xmlns:xs="http://www.w3.org/2001/XMLSchema" xmlns:p="http://schemas.microsoft.com/office/2006/metadata/properties" xmlns:ns3="035e7609-30ba-4015-a720-3a7424367273" xmlns:ns4="7a84d506-dc6b-46b2-bf9b-56724b090a32" targetNamespace="http://schemas.microsoft.com/office/2006/metadata/properties" ma:root="true" ma:fieldsID="dc1cb25527aa4e0908d52713faf80a1d" ns3:_="" ns4:_="">
    <xsd:import namespace="035e7609-30ba-4015-a720-3a7424367273"/>
    <xsd:import namespace="7a84d506-dc6b-46b2-bf9b-56724b090a32"/>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35e7609-30ba-4015-a720-3a742436727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a84d506-dc6b-46b2-bf9b-56724b090a32"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80D82B4-3152-4134-933E-31779045E78B}">
  <ds:schemaRefs>
    <ds:schemaRef ds:uri="http://schemas.microsoft.com/office/2006/metadata/properties"/>
    <ds:schemaRef ds:uri="http://schemas.openxmlformats.org/package/2006/metadata/core-properties"/>
    <ds:schemaRef ds:uri="http://purl.org/dc/terms/"/>
    <ds:schemaRef ds:uri="http://schemas.microsoft.com/office/infopath/2007/PartnerControls"/>
    <ds:schemaRef ds:uri="http://schemas.microsoft.com/office/2006/documentManagement/types"/>
    <ds:schemaRef ds:uri="7a84d506-dc6b-46b2-bf9b-56724b090a32"/>
    <ds:schemaRef ds:uri="http://purl.org/dc/elements/1.1/"/>
    <ds:schemaRef ds:uri="035e7609-30ba-4015-a720-3a7424367273"/>
    <ds:schemaRef ds:uri="http://www.w3.org/XML/1998/namespace"/>
    <ds:schemaRef ds:uri="http://purl.org/dc/dcmitype/"/>
  </ds:schemaRefs>
</ds:datastoreItem>
</file>

<file path=customXml/itemProps2.xml><?xml version="1.0" encoding="utf-8"?>
<ds:datastoreItem xmlns:ds="http://schemas.openxmlformats.org/officeDocument/2006/customXml" ds:itemID="{6FE6D35D-38A6-4503-9EE3-0DB520A4122B}">
  <ds:schemaRefs>
    <ds:schemaRef ds:uri="035e7609-30ba-4015-a720-3a7424367273"/>
    <ds:schemaRef ds:uri="7a84d506-dc6b-46b2-bf9b-56724b090a3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3A6E48A-1DCB-4526-B3F3-8C4B9D5FF72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Keysight_Widescreen_April_2019</Template>
  <TotalTime>6479</TotalTime>
  <Words>4599</Words>
  <Application>Microsoft Macintosh PowerPoint</Application>
  <PresentationFormat>Widescreen</PresentationFormat>
  <Paragraphs>299</Paragraphs>
  <Slides>18</Slides>
  <Notes>18</Notes>
  <HiddenSlides>0</HiddenSlides>
  <MMClips>18</MMClips>
  <ScaleCrop>false</ScaleCrop>
  <HeadingPairs>
    <vt:vector size="6" baseType="variant">
      <vt:variant>
        <vt:lpstr>Fonts Used</vt:lpstr>
      </vt:variant>
      <vt:variant>
        <vt:i4>2</vt:i4>
      </vt:variant>
      <vt:variant>
        <vt:lpstr>Theme</vt:lpstr>
      </vt:variant>
      <vt:variant>
        <vt:i4>1</vt:i4>
      </vt:variant>
      <vt:variant>
        <vt:lpstr>Slide Titles</vt:lpstr>
      </vt:variant>
      <vt:variant>
        <vt:i4>18</vt:i4>
      </vt:variant>
    </vt:vector>
  </HeadingPairs>
  <TitlesOfParts>
    <vt:vector size="21" baseType="lpstr">
      <vt:lpstr>Arial</vt:lpstr>
      <vt:lpstr>Franklin Gothic Book</vt:lpstr>
      <vt:lpstr>2017 Keysight Macro LIGHT</vt:lpstr>
      <vt:lpstr>Testing Mixed-Use Networks – Insights into a Complex Test Process</vt:lpstr>
      <vt:lpstr>What Is a Mixed-Use Network?</vt:lpstr>
      <vt:lpstr>Conceptual Mixed-Use Network</vt:lpstr>
      <vt:lpstr>Testing Considerations</vt:lpstr>
      <vt:lpstr>Many Issues to Navigate</vt:lpstr>
      <vt:lpstr>Testing Mixed-Use Networks</vt:lpstr>
      <vt:lpstr>Functional Testing</vt:lpstr>
      <vt:lpstr>Testing RF</vt:lpstr>
      <vt:lpstr>Testing RF</vt:lpstr>
      <vt:lpstr>Testing RF</vt:lpstr>
      <vt:lpstr>Testing IP</vt:lpstr>
      <vt:lpstr>Testing IP</vt:lpstr>
      <vt:lpstr>Testing IP</vt:lpstr>
      <vt:lpstr>Considerations for Another Time</vt:lpstr>
      <vt:lpstr>Testing the Network</vt:lpstr>
      <vt:lpstr>AI Assisted Automation</vt:lpstr>
      <vt:lpstr>Summary</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sting mixed-use networks – Insights into a complex test process</dc:title>
  <dc:creator>Dan Pleasant</dc:creator>
  <cp:lastModifiedBy>Lena Moran</cp:lastModifiedBy>
  <cp:revision>52</cp:revision>
  <cp:lastPrinted>2021-08-10T18:49:04Z</cp:lastPrinted>
  <dcterms:created xsi:type="dcterms:W3CDTF">2021-05-04T17:14:11Z</dcterms:created>
  <dcterms:modified xsi:type="dcterms:W3CDTF">2021-08-17T20:47: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F9BF3E6986B64BB66E4A3E4DF5C1F3</vt:lpwstr>
  </property>
</Properties>
</file>